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heme/theme7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notesSlides/notesSlide3.xml" ContentType="application/vnd.openxmlformats-officedocument.presentationml.notesSlide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notesSlides/notesSlide4.xml" ContentType="application/vnd.openxmlformats-officedocument.presentationml.notesSlide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notesSlides/notesSlide5.xml" ContentType="application/vnd.openxmlformats-officedocument.presentationml.notesSlide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78" r:id="rId5"/>
    <p:sldMasterId id="2147483724" r:id="rId6"/>
    <p:sldMasterId id="2147483767" r:id="rId7"/>
    <p:sldMasterId id="2147483779" r:id="rId8"/>
    <p:sldMasterId id="2147483792" r:id="rId9"/>
  </p:sldMasterIdLst>
  <p:notesMasterIdLst>
    <p:notesMasterId r:id="rId21"/>
  </p:notesMasterIdLst>
  <p:sldIdLst>
    <p:sldId id="258" r:id="rId10"/>
    <p:sldId id="8844" r:id="rId11"/>
    <p:sldId id="7080" r:id="rId12"/>
    <p:sldId id="8832" r:id="rId13"/>
    <p:sldId id="8838" r:id="rId14"/>
    <p:sldId id="8839" r:id="rId15"/>
    <p:sldId id="8829" r:id="rId16"/>
    <p:sldId id="8831" r:id="rId17"/>
    <p:sldId id="6717" r:id="rId18"/>
    <p:sldId id="8845" r:id="rId19"/>
    <p:sldId id="8840" r:id="rId20"/>
  </p:sldIdLst>
  <p:sldSz cx="9144000" cy="6858000" type="screen4x3"/>
  <p:notesSz cx="9940925" cy="6808788"/>
  <p:custDataLst>
    <p:tags r:id="rId22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156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na LAHRICHI" initials="LL" lastIdx="2" clrIdx="0">
    <p:extLst>
      <p:ext uri="{19B8F6BF-5375-455C-9EA6-DF929625EA0E}">
        <p15:presenceInfo xmlns:p15="http://schemas.microsoft.com/office/powerpoint/2012/main" userId="S-1-5-21-388509939-890855677-2028032329-1149" providerId="AD"/>
      </p:ext>
    </p:extLst>
  </p:cmAuthor>
  <p:cmAuthor id="2" name="Oumaima Adel" initials="OA" lastIdx="0" clrIdx="1">
    <p:extLst>
      <p:ext uri="{19B8F6BF-5375-455C-9EA6-DF929625EA0E}">
        <p15:presenceInfo xmlns:p15="http://schemas.microsoft.com/office/powerpoint/2012/main" userId="S-1-12-1-873208431-1229744858-1880864922-12564808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BAA9"/>
    <a:srgbClr val="FCFCFF"/>
    <a:srgbClr val="E9F5EF"/>
    <a:srgbClr val="F7FAFB"/>
    <a:srgbClr val="FAFCFE"/>
    <a:srgbClr val="E1F1E8"/>
    <a:srgbClr val="63BE7B"/>
    <a:srgbClr val="F9FBFD"/>
    <a:srgbClr val="D7EDDF"/>
    <a:srgbClr val="EAF5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650" autoAdjust="0"/>
    <p:restoredTop sz="95226" autoAdjust="0"/>
  </p:normalViewPr>
  <p:slideViewPr>
    <p:cSldViewPr snapToGrid="0">
      <p:cViewPr varScale="1">
        <p:scale>
          <a:sx n="100" d="100"/>
          <a:sy n="100" d="100"/>
        </p:scale>
        <p:origin x="96" y="174"/>
      </p:cViewPr>
      <p:guideLst>
        <p:guide orient="horz" pos="2183"/>
        <p:guide pos="156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commentAuthors" Target="commentAuthor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738853503184713"/>
          <c:y val="4.7229791099000905E-2"/>
          <c:w val="0.71337579617834401"/>
          <c:h val="0.9055404178019981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4C6C9C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502274795268426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A3E-49C3-8B7F-6478AF3DA5B5}"/>
                </c:ext>
              </c:extLst>
            </c:dLbl>
            <c:dLbl>
              <c:idx val="1"/>
              <c:layout>
                <c:manualLayout>
                  <c:x val="0.37215650591446769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A3E-49C3-8B7F-6478AF3DA5B5}"/>
                </c:ext>
              </c:extLst>
            </c:dLbl>
            <c:dLbl>
              <c:idx val="2"/>
              <c:layout>
                <c:manualLayout>
                  <c:x val="0.1892629663330300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A3E-49C3-8B7F-6478AF3DA5B5}"/>
                </c:ext>
              </c:extLst>
            </c:dLbl>
            <c:dLbl>
              <c:idx val="3"/>
              <c:layout>
                <c:manualLayout>
                  <c:x val="0.1028207461328480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A3E-49C3-8B7F-6478AF3DA5B5}"/>
                </c:ext>
              </c:extLst>
            </c:dLbl>
            <c:dLbl>
              <c:idx val="4"/>
              <c:layout>
                <c:manualLayout>
                  <c:x val="7.4613284804367602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A3E-49C3-8B7F-6478AF3DA5B5}"/>
                </c:ext>
              </c:extLst>
            </c:dLbl>
            <c:dLbl>
              <c:idx val="5"/>
              <c:layout>
                <c:manualLayout>
                  <c:x val="0.4349408553230209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A3E-49C3-8B7F-6478AF3DA5B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120.86639796984623</c:v>
                </c:pt>
                <c:pt idx="1">
                  <c:v>206.76480613549211</c:v>
                </c:pt>
                <c:pt idx="2">
                  <c:v>90.752918287937746</c:v>
                </c:pt>
                <c:pt idx="3">
                  <c:v>30.069144338807259</c:v>
                </c:pt>
                <c:pt idx="4">
                  <c:v>10.684718553139605</c:v>
                </c:pt>
                <c:pt idx="5">
                  <c:v>250.469378427787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A3E-49C3-8B7F-6478AF3DA5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3372672"/>
        <c:axId val="143374592"/>
      </c:barChart>
      <c:catAx>
        <c:axId val="14337267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algn="ctr">
            <a:solidFill>
              <a:schemeClr val="accent2"/>
            </a:solidFill>
            <a:prstDash val="solid"/>
          </a:ln>
        </c:spPr>
        <c:crossAx val="143374592"/>
        <c:crosses val="min"/>
        <c:auto val="0"/>
        <c:lblAlgn val="ctr"/>
        <c:lblOffset val="100"/>
        <c:noMultiLvlLbl val="0"/>
      </c:catAx>
      <c:valAx>
        <c:axId val="143374592"/>
        <c:scaling>
          <c:orientation val="minMax"/>
          <c:max val="250.4693784277879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33726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148499210110582E-2"/>
          <c:y val="2.0400156924284034E-2"/>
          <c:w val="0.83570300157977884"/>
          <c:h val="0.95919968615143192"/>
        </c:manualLayout>
      </c:layout>
      <c:barChart>
        <c:barDir val="bar"/>
        <c:grouping val="clustered"/>
        <c:varyColors val="0"/>
        <c:ser>
          <c:idx val="0"/>
          <c:order val="0"/>
          <c:invertIfNegative val="0"/>
          <c:extLst>
            <c:ext xmlns:c16="http://schemas.microsoft.com/office/drawing/2014/chart" uri="{C3380CC4-5D6E-409C-BE32-E72D297353CC}">
              <c16:uniqueId val="{00000000-E514-4636-AC65-2EA6D74401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6968192"/>
        <c:axId val="106969728"/>
      </c:barChart>
      <c:catAx>
        <c:axId val="106968192"/>
        <c:scaling>
          <c:orientation val="maxMin"/>
        </c:scaling>
        <c:delete val="0"/>
        <c:axPos val="r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106969728"/>
        <c:crosses val="max"/>
        <c:auto val="0"/>
        <c:lblAlgn val="ctr"/>
        <c:lblOffset val="100"/>
        <c:noMultiLvlLbl val="0"/>
      </c:catAx>
      <c:valAx>
        <c:axId val="106969728"/>
        <c:scaling>
          <c:orientation val="minMax"/>
          <c:max val="0"/>
          <c:min val="-0.25"/>
        </c:scaling>
        <c:delete val="1"/>
        <c:axPos val="t"/>
        <c:majorTickMark val="out"/>
        <c:minorTickMark val="none"/>
        <c:tickLblPos val="nextTo"/>
        <c:crossAx val="1069681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857566765578635E-2"/>
          <c:y val="2.0400156924284034E-2"/>
          <c:w val="0.9228486646884273"/>
          <c:h val="0.9591996861514319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13.0279788172992</c:v>
                </c:pt>
                <c:pt idx="1">
                  <c:v>11.5279788172992</c:v>
                </c:pt>
                <c:pt idx="2">
                  <c:v>9.6279788172991942</c:v>
                </c:pt>
                <c:pt idx="3">
                  <c:v>10.627978817299194</c:v>
                </c:pt>
                <c:pt idx="4">
                  <c:v>2.0279788172991999</c:v>
                </c:pt>
                <c:pt idx="5">
                  <c:v>6.0279788172991999</c:v>
                </c:pt>
                <c:pt idx="6">
                  <c:v>18.927978817299191</c:v>
                </c:pt>
                <c:pt idx="7">
                  <c:v>22.727978817299203</c:v>
                </c:pt>
                <c:pt idx="8">
                  <c:v>12.0279788172992</c:v>
                </c:pt>
                <c:pt idx="9">
                  <c:v>7.5279788172991999</c:v>
                </c:pt>
                <c:pt idx="10">
                  <c:v>7.5279788172991999</c:v>
                </c:pt>
                <c:pt idx="11">
                  <c:v>7.5279788172991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92-4F60-8723-8D4FE8C6D7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6295808"/>
        <c:axId val="146306176"/>
      </c:barChart>
      <c:catAx>
        <c:axId val="14629580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algn="ctr">
            <a:solidFill>
              <a:schemeClr val="accent2"/>
            </a:solidFill>
            <a:prstDash val="solid"/>
          </a:ln>
        </c:spPr>
        <c:crossAx val="146306176"/>
        <c:crosses val="min"/>
        <c:auto val="0"/>
        <c:lblAlgn val="ctr"/>
        <c:lblOffset val="100"/>
        <c:noMultiLvlLbl val="0"/>
      </c:catAx>
      <c:valAx>
        <c:axId val="146306176"/>
        <c:scaling>
          <c:orientation val="minMax"/>
          <c:max val="22.72797881729920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62958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857566765578635E-2"/>
          <c:y val="2.0626735422451407E-2"/>
          <c:w val="0.9228486646884273"/>
          <c:h val="0.9587465291550971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4C6C9C"/>
            </a:solidFill>
            <a:ln>
              <a:noFill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44.752779827455328</c:v>
                </c:pt>
                <c:pt idx="1">
                  <c:v>38.066646524552141</c:v>
                </c:pt>
                <c:pt idx="2">
                  <c:v>39.7397640573814</c:v>
                </c:pt>
                <c:pt idx="3">
                  <c:v>25.900486185546534</c:v>
                </c:pt>
                <c:pt idx="4">
                  <c:v>38.933267782559639</c:v>
                </c:pt>
                <c:pt idx="5">
                  <c:v>26.273990276085641</c:v>
                </c:pt>
                <c:pt idx="6">
                  <c:v>36.486123399955503</c:v>
                </c:pt>
                <c:pt idx="7">
                  <c:v>47.384700930438242</c:v>
                </c:pt>
                <c:pt idx="8">
                  <c:v>11.47465284586108</c:v>
                </c:pt>
                <c:pt idx="9">
                  <c:v>11.197269427546544</c:v>
                </c:pt>
                <c:pt idx="10">
                  <c:v>12.521819644138208</c:v>
                </c:pt>
                <c:pt idx="11">
                  <c:v>4.18996551635708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37-44EB-B73C-48EC273B7A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7583360"/>
        <c:axId val="147584896"/>
      </c:barChart>
      <c:catAx>
        <c:axId val="14758336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algn="ctr">
            <a:solidFill>
              <a:schemeClr val="accent2"/>
            </a:solidFill>
            <a:prstDash val="solid"/>
          </a:ln>
        </c:spPr>
        <c:crossAx val="147584896"/>
        <c:crosses val="min"/>
        <c:auto val="0"/>
        <c:lblAlgn val="ctr"/>
        <c:lblOffset val="100"/>
        <c:noMultiLvlLbl val="0"/>
      </c:catAx>
      <c:valAx>
        <c:axId val="147584896"/>
        <c:scaling>
          <c:orientation val="minMax"/>
          <c:max val="47.38470093043824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75833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1C90543-045C-471E-9F0B-99550DAC6529}" type="doc">
      <dgm:prSet loTypeId="urn:microsoft.com/office/officeart/2005/8/layout/arrow2" loCatId="process" qsTypeId="urn:microsoft.com/office/officeart/2005/8/quickstyle/simple2" qsCatId="simple" csTypeId="urn:microsoft.com/office/officeart/2005/8/colors/colorful4" csCatId="colorful" phldr="1"/>
      <dgm:spPr/>
      <dgm:t>
        <a:bodyPr/>
        <a:lstStyle/>
        <a:p>
          <a:endParaRPr lang="fr-FR"/>
        </a:p>
      </dgm:t>
    </dgm:pt>
    <dgm:pt modelId="{8C033474-472F-4A5D-9979-12E35C9C4023}">
      <dgm:prSet phldrT="[Texte]" custT="1"/>
      <dgm:spPr/>
      <dgm:t>
        <a:bodyPr/>
        <a:lstStyle/>
        <a:p>
          <a:pPr>
            <a:buNone/>
          </a:pPr>
          <a:r>
            <a:rPr lang="fr-FR" sz="1000" b="1" dirty="0"/>
            <a:t>Wuhan-Chine </a:t>
          </a:r>
        </a:p>
        <a:p>
          <a:pPr>
            <a:buNone/>
          </a:pPr>
          <a:r>
            <a:rPr lang="fr-FR" sz="1000" b="1" dirty="0"/>
            <a:t>Décembre 2019</a:t>
          </a:r>
          <a:endParaRPr lang="fr-FR" sz="1000" dirty="0"/>
        </a:p>
      </dgm:t>
    </dgm:pt>
    <dgm:pt modelId="{1A92B85E-FB66-4F82-9458-66D529DDA15E}" type="parTrans" cxnId="{C7A03512-87A2-495F-A0A7-A4EFFD68AA98}">
      <dgm:prSet/>
      <dgm:spPr/>
      <dgm:t>
        <a:bodyPr/>
        <a:lstStyle/>
        <a:p>
          <a:endParaRPr lang="fr-FR" sz="1050"/>
        </a:p>
      </dgm:t>
    </dgm:pt>
    <dgm:pt modelId="{800D90F9-7DAF-42BB-9D95-CA3DD5A1E9BD}" type="sibTrans" cxnId="{C7A03512-87A2-495F-A0A7-A4EFFD68AA98}">
      <dgm:prSet/>
      <dgm:spPr/>
      <dgm:t>
        <a:bodyPr/>
        <a:lstStyle/>
        <a:p>
          <a:endParaRPr lang="fr-FR" sz="1050"/>
        </a:p>
      </dgm:t>
    </dgm:pt>
    <dgm:pt modelId="{E0AE2F5F-FDF4-4612-AFF2-774B873C484A}">
      <dgm:prSet phldrT="[Texte]" custT="1"/>
      <dgm:spPr/>
      <dgm:t>
        <a:bodyPr/>
        <a:lstStyle/>
        <a:p>
          <a:pPr>
            <a:buNone/>
          </a:pPr>
          <a:r>
            <a:rPr lang="fr-FR" sz="900" b="1" dirty="0"/>
            <a:t>Mesures de relance: </a:t>
          </a:r>
        </a:p>
        <a:p>
          <a:pPr>
            <a:buNone/>
          </a:pPr>
          <a:r>
            <a:rPr lang="fr-FR" sz="900" b="1" dirty="0"/>
            <a:t>- Comité National de Veille Economique </a:t>
          </a:r>
        </a:p>
        <a:p>
          <a:pPr>
            <a:buNone/>
          </a:pPr>
          <a:r>
            <a:rPr lang="fr-FR" sz="900" b="1" dirty="0">
              <a:solidFill>
                <a:srgbClr val="C00000"/>
              </a:solidFill>
            </a:rPr>
            <a:t>- Comités Régionaux de Veille Economique</a:t>
          </a:r>
          <a:endParaRPr lang="fr-FR" sz="900" dirty="0">
            <a:solidFill>
              <a:srgbClr val="C00000"/>
            </a:solidFill>
          </a:endParaRPr>
        </a:p>
      </dgm:t>
    </dgm:pt>
    <dgm:pt modelId="{DBEB3462-666F-4342-8EF1-D83950C8FA6B}" type="parTrans" cxnId="{FC3EA232-39C7-42FF-B786-E34C30C0B84A}">
      <dgm:prSet/>
      <dgm:spPr/>
      <dgm:t>
        <a:bodyPr/>
        <a:lstStyle/>
        <a:p>
          <a:endParaRPr lang="fr-FR" sz="1050"/>
        </a:p>
      </dgm:t>
    </dgm:pt>
    <dgm:pt modelId="{92B5B874-4D41-4E68-AB1E-1AFD36BDAE9B}" type="sibTrans" cxnId="{FC3EA232-39C7-42FF-B786-E34C30C0B84A}">
      <dgm:prSet/>
      <dgm:spPr/>
      <dgm:t>
        <a:bodyPr/>
        <a:lstStyle/>
        <a:p>
          <a:endParaRPr lang="fr-FR" sz="1050"/>
        </a:p>
      </dgm:t>
    </dgm:pt>
    <dgm:pt modelId="{3AC70AD7-1FE5-452D-8A44-4A9A90FFA2C2}">
      <dgm:prSet phldrT="[Texte]" custT="1"/>
      <dgm:spPr/>
      <dgm:t>
        <a:bodyPr/>
        <a:lstStyle/>
        <a:p>
          <a:pPr>
            <a:buNone/>
          </a:pPr>
          <a:r>
            <a:rPr lang="fr-FR" sz="900" b="1" dirty="0"/>
            <a:t>Mesures de protection:</a:t>
          </a:r>
          <a:endParaRPr lang="fr-FR" sz="900" dirty="0"/>
        </a:p>
      </dgm:t>
    </dgm:pt>
    <dgm:pt modelId="{5CBB1792-2013-4213-B5AE-14049E4DDD89}" type="parTrans" cxnId="{510344B7-9466-414E-AC23-BB8E8DDF6F40}">
      <dgm:prSet/>
      <dgm:spPr/>
      <dgm:t>
        <a:bodyPr/>
        <a:lstStyle/>
        <a:p>
          <a:endParaRPr lang="fr-FR" sz="1050"/>
        </a:p>
      </dgm:t>
    </dgm:pt>
    <dgm:pt modelId="{5888B9FC-C530-4376-9FD4-9CF6018B484D}" type="sibTrans" cxnId="{510344B7-9466-414E-AC23-BB8E8DDF6F40}">
      <dgm:prSet/>
      <dgm:spPr/>
      <dgm:t>
        <a:bodyPr/>
        <a:lstStyle/>
        <a:p>
          <a:endParaRPr lang="fr-FR" sz="1050"/>
        </a:p>
      </dgm:t>
    </dgm:pt>
    <dgm:pt modelId="{16669CD8-F6C8-4027-8F64-2FA925AFB7A0}">
      <dgm:prSet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fr-FR" sz="700" b="1" dirty="0"/>
            <a:t>Fermeture frontières</a:t>
          </a:r>
        </a:p>
      </dgm:t>
    </dgm:pt>
    <dgm:pt modelId="{A8D76228-1DE1-4F59-9C4D-8B51822C8F7F}" type="parTrans" cxnId="{A190A80F-B80C-4893-80C4-30EBE2219BBB}">
      <dgm:prSet/>
      <dgm:spPr/>
      <dgm:t>
        <a:bodyPr/>
        <a:lstStyle/>
        <a:p>
          <a:endParaRPr lang="fr-FR" sz="1050"/>
        </a:p>
      </dgm:t>
    </dgm:pt>
    <dgm:pt modelId="{1A308F95-7602-4D3E-B893-16F7D50C91F4}" type="sibTrans" cxnId="{A190A80F-B80C-4893-80C4-30EBE2219BBB}">
      <dgm:prSet/>
      <dgm:spPr/>
      <dgm:t>
        <a:bodyPr/>
        <a:lstStyle/>
        <a:p>
          <a:endParaRPr lang="fr-FR" sz="1050"/>
        </a:p>
      </dgm:t>
    </dgm:pt>
    <dgm:pt modelId="{B7C0EC06-DF40-41EB-AFF0-95ADA0063D03}">
      <dgm:prSet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fr-FR" sz="700" b="1"/>
            <a:t>Confinement</a:t>
          </a:r>
          <a:endParaRPr lang="fr-FR" sz="700" b="1" dirty="0"/>
        </a:p>
      </dgm:t>
    </dgm:pt>
    <dgm:pt modelId="{5D605203-B1AF-4327-8F27-5F47746B8475}" type="parTrans" cxnId="{2CB3E473-EE0D-449C-992A-C143E5B462CE}">
      <dgm:prSet/>
      <dgm:spPr/>
      <dgm:t>
        <a:bodyPr/>
        <a:lstStyle/>
        <a:p>
          <a:endParaRPr lang="fr-FR" sz="1050"/>
        </a:p>
      </dgm:t>
    </dgm:pt>
    <dgm:pt modelId="{A2673B39-986C-4326-9625-48BE3974DC4B}" type="sibTrans" cxnId="{2CB3E473-EE0D-449C-992A-C143E5B462CE}">
      <dgm:prSet/>
      <dgm:spPr/>
      <dgm:t>
        <a:bodyPr/>
        <a:lstStyle/>
        <a:p>
          <a:endParaRPr lang="fr-FR" sz="1050"/>
        </a:p>
      </dgm:t>
    </dgm:pt>
    <dgm:pt modelId="{54CEA540-3757-4D88-A8B1-D94FFA7805BC}">
      <dgm:prSet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fr-FR" sz="700" b="1"/>
            <a:t>Limitation de mobilité</a:t>
          </a:r>
          <a:endParaRPr lang="fr-FR" sz="700" b="1" dirty="0"/>
        </a:p>
      </dgm:t>
    </dgm:pt>
    <dgm:pt modelId="{A670C3FC-CD57-440B-B871-F3482F78CD85}" type="parTrans" cxnId="{8337BA7C-4DCC-493C-AA5D-0EFC5B0C2C04}">
      <dgm:prSet/>
      <dgm:spPr/>
      <dgm:t>
        <a:bodyPr/>
        <a:lstStyle/>
        <a:p>
          <a:endParaRPr lang="fr-FR" sz="1050"/>
        </a:p>
      </dgm:t>
    </dgm:pt>
    <dgm:pt modelId="{660F5450-E065-4F14-9BFD-60EB4DDC3239}" type="sibTrans" cxnId="{8337BA7C-4DCC-493C-AA5D-0EFC5B0C2C04}">
      <dgm:prSet/>
      <dgm:spPr/>
      <dgm:t>
        <a:bodyPr/>
        <a:lstStyle/>
        <a:p>
          <a:endParaRPr lang="fr-FR" sz="1050"/>
        </a:p>
      </dgm:t>
    </dgm:pt>
    <dgm:pt modelId="{426D6E60-ABA5-44AE-8F68-47F6A1EAEB05}">
      <dgm:prSet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fr-FR" sz="700" b="1"/>
            <a:t>Cessation activités</a:t>
          </a:r>
          <a:endParaRPr lang="fr-FR" sz="700" b="1" dirty="0"/>
        </a:p>
      </dgm:t>
    </dgm:pt>
    <dgm:pt modelId="{D68BC7E3-84CE-4D14-927E-63E93FE550E5}" type="parTrans" cxnId="{20F0362D-9405-49FE-AAD9-0A4FC032B871}">
      <dgm:prSet/>
      <dgm:spPr/>
      <dgm:t>
        <a:bodyPr/>
        <a:lstStyle/>
        <a:p>
          <a:endParaRPr lang="fr-FR" sz="1050"/>
        </a:p>
      </dgm:t>
    </dgm:pt>
    <dgm:pt modelId="{FB400960-7A2C-46DD-B859-B2BD27B65FB1}" type="sibTrans" cxnId="{20F0362D-9405-49FE-AAD9-0A4FC032B871}">
      <dgm:prSet/>
      <dgm:spPr/>
      <dgm:t>
        <a:bodyPr/>
        <a:lstStyle/>
        <a:p>
          <a:endParaRPr lang="fr-FR" sz="1050"/>
        </a:p>
      </dgm:t>
    </dgm:pt>
    <dgm:pt modelId="{E7BEA259-BDC9-47FC-AED3-AA1441F68F27}">
      <dgm:prSet phldrT="[Texte]" custT="1"/>
      <dgm:spPr/>
      <dgm:t>
        <a:bodyPr/>
        <a:lstStyle/>
        <a:p>
          <a:pPr>
            <a:buNone/>
          </a:pPr>
          <a:r>
            <a:rPr lang="fr-FR" sz="1000" b="1" dirty="0"/>
            <a:t>Organisation Mondiale de la Santé (OMS)</a:t>
          </a:r>
          <a:endParaRPr lang="fr-FR" sz="1000" dirty="0"/>
        </a:p>
      </dgm:t>
    </dgm:pt>
    <dgm:pt modelId="{623D5155-ACE0-4965-86BB-E3D13F05B306}" type="parTrans" cxnId="{69C9B4CF-5F45-474A-AE2C-CD5062E92CA8}">
      <dgm:prSet/>
      <dgm:spPr/>
      <dgm:t>
        <a:bodyPr/>
        <a:lstStyle/>
        <a:p>
          <a:endParaRPr lang="fr-FR" sz="1050"/>
        </a:p>
      </dgm:t>
    </dgm:pt>
    <dgm:pt modelId="{48D3E064-F321-46F7-AB17-122AD947551A}" type="sibTrans" cxnId="{69C9B4CF-5F45-474A-AE2C-CD5062E92CA8}">
      <dgm:prSet/>
      <dgm:spPr/>
      <dgm:t>
        <a:bodyPr/>
        <a:lstStyle/>
        <a:p>
          <a:endParaRPr lang="fr-FR" sz="1050"/>
        </a:p>
      </dgm:t>
    </dgm:pt>
    <dgm:pt modelId="{D4F7D6B7-2335-4DAE-AE96-284F262E8686}">
      <dgm:prSet phldrT="[Texte]" custT="1"/>
      <dgm:spPr/>
      <dgm:t>
        <a:bodyPr/>
        <a:lstStyle/>
        <a:p>
          <a:pPr>
            <a:buNone/>
          </a:pPr>
          <a:r>
            <a:rPr lang="fr-FR" sz="800" b="1"/>
            <a:t>COVID-19 Pandémie</a:t>
          </a:r>
          <a:endParaRPr lang="fr-FR" sz="800" dirty="0"/>
        </a:p>
      </dgm:t>
    </dgm:pt>
    <dgm:pt modelId="{DE7F12F9-FC11-43D7-9422-02E22DA41EDD}" type="parTrans" cxnId="{4AF75CE8-9397-4FF3-B234-321D044D46F9}">
      <dgm:prSet/>
      <dgm:spPr/>
      <dgm:t>
        <a:bodyPr/>
        <a:lstStyle/>
        <a:p>
          <a:endParaRPr lang="fr-FR" sz="1050"/>
        </a:p>
      </dgm:t>
    </dgm:pt>
    <dgm:pt modelId="{6823FC62-3716-456E-883F-79E4F3DC0237}" type="sibTrans" cxnId="{4AF75CE8-9397-4FF3-B234-321D044D46F9}">
      <dgm:prSet/>
      <dgm:spPr/>
      <dgm:t>
        <a:bodyPr/>
        <a:lstStyle/>
        <a:p>
          <a:endParaRPr lang="fr-FR" sz="1050"/>
        </a:p>
      </dgm:t>
    </dgm:pt>
    <dgm:pt modelId="{8B64A60F-C959-43FE-B6BD-D555F614CBAD}">
      <dgm:prSet phldrT="[Texte]" custT="1"/>
      <dgm:spPr/>
      <dgm:t>
        <a:bodyPr/>
        <a:lstStyle/>
        <a:p>
          <a:pPr>
            <a:buNone/>
          </a:pPr>
          <a:r>
            <a:rPr lang="fr-FR" sz="1000" b="1" dirty="0"/>
            <a:t>210 pays contaminées</a:t>
          </a:r>
          <a:endParaRPr lang="fr-FR" sz="1000" dirty="0"/>
        </a:p>
      </dgm:t>
    </dgm:pt>
    <dgm:pt modelId="{1CF81CB7-33A3-41A7-B112-F1BB4D5C5F6F}" type="parTrans" cxnId="{3F2FF065-C5FA-4582-B7F8-33E5B432A390}">
      <dgm:prSet/>
      <dgm:spPr/>
      <dgm:t>
        <a:bodyPr/>
        <a:lstStyle/>
        <a:p>
          <a:endParaRPr lang="fr-FR" sz="1050"/>
        </a:p>
      </dgm:t>
    </dgm:pt>
    <dgm:pt modelId="{2B27914A-AAEE-400A-860D-A893B6636886}" type="sibTrans" cxnId="{3F2FF065-C5FA-4582-B7F8-33E5B432A390}">
      <dgm:prSet/>
      <dgm:spPr/>
      <dgm:t>
        <a:bodyPr/>
        <a:lstStyle/>
        <a:p>
          <a:endParaRPr lang="fr-FR" sz="1050"/>
        </a:p>
      </dgm:t>
    </dgm:pt>
    <dgm:pt modelId="{7E3977F8-87C4-4726-9C48-7470D27254EB}">
      <dgm:prSet custT="1"/>
      <dgm:spPr/>
      <dgm:t>
        <a:bodyPr/>
        <a:lstStyle/>
        <a:p>
          <a:pPr>
            <a:buNone/>
          </a:pPr>
          <a:r>
            <a:rPr lang="fr-FR" sz="800" b="1"/>
            <a:t>~3mois</a:t>
          </a:r>
          <a:endParaRPr lang="fr-FR" sz="800" dirty="0"/>
        </a:p>
      </dgm:t>
    </dgm:pt>
    <dgm:pt modelId="{FCC68CC4-FEC6-458E-BAA2-78D775F97D9B}" type="parTrans" cxnId="{82EEFB37-353E-46E6-89CE-1FB76F621BC4}">
      <dgm:prSet/>
      <dgm:spPr/>
      <dgm:t>
        <a:bodyPr/>
        <a:lstStyle/>
        <a:p>
          <a:endParaRPr lang="fr-FR" sz="1050"/>
        </a:p>
      </dgm:t>
    </dgm:pt>
    <dgm:pt modelId="{15206106-867F-4D11-850D-C1F297028E51}" type="sibTrans" cxnId="{82EEFB37-353E-46E6-89CE-1FB76F621BC4}">
      <dgm:prSet/>
      <dgm:spPr/>
      <dgm:t>
        <a:bodyPr/>
        <a:lstStyle/>
        <a:p>
          <a:endParaRPr lang="fr-FR" sz="1050"/>
        </a:p>
      </dgm:t>
    </dgm:pt>
    <dgm:pt modelId="{A0333B5E-CA85-4318-A58F-9047F1E94E70}" type="pres">
      <dgm:prSet presAssocID="{B1C90543-045C-471E-9F0B-99550DAC6529}" presName="arrowDiagram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C4CB8B3A-B66D-4DE6-9A85-F8D6E16D3718}" type="pres">
      <dgm:prSet presAssocID="{B1C90543-045C-471E-9F0B-99550DAC6529}" presName="arrow" presStyleLbl="bgShp" presStyleIdx="0" presStyleCnt="1" custScaleX="122544" custLinFactNeighborX="-3738" custLinFactNeighborY="-9922"/>
      <dgm:spPr/>
    </dgm:pt>
    <dgm:pt modelId="{F9F2E8B4-965F-4747-B52C-B303B2BDEEDD}" type="pres">
      <dgm:prSet presAssocID="{B1C90543-045C-471E-9F0B-99550DAC6529}" presName="arrowDiagram5" presStyleCnt="0"/>
      <dgm:spPr/>
    </dgm:pt>
    <dgm:pt modelId="{E69A6EAB-C746-4B5D-9CF9-1DF43B882B69}" type="pres">
      <dgm:prSet presAssocID="{8C033474-472F-4A5D-9979-12E35C9C4023}" presName="bullet5a" presStyleLbl="node1" presStyleIdx="0" presStyleCnt="5"/>
      <dgm:spPr/>
    </dgm:pt>
    <dgm:pt modelId="{410AFA38-43D9-47A7-810B-FC50FFC53D55}" type="pres">
      <dgm:prSet presAssocID="{8C033474-472F-4A5D-9979-12E35C9C4023}" presName="textBox5a" presStyleLbl="revTx" presStyleIdx="0" presStyleCnt="5" custScaleX="163497" custScaleY="33153" custLinFactNeighborX="-38043" custLinFactNeighborY="711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E6F0505-D7B7-493C-B980-3EA6A8886962}" type="pres">
      <dgm:prSet presAssocID="{8B64A60F-C959-43FE-B6BD-D555F614CBAD}" presName="bullet5b" presStyleLbl="node1" presStyleIdx="1" presStyleCnt="5"/>
      <dgm:spPr/>
    </dgm:pt>
    <dgm:pt modelId="{0487E7A5-8192-44CA-B89C-38CD6A0FCB9A}" type="pres">
      <dgm:prSet presAssocID="{8B64A60F-C959-43FE-B6BD-D555F614CBAD}" presName="textBox5b" presStyleLbl="revTx" presStyleIdx="1" presStyleCnt="5" custScaleX="160514" custScaleY="65171" custLinFactNeighborX="-22293" custLinFactNeighborY="444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1530312-80B0-442F-B5AA-66155C11823F}" type="pres">
      <dgm:prSet presAssocID="{E7BEA259-BDC9-47FC-AED3-AA1441F68F27}" presName="bullet5c" presStyleLbl="node1" presStyleIdx="2" presStyleCnt="5"/>
      <dgm:spPr/>
    </dgm:pt>
    <dgm:pt modelId="{82CBCD60-1A8B-4310-A861-04D9E569AB07}" type="pres">
      <dgm:prSet presAssocID="{E7BEA259-BDC9-47FC-AED3-AA1441F68F27}" presName="textBox5c" presStyleLbl="revTx" presStyleIdx="2" presStyleCnt="5" custScaleX="125993" custScaleY="61904" custLinFactNeighborX="-8083" custLinFactNeighborY="2251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93EA1B8-D623-4B09-BC2E-6CAFB005E080}" type="pres">
      <dgm:prSet presAssocID="{3AC70AD7-1FE5-452D-8A44-4A9A90FFA2C2}" presName="bullet5d" presStyleLbl="node1" presStyleIdx="3" presStyleCnt="5"/>
      <dgm:spPr/>
    </dgm:pt>
    <dgm:pt modelId="{DB55DCB6-754B-49AC-9DAD-088A13D393BF}" type="pres">
      <dgm:prSet presAssocID="{3AC70AD7-1FE5-452D-8A44-4A9A90FFA2C2}" presName="textBox5d" presStyleLbl="revTx" presStyleIdx="3" presStyleCnt="5" custScaleX="121714" custScaleY="51647" custLinFactNeighborX="-4808" custLinFactNeighborY="-857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03DAF68-9093-4502-BCBF-EF7A9B2F0D7F}" type="pres">
      <dgm:prSet presAssocID="{E0AE2F5F-FDF4-4612-AFF2-774B873C484A}" presName="bullet5e" presStyleLbl="node1" presStyleIdx="4" presStyleCnt="5"/>
      <dgm:spPr/>
    </dgm:pt>
    <dgm:pt modelId="{3A817829-7DB1-4BB9-AF6E-3A1BD76BBF4F}" type="pres">
      <dgm:prSet presAssocID="{E0AE2F5F-FDF4-4612-AFF2-774B873C484A}" presName="textBox5e" presStyleLbl="revTx" presStyleIdx="4" presStyleCnt="5" custScaleX="175821" custScaleY="40754" custLinFactNeighborX="27738" custLinFactNeighborY="-155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ABF63A77-9C65-44B9-A203-243D775DD256}" type="presOf" srcId="{E7BEA259-BDC9-47FC-AED3-AA1441F68F27}" destId="{82CBCD60-1A8B-4310-A861-04D9E569AB07}" srcOrd="0" destOrd="0" presId="urn:microsoft.com/office/officeart/2005/8/layout/arrow2"/>
    <dgm:cxn modelId="{04728F28-23E2-43E2-8ACE-1AEA96BE8765}" type="presOf" srcId="{8C033474-472F-4A5D-9979-12E35C9C4023}" destId="{410AFA38-43D9-47A7-810B-FC50FFC53D55}" srcOrd="0" destOrd="0" presId="urn:microsoft.com/office/officeart/2005/8/layout/arrow2"/>
    <dgm:cxn modelId="{AC7EDAC6-B68D-436B-81A7-ED6FEFC62A6D}" type="presOf" srcId="{B7C0EC06-DF40-41EB-AFF0-95ADA0063D03}" destId="{DB55DCB6-754B-49AC-9DAD-088A13D393BF}" srcOrd="0" destOrd="2" presId="urn:microsoft.com/office/officeart/2005/8/layout/arrow2"/>
    <dgm:cxn modelId="{BFF60256-A391-4434-A405-488E220CB173}" type="presOf" srcId="{8B64A60F-C959-43FE-B6BD-D555F614CBAD}" destId="{0487E7A5-8192-44CA-B89C-38CD6A0FCB9A}" srcOrd="0" destOrd="0" presId="urn:microsoft.com/office/officeart/2005/8/layout/arrow2"/>
    <dgm:cxn modelId="{510344B7-9466-414E-AC23-BB8E8DDF6F40}" srcId="{B1C90543-045C-471E-9F0B-99550DAC6529}" destId="{3AC70AD7-1FE5-452D-8A44-4A9A90FFA2C2}" srcOrd="3" destOrd="0" parTransId="{5CBB1792-2013-4213-B5AE-14049E4DDD89}" sibTransId="{5888B9FC-C530-4376-9FD4-9CF6018B484D}"/>
    <dgm:cxn modelId="{DE4D62AC-05BC-4F17-A59F-80AC321F9493}" type="presOf" srcId="{7E3977F8-87C4-4726-9C48-7470D27254EB}" destId="{0487E7A5-8192-44CA-B89C-38CD6A0FCB9A}" srcOrd="0" destOrd="1" presId="urn:microsoft.com/office/officeart/2005/8/layout/arrow2"/>
    <dgm:cxn modelId="{4AF75CE8-9397-4FF3-B234-321D044D46F9}" srcId="{E7BEA259-BDC9-47FC-AED3-AA1441F68F27}" destId="{D4F7D6B7-2335-4DAE-AE96-284F262E8686}" srcOrd="0" destOrd="0" parTransId="{DE7F12F9-FC11-43D7-9422-02E22DA41EDD}" sibTransId="{6823FC62-3716-456E-883F-79E4F3DC0237}"/>
    <dgm:cxn modelId="{FC3EA232-39C7-42FF-B786-E34C30C0B84A}" srcId="{B1C90543-045C-471E-9F0B-99550DAC6529}" destId="{E0AE2F5F-FDF4-4612-AFF2-774B873C484A}" srcOrd="4" destOrd="0" parTransId="{DBEB3462-666F-4342-8EF1-D83950C8FA6B}" sibTransId="{92B5B874-4D41-4E68-AB1E-1AFD36BDAE9B}"/>
    <dgm:cxn modelId="{2CB3E473-EE0D-449C-992A-C143E5B462CE}" srcId="{3AC70AD7-1FE5-452D-8A44-4A9A90FFA2C2}" destId="{B7C0EC06-DF40-41EB-AFF0-95ADA0063D03}" srcOrd="1" destOrd="0" parTransId="{5D605203-B1AF-4327-8F27-5F47746B8475}" sibTransId="{A2673B39-986C-4326-9625-48BE3974DC4B}"/>
    <dgm:cxn modelId="{82EEFB37-353E-46E6-89CE-1FB76F621BC4}" srcId="{8B64A60F-C959-43FE-B6BD-D555F614CBAD}" destId="{7E3977F8-87C4-4726-9C48-7470D27254EB}" srcOrd="0" destOrd="0" parTransId="{FCC68CC4-FEC6-458E-BAA2-78D775F97D9B}" sibTransId="{15206106-867F-4D11-850D-C1F297028E51}"/>
    <dgm:cxn modelId="{B2A8D47E-7E88-4ABA-9DE5-90BFF350470B}" type="presOf" srcId="{D4F7D6B7-2335-4DAE-AE96-284F262E8686}" destId="{82CBCD60-1A8B-4310-A861-04D9E569AB07}" srcOrd="0" destOrd="1" presId="urn:microsoft.com/office/officeart/2005/8/layout/arrow2"/>
    <dgm:cxn modelId="{69C9B4CF-5F45-474A-AE2C-CD5062E92CA8}" srcId="{B1C90543-045C-471E-9F0B-99550DAC6529}" destId="{E7BEA259-BDC9-47FC-AED3-AA1441F68F27}" srcOrd="2" destOrd="0" parTransId="{623D5155-ACE0-4965-86BB-E3D13F05B306}" sibTransId="{48D3E064-F321-46F7-AB17-122AD947551A}"/>
    <dgm:cxn modelId="{DBDB87B7-A044-4774-8D85-CAA29B99A323}" type="presOf" srcId="{E0AE2F5F-FDF4-4612-AFF2-774B873C484A}" destId="{3A817829-7DB1-4BB9-AF6E-3A1BD76BBF4F}" srcOrd="0" destOrd="0" presId="urn:microsoft.com/office/officeart/2005/8/layout/arrow2"/>
    <dgm:cxn modelId="{0ABB0F27-A54F-48D9-9988-5D28957C8E17}" type="presOf" srcId="{3AC70AD7-1FE5-452D-8A44-4A9A90FFA2C2}" destId="{DB55DCB6-754B-49AC-9DAD-088A13D393BF}" srcOrd="0" destOrd="0" presId="urn:microsoft.com/office/officeart/2005/8/layout/arrow2"/>
    <dgm:cxn modelId="{C7A03512-87A2-495F-A0A7-A4EFFD68AA98}" srcId="{B1C90543-045C-471E-9F0B-99550DAC6529}" destId="{8C033474-472F-4A5D-9979-12E35C9C4023}" srcOrd="0" destOrd="0" parTransId="{1A92B85E-FB66-4F82-9458-66D529DDA15E}" sibTransId="{800D90F9-7DAF-42BB-9D95-CA3DD5A1E9BD}"/>
    <dgm:cxn modelId="{1EA42AB0-A07E-40F4-A079-2E77985C9DE2}" type="presOf" srcId="{54CEA540-3757-4D88-A8B1-D94FFA7805BC}" destId="{DB55DCB6-754B-49AC-9DAD-088A13D393BF}" srcOrd="0" destOrd="3" presId="urn:microsoft.com/office/officeart/2005/8/layout/arrow2"/>
    <dgm:cxn modelId="{3F2FF065-C5FA-4582-B7F8-33E5B432A390}" srcId="{B1C90543-045C-471E-9F0B-99550DAC6529}" destId="{8B64A60F-C959-43FE-B6BD-D555F614CBAD}" srcOrd="1" destOrd="0" parTransId="{1CF81CB7-33A3-41A7-B112-F1BB4D5C5F6F}" sibTransId="{2B27914A-AAEE-400A-860D-A893B6636886}"/>
    <dgm:cxn modelId="{7F6FA625-9F26-4219-8F31-2CE99498E2D9}" type="presOf" srcId="{B1C90543-045C-471E-9F0B-99550DAC6529}" destId="{A0333B5E-CA85-4318-A58F-9047F1E94E70}" srcOrd="0" destOrd="0" presId="urn:microsoft.com/office/officeart/2005/8/layout/arrow2"/>
    <dgm:cxn modelId="{20F0362D-9405-49FE-AAD9-0A4FC032B871}" srcId="{3AC70AD7-1FE5-452D-8A44-4A9A90FFA2C2}" destId="{426D6E60-ABA5-44AE-8F68-47F6A1EAEB05}" srcOrd="3" destOrd="0" parTransId="{D68BC7E3-84CE-4D14-927E-63E93FE550E5}" sibTransId="{FB400960-7A2C-46DD-B859-B2BD27B65FB1}"/>
    <dgm:cxn modelId="{753D320F-E8BE-4EF2-BF67-630D62470565}" type="presOf" srcId="{16669CD8-F6C8-4027-8F64-2FA925AFB7A0}" destId="{DB55DCB6-754B-49AC-9DAD-088A13D393BF}" srcOrd="0" destOrd="1" presId="urn:microsoft.com/office/officeart/2005/8/layout/arrow2"/>
    <dgm:cxn modelId="{35CFEC42-FCAE-40EE-8188-CB96C2CB7064}" type="presOf" srcId="{426D6E60-ABA5-44AE-8F68-47F6A1EAEB05}" destId="{DB55DCB6-754B-49AC-9DAD-088A13D393BF}" srcOrd="0" destOrd="4" presId="urn:microsoft.com/office/officeart/2005/8/layout/arrow2"/>
    <dgm:cxn modelId="{A190A80F-B80C-4893-80C4-30EBE2219BBB}" srcId="{3AC70AD7-1FE5-452D-8A44-4A9A90FFA2C2}" destId="{16669CD8-F6C8-4027-8F64-2FA925AFB7A0}" srcOrd="0" destOrd="0" parTransId="{A8D76228-1DE1-4F59-9C4D-8B51822C8F7F}" sibTransId="{1A308F95-7602-4D3E-B893-16F7D50C91F4}"/>
    <dgm:cxn modelId="{8337BA7C-4DCC-493C-AA5D-0EFC5B0C2C04}" srcId="{3AC70AD7-1FE5-452D-8A44-4A9A90FFA2C2}" destId="{54CEA540-3757-4D88-A8B1-D94FFA7805BC}" srcOrd="2" destOrd="0" parTransId="{A670C3FC-CD57-440B-B871-F3482F78CD85}" sibTransId="{660F5450-E065-4F14-9BFD-60EB4DDC3239}"/>
    <dgm:cxn modelId="{30B9086C-4B52-4050-8B5F-C4A0E41637EE}" type="presParOf" srcId="{A0333B5E-CA85-4318-A58F-9047F1E94E70}" destId="{C4CB8B3A-B66D-4DE6-9A85-F8D6E16D3718}" srcOrd="0" destOrd="0" presId="urn:microsoft.com/office/officeart/2005/8/layout/arrow2"/>
    <dgm:cxn modelId="{5BB2B790-F9E2-4327-82A2-4F0BBC9D635A}" type="presParOf" srcId="{A0333B5E-CA85-4318-A58F-9047F1E94E70}" destId="{F9F2E8B4-965F-4747-B52C-B303B2BDEEDD}" srcOrd="1" destOrd="0" presId="urn:microsoft.com/office/officeart/2005/8/layout/arrow2"/>
    <dgm:cxn modelId="{C6CCD95C-A60A-47EE-B242-A55429F56961}" type="presParOf" srcId="{F9F2E8B4-965F-4747-B52C-B303B2BDEEDD}" destId="{E69A6EAB-C746-4B5D-9CF9-1DF43B882B69}" srcOrd="0" destOrd="0" presId="urn:microsoft.com/office/officeart/2005/8/layout/arrow2"/>
    <dgm:cxn modelId="{956D3230-9F0F-4007-A546-370E047E7F56}" type="presParOf" srcId="{F9F2E8B4-965F-4747-B52C-B303B2BDEEDD}" destId="{410AFA38-43D9-47A7-810B-FC50FFC53D55}" srcOrd="1" destOrd="0" presId="urn:microsoft.com/office/officeart/2005/8/layout/arrow2"/>
    <dgm:cxn modelId="{A9D8DCF3-62E0-46FD-8BCF-08135C4AC1CF}" type="presParOf" srcId="{F9F2E8B4-965F-4747-B52C-B303B2BDEEDD}" destId="{8E6F0505-D7B7-493C-B980-3EA6A8886962}" srcOrd="2" destOrd="0" presId="urn:microsoft.com/office/officeart/2005/8/layout/arrow2"/>
    <dgm:cxn modelId="{0F187D94-73A6-4298-A671-CAA97CFE47AD}" type="presParOf" srcId="{F9F2E8B4-965F-4747-B52C-B303B2BDEEDD}" destId="{0487E7A5-8192-44CA-B89C-38CD6A0FCB9A}" srcOrd="3" destOrd="0" presId="urn:microsoft.com/office/officeart/2005/8/layout/arrow2"/>
    <dgm:cxn modelId="{150E4D9F-B7AD-4491-8A7F-4A7D777EBB1B}" type="presParOf" srcId="{F9F2E8B4-965F-4747-B52C-B303B2BDEEDD}" destId="{01530312-80B0-442F-B5AA-66155C11823F}" srcOrd="4" destOrd="0" presId="urn:microsoft.com/office/officeart/2005/8/layout/arrow2"/>
    <dgm:cxn modelId="{DB33AEE0-05BD-4C2F-9E11-8B72D2E958DA}" type="presParOf" srcId="{F9F2E8B4-965F-4747-B52C-B303B2BDEEDD}" destId="{82CBCD60-1A8B-4310-A861-04D9E569AB07}" srcOrd="5" destOrd="0" presId="urn:microsoft.com/office/officeart/2005/8/layout/arrow2"/>
    <dgm:cxn modelId="{8A8FB2E5-39D6-478E-B068-E03BF4AD0FF9}" type="presParOf" srcId="{F9F2E8B4-965F-4747-B52C-B303B2BDEEDD}" destId="{193EA1B8-D623-4B09-BC2E-6CAFB005E080}" srcOrd="6" destOrd="0" presId="urn:microsoft.com/office/officeart/2005/8/layout/arrow2"/>
    <dgm:cxn modelId="{F148ECCC-871A-4B89-81E6-7B6F6F89C27B}" type="presParOf" srcId="{F9F2E8B4-965F-4747-B52C-B303B2BDEEDD}" destId="{DB55DCB6-754B-49AC-9DAD-088A13D393BF}" srcOrd="7" destOrd="0" presId="urn:microsoft.com/office/officeart/2005/8/layout/arrow2"/>
    <dgm:cxn modelId="{97EEDCD5-1E0A-45CE-8993-667D76FF3D52}" type="presParOf" srcId="{F9F2E8B4-965F-4747-B52C-B303B2BDEEDD}" destId="{103DAF68-9093-4502-BCBF-EF7A9B2F0D7F}" srcOrd="8" destOrd="0" presId="urn:microsoft.com/office/officeart/2005/8/layout/arrow2"/>
    <dgm:cxn modelId="{FF63C376-08F2-4DFA-AFE3-5D8067CA6226}" type="presParOf" srcId="{F9F2E8B4-965F-4747-B52C-B303B2BDEEDD}" destId="{3A817829-7DB1-4BB9-AF6E-3A1BD76BBF4F}" srcOrd="9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CB8B3A-B66D-4DE6-9A85-F8D6E16D3718}">
      <dsp:nvSpPr>
        <dsp:cNvPr id="0" name=""/>
        <dsp:cNvSpPr/>
      </dsp:nvSpPr>
      <dsp:spPr>
        <a:xfrm>
          <a:off x="606891" y="0"/>
          <a:ext cx="5577542" cy="2844663"/>
        </a:xfrm>
        <a:prstGeom prst="swooshArrow">
          <a:avLst>
            <a:gd name="adj1" fmla="val 25000"/>
            <a:gd name="adj2" fmla="val 25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9A6EAB-C746-4B5D-9CF9-1DF43B882B69}">
      <dsp:nvSpPr>
        <dsp:cNvPr id="0" name=""/>
        <dsp:cNvSpPr/>
      </dsp:nvSpPr>
      <dsp:spPr>
        <a:xfrm>
          <a:off x="1738384" y="2115291"/>
          <a:ext cx="104683" cy="104683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410AFA38-43D9-47A7-810B-FC50FFC53D55}">
      <dsp:nvSpPr>
        <dsp:cNvPr id="0" name=""/>
        <dsp:cNvSpPr/>
      </dsp:nvSpPr>
      <dsp:spPr>
        <a:xfrm>
          <a:off x="1374600" y="2442090"/>
          <a:ext cx="974836" cy="2244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470" tIns="0" rIns="0" bIns="0" numCol="1" spcCol="1270" anchor="t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000" b="1" kern="1200" dirty="0"/>
            <a:t>Wuhan-Chine 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000" b="1" kern="1200" dirty="0"/>
            <a:t>Décembre 2019</a:t>
          </a:r>
          <a:endParaRPr lang="fr-FR" sz="1000" kern="1200" dirty="0"/>
        </a:p>
      </dsp:txBody>
      <dsp:txXfrm>
        <a:off x="1374600" y="2442090"/>
        <a:ext cx="974836" cy="224455"/>
      </dsp:txXfrm>
    </dsp:sp>
    <dsp:sp modelId="{8E6F0505-D7B7-493C-B980-3EA6A8886962}">
      <dsp:nvSpPr>
        <dsp:cNvPr id="0" name=""/>
        <dsp:cNvSpPr/>
      </dsp:nvSpPr>
      <dsp:spPr>
        <a:xfrm>
          <a:off x="2305041" y="1570822"/>
          <a:ext cx="163852" cy="163852"/>
        </a:xfrm>
        <a:prstGeom prst="ellipse">
          <a:avLst/>
        </a:prstGeom>
        <a:solidFill>
          <a:schemeClr val="accent4">
            <a:hueOff val="-2855659"/>
            <a:satOff val="0"/>
            <a:lumOff val="7794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0487E7A5-8192-44CA-B89C-38CD6A0FCB9A}">
      <dsp:nvSpPr>
        <dsp:cNvPr id="0" name=""/>
        <dsp:cNvSpPr/>
      </dsp:nvSpPr>
      <dsp:spPr>
        <a:xfrm>
          <a:off x="1989930" y="1913236"/>
          <a:ext cx="1212751" cy="7767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822" tIns="0" rIns="0" bIns="0" numCol="1" spcCol="1270" anchor="t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000" b="1" kern="1200" dirty="0"/>
            <a:t>210 pays contaminées</a:t>
          </a:r>
          <a:endParaRPr lang="fr-FR" sz="10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800" b="1" kern="1200"/>
            <a:t>~3mois</a:t>
          </a:r>
          <a:endParaRPr lang="fr-FR" sz="800" kern="1200" dirty="0"/>
        </a:p>
      </dsp:txBody>
      <dsp:txXfrm>
        <a:off x="1989930" y="1913236"/>
        <a:ext cx="1212751" cy="776782"/>
      </dsp:txXfrm>
    </dsp:sp>
    <dsp:sp modelId="{01530312-80B0-442F-B5AA-66155C11823F}">
      <dsp:nvSpPr>
        <dsp:cNvPr id="0" name=""/>
        <dsp:cNvSpPr/>
      </dsp:nvSpPr>
      <dsp:spPr>
        <a:xfrm>
          <a:off x="3033275" y="1136727"/>
          <a:ext cx="218470" cy="218470"/>
        </a:xfrm>
        <a:prstGeom prst="ellipse">
          <a:avLst/>
        </a:prstGeom>
        <a:solidFill>
          <a:schemeClr val="accent4">
            <a:hueOff val="-5711318"/>
            <a:satOff val="0"/>
            <a:lumOff val="15589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2CBCD60-1A8B-4310-A861-04D9E569AB07}">
      <dsp:nvSpPr>
        <dsp:cNvPr id="0" name=""/>
        <dsp:cNvSpPr/>
      </dsp:nvSpPr>
      <dsp:spPr>
        <a:xfrm>
          <a:off x="2957341" y="1586469"/>
          <a:ext cx="1106762" cy="9896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5763" tIns="0" rIns="0" bIns="0" numCol="1" spcCol="1270" anchor="t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000" b="1" kern="1200" dirty="0"/>
            <a:t>Organisation Mondiale de la Santé (OMS)</a:t>
          </a:r>
          <a:endParaRPr lang="fr-FR" sz="1000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800" b="1" kern="1200"/>
            <a:t>COVID-19 Pandémie</a:t>
          </a:r>
          <a:endParaRPr lang="fr-FR" sz="800" kern="1200" dirty="0"/>
        </a:p>
      </dsp:txBody>
      <dsp:txXfrm>
        <a:off x="2957341" y="1586469"/>
        <a:ext cx="1106762" cy="989659"/>
      </dsp:txXfrm>
    </dsp:sp>
    <dsp:sp modelId="{193EA1B8-D623-4B09-BC2E-6CAFB005E080}">
      <dsp:nvSpPr>
        <dsp:cNvPr id="0" name=""/>
        <dsp:cNvSpPr/>
      </dsp:nvSpPr>
      <dsp:spPr>
        <a:xfrm>
          <a:off x="3879847" y="797643"/>
          <a:ext cx="282190" cy="282190"/>
        </a:xfrm>
        <a:prstGeom prst="ellipse">
          <a:avLst/>
        </a:prstGeom>
        <a:solidFill>
          <a:schemeClr val="accent4">
            <a:hueOff val="-8566978"/>
            <a:satOff val="0"/>
            <a:lumOff val="23383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DB55DCB6-754B-49AC-9DAD-088A13D393BF}">
      <dsp:nvSpPr>
        <dsp:cNvPr id="0" name=""/>
        <dsp:cNvSpPr/>
      </dsp:nvSpPr>
      <dsp:spPr>
        <a:xfrm>
          <a:off x="3878345" y="1236110"/>
          <a:ext cx="1107952" cy="9843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527" tIns="0" rIns="0" bIns="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900" b="1" kern="1200" dirty="0"/>
            <a:t>Mesures de protection:</a:t>
          </a:r>
          <a:endParaRPr lang="fr-FR" sz="900" kern="1200" dirty="0"/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•"/>
          </a:pPr>
          <a:r>
            <a:rPr lang="fr-FR" sz="700" b="1" kern="1200" dirty="0"/>
            <a:t>Fermeture frontières</a:t>
          </a: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•"/>
          </a:pPr>
          <a:r>
            <a:rPr lang="fr-FR" sz="700" b="1" kern="1200"/>
            <a:t>Confinement</a:t>
          </a:r>
          <a:endParaRPr lang="fr-FR" sz="700" b="1" kern="1200" dirty="0"/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•"/>
          </a:pPr>
          <a:r>
            <a:rPr lang="fr-FR" sz="700" b="1" kern="1200"/>
            <a:t>Limitation de mobilité</a:t>
          </a:r>
          <a:endParaRPr lang="fr-FR" sz="700" b="1" kern="1200" dirty="0"/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•"/>
          </a:pPr>
          <a:r>
            <a:rPr lang="fr-FR" sz="700" b="1" kern="1200"/>
            <a:t>Cessation activités</a:t>
          </a:r>
          <a:endParaRPr lang="fr-FR" sz="700" b="1" kern="1200" dirty="0"/>
        </a:p>
      </dsp:txBody>
      <dsp:txXfrm>
        <a:off x="3878345" y="1236110"/>
        <a:ext cx="1107952" cy="984352"/>
      </dsp:txXfrm>
    </dsp:sp>
    <dsp:sp modelId="{103DAF68-9093-4502-BCBF-EF7A9B2F0D7F}">
      <dsp:nvSpPr>
        <dsp:cNvPr id="0" name=""/>
        <dsp:cNvSpPr/>
      </dsp:nvSpPr>
      <dsp:spPr>
        <a:xfrm>
          <a:off x="4751452" y="571208"/>
          <a:ext cx="359565" cy="359565"/>
        </a:xfrm>
        <a:prstGeom prst="ellipse">
          <a:avLst/>
        </a:prstGeom>
        <a:solidFill>
          <a:schemeClr val="accent4">
            <a:hueOff val="-11422636"/>
            <a:satOff val="0"/>
            <a:lumOff val="31177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A817829-7DB1-4BB9-AF6E-3A1BD76BBF4F}">
      <dsp:nvSpPr>
        <dsp:cNvPr id="0" name=""/>
        <dsp:cNvSpPr/>
      </dsp:nvSpPr>
      <dsp:spPr>
        <a:xfrm>
          <a:off x="4838635" y="1338642"/>
          <a:ext cx="1600484" cy="8532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26" tIns="0" rIns="0" bIns="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900" b="1" kern="1200" dirty="0"/>
            <a:t>Mesures de relance: 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900" b="1" kern="1200" dirty="0"/>
            <a:t>- Comité National de Veille Economique 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900" b="1" kern="1200" dirty="0">
              <a:solidFill>
                <a:srgbClr val="C00000"/>
              </a:solidFill>
            </a:rPr>
            <a:t>- Comités Régionaux de Veille Economique</a:t>
          </a:r>
          <a:endParaRPr lang="fr-FR" sz="900" kern="1200" dirty="0">
            <a:solidFill>
              <a:srgbClr val="C00000"/>
            </a:solidFill>
          </a:endParaRPr>
        </a:p>
      </dsp:txBody>
      <dsp:txXfrm>
        <a:off x="4838635" y="1338642"/>
        <a:ext cx="1600484" cy="8532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7734" cy="341622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5630893" y="0"/>
            <a:ext cx="4307734" cy="341622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685F03DA-1AE4-48A0-9BFB-3A67E8334361}" type="datetimeFigureOut">
              <a:rPr lang="fr-FR" smtClean="0"/>
              <a:t>27/10/2020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438525" y="850900"/>
            <a:ext cx="3063875" cy="2298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fr-FR" dirty="0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994094" y="3276730"/>
            <a:ext cx="7952739" cy="2680960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2" y="6467168"/>
            <a:ext cx="4307734" cy="34162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5630893" y="6467168"/>
            <a:ext cx="4307734" cy="34162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D80E1EC4-C12E-44B5-AD9D-1F1D33F60518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247797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2788" y="1468438"/>
            <a:ext cx="5299075" cy="3975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23544" y="6778274"/>
            <a:ext cx="5509265" cy="323494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53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53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40343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MA" dirty="0"/>
              <a:t>https://www.medias24.com/coronavirus-45-nouveaux-cas-en-24h-6-652-cumules-au-vendredi-15-mai-a-16h-10334.html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80E1EC4-C12E-44B5-AD9D-1F1D33F60518}" type="slidenum">
              <a:rPr lang="fr-FR" smtClean="0"/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406441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98A2E9C5-6F49-4CED-B68C-6091FE81B61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3C5D80A-5CD5-4FBB-811B-C313D2031BE4}" type="slidenum">
              <a:rPr lang="en-US" altLang="fr-FR" smtClean="0"/>
              <a:pPr>
                <a:defRPr/>
              </a:pPr>
              <a:t>6</a:t>
            </a:fld>
            <a:endParaRPr lang="en-US" altLang="fr-FR"/>
          </a:p>
        </p:txBody>
      </p:sp>
      <p:sp>
        <p:nvSpPr>
          <p:cNvPr id="102403" name="Rectangle 2">
            <a:extLst>
              <a:ext uri="{FF2B5EF4-FFF2-40B4-BE49-F238E27FC236}">
                <a16:creationId xmlns:a16="http://schemas.microsoft.com/office/drawing/2014/main" id="{4EADBAB7-F918-4089-ACD2-DF5C3596F2A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4263" y="873125"/>
            <a:ext cx="7724775" cy="5794375"/>
          </a:xfrm>
        </p:spPr>
      </p:sp>
      <p:sp>
        <p:nvSpPr>
          <p:cNvPr id="102404" name="Rectangle 3">
            <a:extLst>
              <a:ext uri="{FF2B5EF4-FFF2-40B4-BE49-F238E27FC236}">
                <a16:creationId xmlns:a16="http://schemas.microsoft.com/office/drawing/2014/main" id="{6DAFC62E-BE02-4F47-A623-F7D43863FDC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171575" y="252413"/>
            <a:ext cx="7607300" cy="222250"/>
          </a:xfrm>
          <a:noFill/>
        </p:spPr>
        <p:txBody>
          <a:bodyPr/>
          <a:lstStyle/>
          <a:p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8017538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F744D5-C111-4702-8731-2BE1CADAE7D9}" type="slidenum">
              <a:rPr lang="fr-FR" smtClean="0"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880788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>
            <a:extLst>
              <a:ext uri="{FF2B5EF4-FFF2-40B4-BE49-F238E27FC236}">
                <a16:creationId xmlns:a16="http://schemas.microsoft.com/office/drawing/2014/main" id="{3D580AE3-DDD7-47B0-92F2-AC35FDA8429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A7B26E1-22B1-4B9A-BC65-F5384703916E}" type="slidenum">
              <a:rPr lang="en-US" altLang="fr-FR"/>
              <a:pPr/>
              <a:t>10</a:t>
            </a:fld>
            <a:endParaRPr lang="en-US" altLang="fr-FR"/>
          </a:p>
        </p:txBody>
      </p:sp>
      <p:sp>
        <p:nvSpPr>
          <p:cNvPr id="5" name="doc id">
            <a:extLst>
              <a:ext uri="{FF2B5EF4-FFF2-40B4-BE49-F238E27FC236}">
                <a16:creationId xmlns:a16="http://schemas.microsoft.com/office/drawing/2014/main" id="{B4178354-9B32-4F2B-80D5-41B304C2056A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cs-CZ" altLang="fr-FR"/>
              <a:t>CAS-AAA123-20091111-</a:t>
            </a:r>
          </a:p>
        </p:txBody>
      </p:sp>
      <p:sp>
        <p:nvSpPr>
          <p:cNvPr id="577538" name="Rectangle 2">
            <a:extLst>
              <a:ext uri="{FF2B5EF4-FFF2-40B4-BE49-F238E27FC236}">
                <a16:creationId xmlns:a16="http://schemas.microsoft.com/office/drawing/2014/main" id="{9E954501-0753-4734-8C31-B65DDB21EF0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77539" name="Rectangle 3">
            <a:extLst>
              <a:ext uri="{FF2B5EF4-FFF2-40B4-BE49-F238E27FC236}">
                <a16:creationId xmlns:a16="http://schemas.microsoft.com/office/drawing/2014/main" id="{E452DF0A-3379-461E-8F6D-89E0A2322EC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50863" y="5329238"/>
            <a:ext cx="5788025" cy="1219200"/>
          </a:xfrm>
        </p:spPr>
        <p:txBody>
          <a:bodyPr/>
          <a:lstStyle/>
          <a:p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7446918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2788" y="1468438"/>
            <a:ext cx="5299075" cy="3975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23544" y="6778274"/>
            <a:ext cx="5509265" cy="323494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53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53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09362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6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7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7.emf"/><Relationship Id="rId2" Type="http://schemas.openxmlformats.org/officeDocument/2006/relationships/tags" Target="../tags/tag41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7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7.emf"/><Relationship Id="rId2" Type="http://schemas.openxmlformats.org/officeDocument/2006/relationships/tags" Target="../tags/tag49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5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5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7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5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7.emf"/><Relationship Id="rId2" Type="http://schemas.openxmlformats.org/officeDocument/2006/relationships/tags" Target="../tags/tag58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6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7.emf"/><Relationship Id="rId2" Type="http://schemas.openxmlformats.org/officeDocument/2006/relationships/tags" Target="../tags/tag61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6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28.vml"/><Relationship Id="rId6" Type="http://schemas.openxmlformats.org/officeDocument/2006/relationships/tags" Target="../tags/tag73.xml"/><Relationship Id="rId5" Type="http://schemas.openxmlformats.org/officeDocument/2006/relationships/tags" Target="../tags/tag72.xml"/><Relationship Id="rId4" Type="http://schemas.openxmlformats.org/officeDocument/2006/relationships/tags" Target="../tags/tag71.xml"/><Relationship Id="rId9" Type="http://schemas.openxmlformats.org/officeDocument/2006/relationships/oleObject" Target="../embeddings/oleObject2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7.emf"/><Relationship Id="rId2" Type="http://schemas.openxmlformats.org/officeDocument/2006/relationships/tags" Target="../tags/tag75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77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7.emf"/><Relationship Id="rId2" Type="http://schemas.openxmlformats.org/officeDocument/2006/relationships/tags" Target="../tags/tag78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80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7.emf"/><Relationship Id="rId2" Type="http://schemas.openxmlformats.org/officeDocument/2006/relationships/tags" Target="../tags/tag81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8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7.emf"/><Relationship Id="rId2" Type="http://schemas.openxmlformats.org/officeDocument/2006/relationships/tags" Target="../tags/tag84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86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0.xml"/><Relationship Id="rId7" Type="http://schemas.openxmlformats.org/officeDocument/2006/relationships/image" Target="../media/image4.emf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7.emf"/><Relationship Id="rId2" Type="http://schemas.openxmlformats.org/officeDocument/2006/relationships/tags" Target="../tags/tag87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89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90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7.emf"/><Relationship Id="rId2" Type="http://schemas.openxmlformats.org/officeDocument/2006/relationships/tags" Target="../tags/tag91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9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7.emf"/><Relationship Id="rId2" Type="http://schemas.openxmlformats.org/officeDocument/2006/relationships/tags" Target="../tags/tag94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9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7.emf"/><Relationship Id="rId2" Type="http://schemas.openxmlformats.org/officeDocument/2006/relationships/tags" Target="../tags/tag99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7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0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7.emf"/><Relationship Id="rId2" Type="http://schemas.openxmlformats.org/officeDocument/2006/relationships/tags" Target="../tags/tag104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0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0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3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6974728"/>
              </p:ext>
            </p:extLst>
          </p:nvPr>
        </p:nvGraphicFramePr>
        <p:xfrm>
          <a:off x="1628" y="162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5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8" y="1628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CAC2A2"/>
          </a:solidFill>
          <a:ln>
            <a:noFill/>
          </a:ln>
          <a:effectLst>
            <a:outerShdw dist="53882" dir="2700000" algn="ctr" rotWithShape="0">
              <a:schemeClr val="tx1">
                <a:alpha val="40000"/>
              </a:schemeClr>
            </a:outerShdw>
          </a:effectLst>
        </p:spPr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041" b="1" i="0" baseline="0" dirty="0">
              <a:solidFill>
                <a:schemeClr val="bg1"/>
              </a:solidFill>
              <a:latin typeface="Gill Sans"/>
              <a:ea typeface="Arial Unicode MS"/>
              <a:sym typeface="Gill Sans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21496" y="234864"/>
            <a:ext cx="8794113" cy="314028"/>
          </a:xfrm>
        </p:spPr>
        <p:txBody>
          <a:bodyPr/>
          <a:lstStyle>
            <a:lvl1pPr>
              <a:defRPr sz="2041">
                <a:latin typeface="Gill Sans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74F1EA-80D4-470E-9329-D0141A71880B}"/>
              </a:ext>
            </a:extLst>
          </p:cNvPr>
          <p:cNvSpPr txBox="1"/>
          <p:nvPr userDrawn="1"/>
        </p:nvSpPr>
        <p:spPr>
          <a:xfrm>
            <a:off x="378862" y="1053709"/>
            <a:ext cx="8386276" cy="5345388"/>
          </a:xfrm>
          <a:prstGeom prst="rect">
            <a:avLst/>
          </a:prstGeom>
          <a:noFill/>
        </p:spPr>
        <p:txBody>
          <a:bodyPr wrap="square" lIns="93235" tIns="46617" rIns="93235" bIns="46617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426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26774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80489BD-72DB-4B84-B5F1-7F27029326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2290628"/>
              </p:ext>
            </p:extLst>
          </p:nvPr>
        </p:nvGraphicFramePr>
        <p:xfrm>
          <a:off x="1629" y="1630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3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80489BD-72DB-4B84-B5F1-7F27029326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9" y="1630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12FE537-5589-4881-82AA-E4BB09B6BF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40080169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2298956"/>
              </p:ext>
            </p:extLst>
          </p:nvPr>
        </p:nvGraphicFramePr>
        <p:xfrm>
          <a:off x="1629" y="1630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67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9" y="1630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7" y="7"/>
            <a:ext cx="9140760" cy="6859620"/>
            <a:chOff x="0" y="0"/>
            <a:chExt cx="5643" cy="423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Document type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Date</a:t>
              </a:r>
            </a:p>
          </p:txBody>
        </p:sp>
        <p:sp>
          <p:nvSpPr>
            <p:cNvPr id="11" name="Disclaimer" hidden="1"/>
            <p:cNvSpPr>
              <a:spLocks noChangeArrowheads="1"/>
            </p:cNvSpPr>
            <p:nvPr/>
          </p:nvSpPr>
          <p:spPr bwMode="auto">
            <a:xfrm>
              <a:off x="1663" y="3710"/>
              <a:ext cx="3226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0" marR="0" lvl="0" indent="0" algn="l" defTabSz="82068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1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CONFIDENTIAL AND PROPRIETARY</a:t>
              </a:r>
            </a:p>
            <a:p>
              <a:pPr marL="0" marR="0" lvl="0" indent="0" algn="l" defTabSz="82068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1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3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3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3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7" y="657455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4" descr="Map monde">
            <a:extLst>
              <a:ext uri="{FF2B5EF4-FFF2-40B4-BE49-F238E27FC236}">
                <a16:creationId xmlns:a16="http://schemas.microsoft.com/office/drawing/2014/main" id="{20EB75A8-6454-44BD-B4C0-26C8AEAB0D3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65"/>
          <a:stretch/>
        </p:blipFill>
        <p:spPr bwMode="gray">
          <a:xfrm>
            <a:off x="3062" y="0"/>
            <a:ext cx="9140938" cy="6860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3928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1602294"/>
              </p:ext>
            </p:extLst>
          </p:nvPr>
        </p:nvGraphicFramePr>
        <p:xfrm>
          <a:off x="1623" y="16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1" name="Diapositive think-cell" r:id="rId6" imgW="360" imgH="360" progId="TCLayout.ActiveDocument.1">
                  <p:embed/>
                </p:oleObj>
              </mc:Choice>
              <mc:Fallback>
                <p:oleObj name="Diapositive think-cell" r:id="rId6" imgW="360" imgH="360" progId="TCLayout.ActiveDocument.1">
                  <p:embed/>
                  <p:pic>
                    <p:nvPicPr>
                      <p:cNvPr id="7" name="Obje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3" y="1624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CAC2A2"/>
          </a:solidFill>
          <a:ln>
            <a:noFill/>
          </a:ln>
          <a:effectLst>
            <a:outerShdw dist="53882" dir="2700000" algn="ctr" rotWithShape="0">
              <a:schemeClr val="tx1">
                <a:alpha val="40000"/>
              </a:schemeClr>
            </a:outerShdw>
          </a:effec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041" b="1" i="0" baseline="0" dirty="0">
              <a:solidFill>
                <a:schemeClr val="bg1"/>
              </a:solidFill>
              <a:latin typeface="Gill Sans"/>
              <a:ea typeface="Arial Unicode MS"/>
              <a:sym typeface="Gill Sans"/>
            </a:endParaRP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BD986EC7-A35A-4665-9C57-483FA80F7F0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10" name="SlideLogoSeparator">
            <a:extLst>
              <a:ext uri="{FF2B5EF4-FFF2-40B4-BE49-F238E27FC236}">
                <a16:creationId xmlns:a16="http://schemas.microsoft.com/office/drawing/2014/main" id="{A3B0FF28-7FA0-402C-9D2A-54D8E1C4659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1" name="TextBox 17">
            <a:extLst>
              <a:ext uri="{FF2B5EF4-FFF2-40B4-BE49-F238E27FC236}">
                <a16:creationId xmlns:a16="http://schemas.microsoft.com/office/drawing/2014/main" id="{8E8DCF7A-99B9-46A3-ACF7-30E7C15AA410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B2DFAC3-A886-468F-B9EA-73EB8023D5C8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4332416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4726" y="1064686"/>
            <a:ext cx="8254555" cy="513684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dirty="0"/>
              <a:t>Edit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49971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8126" name="Rectangle 1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69905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4" name="Diapositive think-cell" r:id="rId9" imgW="0" imgH="0" progId="TCLayout.ActiveDocument.1">
                  <p:embed/>
                </p:oleObj>
              </mc:Choice>
              <mc:Fallback>
                <p:oleObj name="Diapositive think-cell" r:id="rId9" imgW="0" imgH="0" progId="TCLayout.ActiveDocument.1">
                  <p:embed/>
                  <p:pic>
                    <p:nvPicPr>
                      <p:cNvPr id="218126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939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8123" name="Working Draft Text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27638" y="349865"/>
            <a:ext cx="3110094" cy="384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fr-FR" altLang="fr-FR" sz="2449" dirty="0">
                <a:latin typeface="Times New Roman" panose="02020603050405020304" pitchFamily="18" charset="0"/>
              </a:rPr>
              <a:t>Working Draft    </a:t>
            </a:r>
          </a:p>
        </p:txBody>
      </p:sp>
      <p:sp>
        <p:nvSpPr>
          <p:cNvPr id="218124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27638" y="594448"/>
            <a:ext cx="4320103" cy="192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fr-FR" sz="1224" dirty="0"/>
              <a:t>Last Modified 13.01.2008 12:01:20 W. Europe Standard Time</a:t>
            </a:r>
            <a:endParaRPr lang="fr-FR" altLang="fr-FR" sz="1224" dirty="0"/>
          </a:p>
        </p:txBody>
      </p:sp>
      <p:sp>
        <p:nvSpPr>
          <p:cNvPr id="218125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27638" y="816352"/>
            <a:ext cx="3876840" cy="192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fr-FR" sz="1224" dirty="0"/>
              <a:t>Printed 10.01.2008 09:31:59 W. Europe Standard Time</a:t>
            </a:r>
            <a:endParaRPr lang="fr-FR" altLang="fr-FR" sz="1224" dirty="0"/>
          </a:p>
        </p:txBody>
      </p:sp>
      <p:sp>
        <p:nvSpPr>
          <p:cNvPr id="15" name="Title Placeholder 2">
            <a:extLst>
              <a:ext uri="{FF2B5EF4-FFF2-40B4-BE49-F238E27FC236}">
                <a16:creationId xmlns:a16="http://schemas.microsoft.com/office/drawing/2014/main" id="{04440972-D765-4CA3-811E-35D3496A388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16" name="SlideLogoSeparator">
            <a:extLst>
              <a:ext uri="{FF2B5EF4-FFF2-40B4-BE49-F238E27FC236}">
                <a16:creationId xmlns:a16="http://schemas.microsoft.com/office/drawing/2014/main" id="{E1FA40B5-21D1-45AA-AAD6-759FE596CD81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7" name="TextBox 17">
            <a:extLst>
              <a:ext uri="{FF2B5EF4-FFF2-40B4-BE49-F238E27FC236}">
                <a16:creationId xmlns:a16="http://schemas.microsoft.com/office/drawing/2014/main" id="{813C21B1-FC07-4FA8-8D84-B2E5DB296B46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EFDD4102-9C6C-4E5F-9013-7B0671D7DBA4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35217298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25ECBBB8-72A5-4B03-8DC6-883B80DCBE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2562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7" name="Diapositive think-cell" r:id="rId6" imgW="396" imgH="396" progId="TCLayout.ActiveDocument.1">
                  <p:embed/>
                </p:oleObj>
              </mc:Choice>
              <mc:Fallback>
                <p:oleObj name="Diapositive think-cell" r:id="rId6" imgW="396" imgH="396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25ECBBB8-72A5-4B03-8DC6-883B80DCBE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943A9655-3714-4C42-8D85-EBD25CE162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939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Placeholder 2">
            <a:extLst>
              <a:ext uri="{FF2B5EF4-FFF2-40B4-BE49-F238E27FC236}">
                <a16:creationId xmlns:a16="http://schemas.microsoft.com/office/drawing/2014/main" id="{D59F016C-B095-4132-8BF3-7495EC69434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7" name="SlideLogoSeparator">
            <a:extLst>
              <a:ext uri="{FF2B5EF4-FFF2-40B4-BE49-F238E27FC236}">
                <a16:creationId xmlns:a16="http://schemas.microsoft.com/office/drawing/2014/main" id="{F4782F09-F709-40D9-9AC8-48347DC208F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8" name="TextBox 17">
            <a:extLst>
              <a:ext uri="{FF2B5EF4-FFF2-40B4-BE49-F238E27FC236}">
                <a16:creationId xmlns:a16="http://schemas.microsoft.com/office/drawing/2014/main" id="{01D494B7-3D4B-4A98-B58D-8825750159AB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885E441B-4C32-4777-B4AD-66DDD81FF3B5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9596503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2B225D27-950E-4E5C-9F36-634820B893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3564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1" name="Diapositive think-cell" r:id="rId6" imgW="396" imgH="396" progId="TCLayout.ActiveDocument.1">
                  <p:embed/>
                </p:oleObj>
              </mc:Choice>
              <mc:Fallback>
                <p:oleObj name="Diapositive think-cell" r:id="rId6" imgW="396" imgH="396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2B225D27-950E-4E5C-9F36-634820B893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508179F-7D84-4867-BE34-310D72AD3C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939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Placeholder 2">
            <a:extLst>
              <a:ext uri="{FF2B5EF4-FFF2-40B4-BE49-F238E27FC236}">
                <a16:creationId xmlns:a16="http://schemas.microsoft.com/office/drawing/2014/main" id="{9F80F6F5-0A91-477F-A72D-2D6BD65E6BD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7" name="SlideLogoSeparator">
            <a:extLst>
              <a:ext uri="{FF2B5EF4-FFF2-40B4-BE49-F238E27FC236}">
                <a16:creationId xmlns:a16="http://schemas.microsoft.com/office/drawing/2014/main" id="{4E1C5D9D-4391-4653-A868-D1D94B559750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8" name="TextBox 17">
            <a:extLst>
              <a:ext uri="{FF2B5EF4-FFF2-40B4-BE49-F238E27FC236}">
                <a16:creationId xmlns:a16="http://schemas.microsoft.com/office/drawing/2014/main" id="{DAAFE7EF-DFE2-47EC-95C6-2D85FACEC500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45DCF834-B82D-49E9-AC19-AE20E5F9F580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28145632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CBF5613F-ABCB-466D-A889-620A57D963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3353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5" name="Diapositive think-cell" r:id="rId5" imgW="396" imgH="396" progId="TCLayout.ActiveDocument.1">
                  <p:embed/>
                </p:oleObj>
              </mc:Choice>
              <mc:Fallback>
                <p:oleObj name="Diapositive think-cell" r:id="rId5" imgW="396" imgH="39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CBF5613F-ABCB-466D-A889-620A57D963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2">
            <a:extLst>
              <a:ext uri="{FF2B5EF4-FFF2-40B4-BE49-F238E27FC236}">
                <a16:creationId xmlns:a16="http://schemas.microsoft.com/office/drawing/2014/main" id="{008E0584-A154-4E08-8006-B8C211F0B04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9" name="SlideLogoSeparator">
            <a:extLst>
              <a:ext uri="{FF2B5EF4-FFF2-40B4-BE49-F238E27FC236}">
                <a16:creationId xmlns:a16="http://schemas.microsoft.com/office/drawing/2014/main" id="{4B0819D8-FFD2-4530-B0A1-ACB538FDAF8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0" name="TextBox 17">
            <a:extLst>
              <a:ext uri="{FF2B5EF4-FFF2-40B4-BE49-F238E27FC236}">
                <a16:creationId xmlns:a16="http://schemas.microsoft.com/office/drawing/2014/main" id="{AFE6ABC7-C6EB-4644-88CA-AC5B38DA7F4E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4DF88ECE-4E73-42AE-B3A1-D0634F1A87DC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5652083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 13" hidden="1">
            <a:extLst>
              <a:ext uri="{FF2B5EF4-FFF2-40B4-BE49-F238E27FC236}">
                <a16:creationId xmlns:a16="http://schemas.microsoft.com/office/drawing/2014/main" id="{255EB7D4-F88D-4465-8EE5-572D9B323F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215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59" name="Diapositive think-cell" r:id="rId6" imgW="396" imgH="396" progId="TCLayout.ActiveDocument.1">
                  <p:embed/>
                </p:oleObj>
              </mc:Choice>
              <mc:Fallback>
                <p:oleObj name="Diapositive think-cell" r:id="rId6" imgW="396" imgH="396" progId="TCLayout.ActiveDocument.1">
                  <p:embed/>
                  <p:pic>
                    <p:nvPicPr>
                      <p:cNvPr id="14" name="Objet 13" hidden="1">
                        <a:extLst>
                          <a:ext uri="{FF2B5EF4-FFF2-40B4-BE49-F238E27FC236}">
                            <a16:creationId xmlns:a16="http://schemas.microsoft.com/office/drawing/2014/main" id="{255EB7D4-F88D-4465-8EE5-572D9B323F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EF69388B-B281-441F-9D3B-180790C3F8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939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D55349E1-2BDE-4510-A811-5954181A9FA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10" name="SlideLogoSeparator">
            <a:extLst>
              <a:ext uri="{FF2B5EF4-FFF2-40B4-BE49-F238E27FC236}">
                <a16:creationId xmlns:a16="http://schemas.microsoft.com/office/drawing/2014/main" id="{98B55507-C3D4-49C2-9249-5CADA01DCAE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1" name="TextBox 17">
            <a:extLst>
              <a:ext uri="{FF2B5EF4-FFF2-40B4-BE49-F238E27FC236}">
                <a16:creationId xmlns:a16="http://schemas.microsoft.com/office/drawing/2014/main" id="{5349BC9F-4B89-4C26-893E-3FA51759B724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A8CA9FC-EA4C-42F8-858D-A5DFABE47E58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40167847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 9" hidden="1">
            <a:extLst>
              <a:ext uri="{FF2B5EF4-FFF2-40B4-BE49-F238E27FC236}">
                <a16:creationId xmlns:a16="http://schemas.microsoft.com/office/drawing/2014/main" id="{8FF80DC6-7F9E-4F69-8ED4-CBF200615F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0084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3" name="Diapositive think-cell" r:id="rId6" imgW="396" imgH="396" progId="TCLayout.ActiveDocument.1">
                  <p:embed/>
                </p:oleObj>
              </mc:Choice>
              <mc:Fallback>
                <p:oleObj name="Diapositive think-cell" r:id="rId6" imgW="396" imgH="396" progId="TCLayout.ActiveDocument.1">
                  <p:embed/>
                  <p:pic>
                    <p:nvPicPr>
                      <p:cNvPr id="10" name="Objet 9" hidden="1">
                        <a:extLst>
                          <a:ext uri="{FF2B5EF4-FFF2-40B4-BE49-F238E27FC236}">
                            <a16:creationId xmlns:a16="http://schemas.microsoft.com/office/drawing/2014/main" id="{8FF80DC6-7F9E-4F69-8ED4-CBF200615F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40DA2254-316A-414F-AEC4-C5FE3A940C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939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Placeholder 2">
            <a:extLst>
              <a:ext uri="{FF2B5EF4-FFF2-40B4-BE49-F238E27FC236}">
                <a16:creationId xmlns:a16="http://schemas.microsoft.com/office/drawing/2014/main" id="{E3808A59-4446-4926-AC4E-B3759F3C47D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6" name="SlideLogoSeparator">
            <a:extLst>
              <a:ext uri="{FF2B5EF4-FFF2-40B4-BE49-F238E27FC236}">
                <a16:creationId xmlns:a16="http://schemas.microsoft.com/office/drawing/2014/main" id="{CE1BD075-74FC-4D50-A5CE-769D53741DF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7" name="TextBox 17">
            <a:extLst>
              <a:ext uri="{FF2B5EF4-FFF2-40B4-BE49-F238E27FC236}">
                <a16:creationId xmlns:a16="http://schemas.microsoft.com/office/drawing/2014/main" id="{AD67EAD0-CC89-4501-88C8-C14C97B61DA9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EF9D8A6-66FA-4121-95BC-AD5F28CED8ED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7280053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80489BD-72DB-4B84-B5F1-7F27029326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8936487"/>
              </p:ext>
            </p:extLst>
          </p:nvPr>
        </p:nvGraphicFramePr>
        <p:xfrm>
          <a:off x="1628" y="162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9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80489BD-72DB-4B84-B5F1-7F27029326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8" y="1628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CAC2A2"/>
          </a:solidFill>
          <a:ln>
            <a:noFill/>
          </a:ln>
          <a:effectLst>
            <a:outerShdw dist="53882" dir="2700000" algn="ctr" rotWithShape="0">
              <a:schemeClr val="tx1">
                <a:alpha val="40000"/>
              </a:schemeClr>
            </a:outerShdw>
          </a:effectLst>
        </p:spPr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041" b="1" i="0" baseline="0" dirty="0">
              <a:solidFill>
                <a:schemeClr val="bg1"/>
              </a:solidFill>
              <a:latin typeface="Gill Sans"/>
              <a:ea typeface="Arial Unicode MS"/>
              <a:sym typeface="Gill San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2FE537-5589-4881-82AA-E4BB09B6BF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19098586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>
            <a:extLst>
              <a:ext uri="{FF2B5EF4-FFF2-40B4-BE49-F238E27FC236}">
                <a16:creationId xmlns:a16="http://schemas.microsoft.com/office/drawing/2014/main" id="{165B6E53-7978-4B3B-B47F-C5C4759984F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5" name="SlideLogoSeparator">
            <a:extLst>
              <a:ext uri="{FF2B5EF4-FFF2-40B4-BE49-F238E27FC236}">
                <a16:creationId xmlns:a16="http://schemas.microsoft.com/office/drawing/2014/main" id="{541A6600-9AC0-409B-92BB-81407AE7C7A7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id="{FFCF1DB5-BCB7-4216-8AD4-C15CC2C12CF1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D77E0E2C-A1A1-4B9D-98D2-CB9882519AF8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26703403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 11" hidden="1">
            <a:extLst>
              <a:ext uri="{FF2B5EF4-FFF2-40B4-BE49-F238E27FC236}">
                <a16:creationId xmlns:a16="http://schemas.microsoft.com/office/drawing/2014/main" id="{09BD5B5A-89B4-4F34-AD50-3944939091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2082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07" name="Diapositive think-cell" r:id="rId6" imgW="396" imgH="396" progId="TCLayout.ActiveDocument.1">
                  <p:embed/>
                </p:oleObj>
              </mc:Choice>
              <mc:Fallback>
                <p:oleObj name="Diapositive think-cell" r:id="rId6" imgW="396" imgH="396" progId="TCLayout.ActiveDocument.1">
                  <p:embed/>
                  <p:pic>
                    <p:nvPicPr>
                      <p:cNvPr id="12" name="Objet 11" hidden="1">
                        <a:extLst>
                          <a:ext uri="{FF2B5EF4-FFF2-40B4-BE49-F238E27FC236}">
                            <a16:creationId xmlns:a16="http://schemas.microsoft.com/office/drawing/2014/main" id="{09BD5B5A-89B4-4F34-AD50-3944939091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2B70011A-A7EB-4B07-AA38-BEA9B907CF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939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EFB4C39F-3602-4C45-A3D3-421F606CCC7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8" name="SlideLogoSeparator">
            <a:extLst>
              <a:ext uri="{FF2B5EF4-FFF2-40B4-BE49-F238E27FC236}">
                <a16:creationId xmlns:a16="http://schemas.microsoft.com/office/drawing/2014/main" id="{A7AD214C-332E-4F04-8EA4-97893DACF18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9" name="TextBox 17">
            <a:extLst>
              <a:ext uri="{FF2B5EF4-FFF2-40B4-BE49-F238E27FC236}">
                <a16:creationId xmlns:a16="http://schemas.microsoft.com/office/drawing/2014/main" id="{CF5AFA54-8B82-4813-A30F-1C5637BD5A86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829A4C29-B415-4DBB-A2B8-86E70C265F0F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33367472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C1E91FC6-F705-49F2-9110-B5DC1AFF7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7274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1" name="Diapositive think-cell" r:id="rId5" imgW="396" imgH="396" progId="TCLayout.ActiveDocument.1">
                  <p:embed/>
                </p:oleObj>
              </mc:Choice>
              <mc:Fallback>
                <p:oleObj name="Diapositive think-cell" r:id="rId5" imgW="396" imgH="39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C1E91FC6-F705-49F2-9110-B5DC1AFF7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2">
            <a:extLst>
              <a:ext uri="{FF2B5EF4-FFF2-40B4-BE49-F238E27FC236}">
                <a16:creationId xmlns:a16="http://schemas.microsoft.com/office/drawing/2014/main" id="{96ABF1B2-A8FA-4DC9-AD13-268EB15C617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9" name="SlideLogoSeparator">
            <a:extLst>
              <a:ext uri="{FF2B5EF4-FFF2-40B4-BE49-F238E27FC236}">
                <a16:creationId xmlns:a16="http://schemas.microsoft.com/office/drawing/2014/main" id="{1764288B-13EC-4FEA-9121-0129F5ED7987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0" name="TextBox 17">
            <a:extLst>
              <a:ext uri="{FF2B5EF4-FFF2-40B4-BE49-F238E27FC236}">
                <a16:creationId xmlns:a16="http://schemas.microsoft.com/office/drawing/2014/main" id="{D85F50CF-F562-4436-9112-73B0BDDF3A51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7BC99B4E-A06A-49F6-BE6D-F2DEF61FD441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6861636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6BA0D40E-B5F6-4F69-A7B6-E4D95C5DBD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3809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55" name="Diapositive think-cell" r:id="rId6" imgW="396" imgH="396" progId="TCLayout.ActiveDocument.1">
                  <p:embed/>
                </p:oleObj>
              </mc:Choice>
              <mc:Fallback>
                <p:oleObj name="Diapositive think-cell" r:id="rId6" imgW="396" imgH="396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6BA0D40E-B5F6-4F69-A7B6-E4D95C5DBD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60E0563-4C23-425B-8492-D7EF066AA74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939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Placeholder 2">
            <a:extLst>
              <a:ext uri="{FF2B5EF4-FFF2-40B4-BE49-F238E27FC236}">
                <a16:creationId xmlns:a16="http://schemas.microsoft.com/office/drawing/2014/main" id="{A0F47890-40B7-412B-8670-9D9A27C32DB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7" name="SlideLogoSeparator">
            <a:extLst>
              <a:ext uri="{FF2B5EF4-FFF2-40B4-BE49-F238E27FC236}">
                <a16:creationId xmlns:a16="http://schemas.microsoft.com/office/drawing/2014/main" id="{6983C264-BAF9-480B-A035-54E29F8DC39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8" name="TextBox 17">
            <a:extLst>
              <a:ext uri="{FF2B5EF4-FFF2-40B4-BE49-F238E27FC236}">
                <a16:creationId xmlns:a16="http://schemas.microsoft.com/office/drawing/2014/main" id="{1169C055-B915-49E0-A72A-F159A26D1BDA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E4EA4667-1B5A-4455-9A68-29C6757D52A3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7728390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CC566916-72BD-460C-BF8D-BA93B9657B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1825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79" name="Diapositive think-cell" r:id="rId6" imgW="396" imgH="396" progId="TCLayout.ActiveDocument.1">
                  <p:embed/>
                </p:oleObj>
              </mc:Choice>
              <mc:Fallback>
                <p:oleObj name="Diapositive think-cell" r:id="rId6" imgW="396" imgH="396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CC566916-72BD-460C-BF8D-BA93B9657B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6091887-9147-47CE-8D58-F922C734BDA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939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Placeholder 2">
            <a:extLst>
              <a:ext uri="{FF2B5EF4-FFF2-40B4-BE49-F238E27FC236}">
                <a16:creationId xmlns:a16="http://schemas.microsoft.com/office/drawing/2014/main" id="{1B5E5A36-C48E-4BC9-B3D1-621B3993A65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7" name="SlideLogoSeparator">
            <a:extLst>
              <a:ext uri="{FF2B5EF4-FFF2-40B4-BE49-F238E27FC236}">
                <a16:creationId xmlns:a16="http://schemas.microsoft.com/office/drawing/2014/main" id="{1C837A2C-FD7A-424C-96FE-BCF887B4301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8" name="TextBox 17">
            <a:extLst>
              <a:ext uri="{FF2B5EF4-FFF2-40B4-BE49-F238E27FC236}">
                <a16:creationId xmlns:a16="http://schemas.microsoft.com/office/drawing/2014/main" id="{6C766B5D-1913-4396-A708-627AD931C189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3536B880-DD8E-4141-9972-C7F11247EA56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21946386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8126" name="Rectangle 1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451274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27" name="Diapositive think-cell" r:id="rId9" imgW="0" imgH="0" progId="TCLayout.ActiveDocument.1">
                  <p:embed/>
                </p:oleObj>
              </mc:Choice>
              <mc:Fallback>
                <p:oleObj name="Diapositive think-cell" r:id="rId9" imgW="0" imgH="0" progId="TCLayout.ActiveDocument.1">
                  <p:embed/>
                  <p:pic>
                    <p:nvPicPr>
                      <p:cNvPr id="218126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54C3E1-42EF-454D-A85D-7184E05665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449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8123" name="Working Draft Text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27638" y="349865"/>
            <a:ext cx="3110094" cy="384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fr-FR" altLang="fr-FR" sz="2449" dirty="0">
                <a:latin typeface="Times New Roman" panose="02020603050405020304" pitchFamily="18" charset="0"/>
              </a:rPr>
              <a:t>Working Draft    </a:t>
            </a:r>
          </a:p>
        </p:txBody>
      </p:sp>
      <p:sp>
        <p:nvSpPr>
          <p:cNvPr id="218124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27638" y="594448"/>
            <a:ext cx="4320103" cy="192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fr-FR" sz="1224" dirty="0"/>
              <a:t>Last Modified 13.01.2008 12:01:20 W. Europe Standard Time</a:t>
            </a:r>
            <a:endParaRPr lang="fr-FR" altLang="fr-FR" sz="1224" dirty="0"/>
          </a:p>
        </p:txBody>
      </p:sp>
      <p:sp>
        <p:nvSpPr>
          <p:cNvPr id="218125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27638" y="816352"/>
            <a:ext cx="3876840" cy="192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fr-FR" sz="1224" dirty="0"/>
              <a:t>Printed 10.01.2008 09:31:59 W. Europe Standard Time</a:t>
            </a:r>
            <a:endParaRPr lang="fr-FR" altLang="fr-FR" sz="1224" dirty="0"/>
          </a:p>
        </p:txBody>
      </p:sp>
      <p:sp>
        <p:nvSpPr>
          <p:cNvPr id="16" name="Title Placeholder 2">
            <a:extLst>
              <a:ext uri="{FF2B5EF4-FFF2-40B4-BE49-F238E27FC236}">
                <a16:creationId xmlns:a16="http://schemas.microsoft.com/office/drawing/2014/main" id="{9AE53312-9474-497D-B329-2BD8DC3713B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17" name="SlideLogoSeparator">
            <a:extLst>
              <a:ext uri="{FF2B5EF4-FFF2-40B4-BE49-F238E27FC236}">
                <a16:creationId xmlns:a16="http://schemas.microsoft.com/office/drawing/2014/main" id="{30513341-830C-4BBD-A72A-710C26D7FB5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F2CE5D8-4BC7-4F70-834C-823446D65DDB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D0D7BFA3-EB8E-4D1F-82B1-E686C53BE294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17370156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ADEFB62D-085D-430C-8EC8-05200F4A9A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4601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1" name="Diapositive think-cell" r:id="rId6" imgW="396" imgH="396" progId="TCLayout.ActiveDocument.1">
                  <p:embed/>
                </p:oleObj>
              </mc:Choice>
              <mc:Fallback>
                <p:oleObj name="Diapositive think-cell" r:id="rId6" imgW="396" imgH="396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ADEFB62D-085D-430C-8EC8-05200F4A9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CCE9168-4B8B-4E96-B282-9F77673E4C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939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Placeholder 2">
            <a:extLst>
              <a:ext uri="{FF2B5EF4-FFF2-40B4-BE49-F238E27FC236}">
                <a16:creationId xmlns:a16="http://schemas.microsoft.com/office/drawing/2014/main" id="{3FE26DA9-C376-41B9-B26E-7E69F7FFD15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7" name="SlideLogoSeparator">
            <a:extLst>
              <a:ext uri="{FF2B5EF4-FFF2-40B4-BE49-F238E27FC236}">
                <a16:creationId xmlns:a16="http://schemas.microsoft.com/office/drawing/2014/main" id="{5F4AF98C-401B-4BF0-B8BA-029BDF240F5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8" name="TextBox 17">
            <a:extLst>
              <a:ext uri="{FF2B5EF4-FFF2-40B4-BE49-F238E27FC236}">
                <a16:creationId xmlns:a16="http://schemas.microsoft.com/office/drawing/2014/main" id="{C35A09C0-F5D4-42E4-834E-5F2519FCD9DD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3B585AB1-798E-47C4-A7F4-13FB53072EBB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4456828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 10" hidden="1">
            <a:extLst>
              <a:ext uri="{FF2B5EF4-FFF2-40B4-BE49-F238E27FC236}">
                <a16:creationId xmlns:a16="http://schemas.microsoft.com/office/drawing/2014/main" id="{DE487C14-D954-4393-9708-323DD941CC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400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75" name="Diapositive think-cell" r:id="rId6" imgW="396" imgH="396" progId="TCLayout.ActiveDocument.1">
                  <p:embed/>
                </p:oleObj>
              </mc:Choice>
              <mc:Fallback>
                <p:oleObj name="Diapositive think-cell" r:id="rId6" imgW="396" imgH="396" progId="TCLayout.ActiveDocument.1">
                  <p:embed/>
                  <p:pic>
                    <p:nvPicPr>
                      <p:cNvPr id="11" name="Objet 10" hidden="1">
                        <a:extLst>
                          <a:ext uri="{FF2B5EF4-FFF2-40B4-BE49-F238E27FC236}">
                            <a16:creationId xmlns:a16="http://schemas.microsoft.com/office/drawing/2014/main" id="{DE487C14-D954-4393-9708-323DD941CC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6CF0FCA8-E45B-47CF-92D6-F182B6FA636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939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Placeholder 2">
            <a:extLst>
              <a:ext uri="{FF2B5EF4-FFF2-40B4-BE49-F238E27FC236}">
                <a16:creationId xmlns:a16="http://schemas.microsoft.com/office/drawing/2014/main" id="{F25F546D-E718-4A9D-B0ED-9F4BE6F9D0B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7" name="SlideLogoSeparator">
            <a:extLst>
              <a:ext uri="{FF2B5EF4-FFF2-40B4-BE49-F238E27FC236}">
                <a16:creationId xmlns:a16="http://schemas.microsoft.com/office/drawing/2014/main" id="{60D25F12-474A-42DA-9D73-3427C51D4A1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8" name="TextBox 17">
            <a:extLst>
              <a:ext uri="{FF2B5EF4-FFF2-40B4-BE49-F238E27FC236}">
                <a16:creationId xmlns:a16="http://schemas.microsoft.com/office/drawing/2014/main" id="{3673CB4E-BBD5-42B2-BD67-84D876E23F4A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2F623433-B216-4A09-B478-040F444B0ADB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33334089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 11" hidden="1">
            <a:extLst>
              <a:ext uri="{FF2B5EF4-FFF2-40B4-BE49-F238E27FC236}">
                <a16:creationId xmlns:a16="http://schemas.microsoft.com/office/drawing/2014/main" id="{08E340E8-7ADA-4CEA-85BE-E3AC6AAB86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337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99" name="Diapositive think-cell" r:id="rId6" imgW="396" imgH="396" progId="TCLayout.ActiveDocument.1">
                  <p:embed/>
                </p:oleObj>
              </mc:Choice>
              <mc:Fallback>
                <p:oleObj name="Diapositive think-cell" r:id="rId6" imgW="396" imgH="396" progId="TCLayout.ActiveDocument.1">
                  <p:embed/>
                  <p:pic>
                    <p:nvPicPr>
                      <p:cNvPr id="12" name="Objet 11" hidden="1">
                        <a:extLst>
                          <a:ext uri="{FF2B5EF4-FFF2-40B4-BE49-F238E27FC236}">
                            <a16:creationId xmlns:a16="http://schemas.microsoft.com/office/drawing/2014/main" id="{08E340E8-7ADA-4CEA-85BE-E3AC6AAB86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FAAA6DC1-50B7-47A1-ADB2-3B2E254E99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939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72CEB8D7-2518-4485-AB2A-B1F0457F006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8" name="SlideLogoSeparator">
            <a:extLst>
              <a:ext uri="{FF2B5EF4-FFF2-40B4-BE49-F238E27FC236}">
                <a16:creationId xmlns:a16="http://schemas.microsoft.com/office/drawing/2014/main" id="{870906E4-DB29-4719-912D-739B5320EAAB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9" name="TextBox 17">
            <a:extLst>
              <a:ext uri="{FF2B5EF4-FFF2-40B4-BE49-F238E27FC236}">
                <a16:creationId xmlns:a16="http://schemas.microsoft.com/office/drawing/2014/main" id="{246544B2-1C55-4C3D-BD97-74B45DBE69E3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D80404C1-D050-492C-AE2F-3EADB5C66057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39593415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 13" hidden="1">
            <a:extLst>
              <a:ext uri="{FF2B5EF4-FFF2-40B4-BE49-F238E27FC236}">
                <a16:creationId xmlns:a16="http://schemas.microsoft.com/office/drawing/2014/main" id="{A989EF2A-C0AF-4A9A-ADFC-969B1E4BF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4669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23" name="Diapositive think-cell" r:id="rId6" imgW="396" imgH="396" progId="TCLayout.ActiveDocument.1">
                  <p:embed/>
                </p:oleObj>
              </mc:Choice>
              <mc:Fallback>
                <p:oleObj name="Diapositive think-cell" r:id="rId6" imgW="396" imgH="396" progId="TCLayout.ActiveDocument.1">
                  <p:embed/>
                  <p:pic>
                    <p:nvPicPr>
                      <p:cNvPr id="14" name="Objet 13" hidden="1">
                        <a:extLst>
                          <a:ext uri="{FF2B5EF4-FFF2-40B4-BE49-F238E27FC236}">
                            <a16:creationId xmlns:a16="http://schemas.microsoft.com/office/drawing/2014/main" id="{A989EF2A-C0AF-4A9A-ADFC-969B1E4BF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9D1CE326-C332-475E-87CA-86097268AE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939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2">
            <a:extLst>
              <a:ext uri="{FF2B5EF4-FFF2-40B4-BE49-F238E27FC236}">
                <a16:creationId xmlns:a16="http://schemas.microsoft.com/office/drawing/2014/main" id="{C4F60444-4698-4C3B-8ABB-703B30FEB96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10" name="SlideLogoSeparator">
            <a:extLst>
              <a:ext uri="{FF2B5EF4-FFF2-40B4-BE49-F238E27FC236}">
                <a16:creationId xmlns:a16="http://schemas.microsoft.com/office/drawing/2014/main" id="{CCF7B8FA-2B48-4EF5-A4CA-DF77DC70562B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1" name="TextBox 17">
            <a:extLst>
              <a:ext uri="{FF2B5EF4-FFF2-40B4-BE49-F238E27FC236}">
                <a16:creationId xmlns:a16="http://schemas.microsoft.com/office/drawing/2014/main" id="{67CFEA60-DD8A-45B9-A170-7B99937D02F8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4BA1B3CE-55BD-42DF-AF07-F604A3B89700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23419429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8" y="162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4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8" y="1628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8" y="8"/>
            <a:ext cx="9140760" cy="6859620"/>
            <a:chOff x="0" y="0"/>
            <a:chExt cx="5643" cy="423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2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Document type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2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Date</a:t>
              </a:r>
            </a:p>
          </p:txBody>
        </p:sp>
        <p:sp>
          <p:nvSpPr>
            <p:cNvPr id="11" name="Disclaimer" hidden="1"/>
            <p:cNvSpPr>
              <a:spLocks noChangeArrowheads="1"/>
            </p:cNvSpPr>
            <p:nvPr/>
          </p:nvSpPr>
          <p:spPr bwMode="auto">
            <a:xfrm>
              <a:off x="1663" y="3710"/>
              <a:ext cx="3226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0" marR="0" lvl="0" indent="0" algn="l" defTabSz="82059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1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CONFIDENTIAL AND PROPRIETARY</a:t>
              </a:r>
            </a:p>
            <a:p>
              <a:pPr marL="0" marR="0" lvl="0" indent="0" algn="l" defTabSz="82059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1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63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7" y="6574553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SlideLogoSeparator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7" name="TextBox 17"/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9" name="ZoneTexte 18"/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  <p:pic>
        <p:nvPicPr>
          <p:cNvPr id="20" name="Picture 4" descr="Map monde">
            <a:extLst>
              <a:ext uri="{FF2B5EF4-FFF2-40B4-BE49-F238E27FC236}">
                <a16:creationId xmlns:a16="http://schemas.microsoft.com/office/drawing/2014/main" id="{20EB75A8-6454-44BD-B4C0-26C8AEAB0D3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65"/>
          <a:stretch/>
        </p:blipFill>
        <p:spPr bwMode="gray">
          <a:xfrm>
            <a:off x="3125" y="8"/>
            <a:ext cx="913775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68747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 9" hidden="1">
            <a:extLst>
              <a:ext uri="{FF2B5EF4-FFF2-40B4-BE49-F238E27FC236}">
                <a16:creationId xmlns:a16="http://schemas.microsoft.com/office/drawing/2014/main" id="{ABBE4082-E279-45AF-8E89-D2182C6CFB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0368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47" name="Diapositive think-cell" r:id="rId6" imgW="396" imgH="396" progId="TCLayout.ActiveDocument.1">
                  <p:embed/>
                </p:oleObj>
              </mc:Choice>
              <mc:Fallback>
                <p:oleObj name="Diapositive think-cell" r:id="rId6" imgW="396" imgH="396" progId="TCLayout.ActiveDocument.1">
                  <p:embed/>
                  <p:pic>
                    <p:nvPicPr>
                      <p:cNvPr id="10" name="Objet 9" hidden="1">
                        <a:extLst>
                          <a:ext uri="{FF2B5EF4-FFF2-40B4-BE49-F238E27FC236}">
                            <a16:creationId xmlns:a16="http://schemas.microsoft.com/office/drawing/2014/main" id="{ABBE4082-E279-45AF-8E89-D2182C6CF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574F86F-0A7B-42DE-8E3A-FCFE675080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939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Placeholder 2">
            <a:extLst>
              <a:ext uri="{FF2B5EF4-FFF2-40B4-BE49-F238E27FC236}">
                <a16:creationId xmlns:a16="http://schemas.microsoft.com/office/drawing/2014/main" id="{E3EAC920-6A5E-4E66-BFE2-9E4EE616ECB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6" name="SlideLogoSeparator">
            <a:extLst>
              <a:ext uri="{FF2B5EF4-FFF2-40B4-BE49-F238E27FC236}">
                <a16:creationId xmlns:a16="http://schemas.microsoft.com/office/drawing/2014/main" id="{D47807D4-18DF-451C-9536-D6A3E2E2955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7" name="TextBox 17">
            <a:extLst>
              <a:ext uri="{FF2B5EF4-FFF2-40B4-BE49-F238E27FC236}">
                <a16:creationId xmlns:a16="http://schemas.microsoft.com/office/drawing/2014/main" id="{74969E21-5D2C-48F6-B416-9BC6C56C4E70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08395BD-3FE8-4FCF-999A-F203A5006EC1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16085530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>
            <a:extLst>
              <a:ext uri="{FF2B5EF4-FFF2-40B4-BE49-F238E27FC236}">
                <a16:creationId xmlns:a16="http://schemas.microsoft.com/office/drawing/2014/main" id="{DDCBAF33-2059-492F-B3EB-CF5FC0828DC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5" name="SlideLogoSeparator">
            <a:extLst>
              <a:ext uri="{FF2B5EF4-FFF2-40B4-BE49-F238E27FC236}">
                <a16:creationId xmlns:a16="http://schemas.microsoft.com/office/drawing/2014/main" id="{4F92A385-246C-4FEC-A2DD-FDE545333EB5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id="{41FBFF13-EF24-4751-85E5-779C0B8ACC81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13727934-033E-4AE4-8916-1A7588766442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1673318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 11" hidden="1">
            <a:extLst>
              <a:ext uri="{FF2B5EF4-FFF2-40B4-BE49-F238E27FC236}">
                <a16:creationId xmlns:a16="http://schemas.microsoft.com/office/drawing/2014/main" id="{6A000B1A-E839-46E0-B5A0-7863C0AB8B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5360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1" name="Diapositive think-cell" r:id="rId6" imgW="396" imgH="396" progId="TCLayout.ActiveDocument.1">
                  <p:embed/>
                </p:oleObj>
              </mc:Choice>
              <mc:Fallback>
                <p:oleObj name="Diapositive think-cell" r:id="rId6" imgW="396" imgH="396" progId="TCLayout.ActiveDocument.1">
                  <p:embed/>
                  <p:pic>
                    <p:nvPicPr>
                      <p:cNvPr id="12" name="Objet 11" hidden="1">
                        <a:extLst>
                          <a:ext uri="{FF2B5EF4-FFF2-40B4-BE49-F238E27FC236}">
                            <a16:creationId xmlns:a16="http://schemas.microsoft.com/office/drawing/2014/main" id="{6A000B1A-E839-46E0-B5A0-7863C0AB8B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B12B5CE1-854B-4DA4-8F59-39CE4246F4D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939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A39D4875-C826-482A-9F66-EBDF2B6A50E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8" name="SlideLogoSeparator">
            <a:extLst>
              <a:ext uri="{FF2B5EF4-FFF2-40B4-BE49-F238E27FC236}">
                <a16:creationId xmlns:a16="http://schemas.microsoft.com/office/drawing/2014/main" id="{3E463EC2-A524-4982-9F11-22C15F9B222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9" name="TextBox 17">
            <a:extLst>
              <a:ext uri="{FF2B5EF4-FFF2-40B4-BE49-F238E27FC236}">
                <a16:creationId xmlns:a16="http://schemas.microsoft.com/office/drawing/2014/main" id="{640ADB08-4BFE-4BB8-A874-01BB5CB47561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E528AD4-EF66-466D-93C6-06885314E185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5014783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 11" hidden="1">
            <a:extLst>
              <a:ext uri="{FF2B5EF4-FFF2-40B4-BE49-F238E27FC236}">
                <a16:creationId xmlns:a16="http://schemas.microsoft.com/office/drawing/2014/main" id="{488CE196-2471-4D84-837F-3760382601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8133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95" name="Diapositive think-cell" r:id="rId6" imgW="396" imgH="396" progId="TCLayout.ActiveDocument.1">
                  <p:embed/>
                </p:oleObj>
              </mc:Choice>
              <mc:Fallback>
                <p:oleObj name="Diapositive think-cell" r:id="rId6" imgW="396" imgH="396" progId="TCLayout.ActiveDocument.1">
                  <p:embed/>
                  <p:pic>
                    <p:nvPicPr>
                      <p:cNvPr id="12" name="Objet 11" hidden="1">
                        <a:extLst>
                          <a:ext uri="{FF2B5EF4-FFF2-40B4-BE49-F238E27FC236}">
                            <a16:creationId xmlns:a16="http://schemas.microsoft.com/office/drawing/2014/main" id="{488CE196-2471-4D84-837F-3760382601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C000CB03-73EE-4ED2-B506-79BAC1245D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939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8DF13B8C-1857-4CBE-8246-C578F722C0D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8" name="SlideLogoSeparator">
            <a:extLst>
              <a:ext uri="{FF2B5EF4-FFF2-40B4-BE49-F238E27FC236}">
                <a16:creationId xmlns:a16="http://schemas.microsoft.com/office/drawing/2014/main" id="{117DEC0B-CE00-44C5-8597-154B652233F4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9" name="TextBox 17">
            <a:extLst>
              <a:ext uri="{FF2B5EF4-FFF2-40B4-BE49-F238E27FC236}">
                <a16:creationId xmlns:a16="http://schemas.microsoft.com/office/drawing/2014/main" id="{EFB45A75-F85F-4776-8096-B49C5E99D77F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9D1556C5-86BD-4640-9259-DB0B6E52BE20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18564308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 11" hidden="1">
            <a:extLst>
              <a:ext uri="{FF2B5EF4-FFF2-40B4-BE49-F238E27FC236}">
                <a16:creationId xmlns:a16="http://schemas.microsoft.com/office/drawing/2014/main" id="{80DAE5DA-F95D-490F-B544-E4E7368FEE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3798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19" name="Diapositive think-cell" r:id="rId5" imgW="396" imgH="396" progId="TCLayout.ActiveDocument.1">
                  <p:embed/>
                </p:oleObj>
              </mc:Choice>
              <mc:Fallback>
                <p:oleObj name="Diapositive think-cell" r:id="rId5" imgW="396" imgH="396" progId="TCLayout.ActiveDocument.1">
                  <p:embed/>
                  <p:pic>
                    <p:nvPicPr>
                      <p:cNvPr id="12" name="Objet 11" hidden="1">
                        <a:extLst>
                          <a:ext uri="{FF2B5EF4-FFF2-40B4-BE49-F238E27FC236}">
                            <a16:creationId xmlns:a16="http://schemas.microsoft.com/office/drawing/2014/main" id="{80DAE5DA-F95D-490F-B544-E4E7368FEE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Placeholder 2">
            <a:extLst>
              <a:ext uri="{FF2B5EF4-FFF2-40B4-BE49-F238E27FC236}">
                <a16:creationId xmlns:a16="http://schemas.microsoft.com/office/drawing/2014/main" id="{3DEB0368-6625-4AE7-987E-46944EE8991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14" name="SlideLogoSeparator">
            <a:extLst>
              <a:ext uri="{FF2B5EF4-FFF2-40B4-BE49-F238E27FC236}">
                <a16:creationId xmlns:a16="http://schemas.microsoft.com/office/drawing/2014/main" id="{D07B1ADB-E02A-49C0-8995-E6EF4D36C1ED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5" name="TextBox 17">
            <a:extLst>
              <a:ext uri="{FF2B5EF4-FFF2-40B4-BE49-F238E27FC236}">
                <a16:creationId xmlns:a16="http://schemas.microsoft.com/office/drawing/2014/main" id="{3D4A3404-6B97-451C-B196-4385B9547957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4C14CFB0-14CA-4E1C-8E6B-9E0EDE1E15FC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4624165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 16" hidden="1">
            <a:extLst>
              <a:ext uri="{FF2B5EF4-FFF2-40B4-BE49-F238E27FC236}">
                <a16:creationId xmlns:a16="http://schemas.microsoft.com/office/drawing/2014/main" id="{8D5DD06D-0C4D-4804-A4C9-75D02D0D8B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4084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43" name="Diapositive think-cell" r:id="rId6" imgW="396" imgH="396" progId="TCLayout.ActiveDocument.1">
                  <p:embed/>
                </p:oleObj>
              </mc:Choice>
              <mc:Fallback>
                <p:oleObj name="Diapositive think-cell" r:id="rId6" imgW="396" imgH="396" progId="TCLayout.ActiveDocument.1">
                  <p:embed/>
                  <p:pic>
                    <p:nvPicPr>
                      <p:cNvPr id="17" name="Objet 16" hidden="1">
                        <a:extLst>
                          <a:ext uri="{FF2B5EF4-FFF2-40B4-BE49-F238E27FC236}">
                            <a16:creationId xmlns:a16="http://schemas.microsoft.com/office/drawing/2014/main" id="{8D5DD06D-0C4D-4804-A4C9-75D02D0D8B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DBC0BF7A-F9CC-4EB5-BBF6-0ABA6A0FD5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939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03674E64-91CF-48AF-8575-23846986D2F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13" name="SlideLogoSeparator">
            <a:extLst>
              <a:ext uri="{FF2B5EF4-FFF2-40B4-BE49-F238E27FC236}">
                <a16:creationId xmlns:a16="http://schemas.microsoft.com/office/drawing/2014/main" id="{0329E852-DC33-4375-9B1A-42527BA680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4" name="TextBox 17">
            <a:extLst>
              <a:ext uri="{FF2B5EF4-FFF2-40B4-BE49-F238E27FC236}">
                <a16:creationId xmlns:a16="http://schemas.microsoft.com/office/drawing/2014/main" id="{C30EFF6C-D516-4904-BA62-79558DF996E5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A81E2289-EB35-4A8E-BC1F-876018EF63BC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37509734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2717AED0-E763-4398-A598-80DD422985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954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1" name="Diapositive think-cell" r:id="rId6" imgW="396" imgH="396" progId="TCLayout.ActiveDocument.1">
                  <p:embed/>
                </p:oleObj>
              </mc:Choice>
              <mc:Fallback>
                <p:oleObj name="Diapositive think-cell" r:id="rId6" imgW="396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2717AED0-E763-4398-A598-80DD42298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BDE6586-1CC4-41D0-BA1C-A8EBF6B2D1F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846"/>
              </a:lnSpc>
              <a:spcBef>
                <a:spcPct val="0"/>
              </a:spcBef>
              <a:spcAft>
                <a:spcPct val="0"/>
              </a:spcAft>
            </a:pPr>
            <a:endParaRPr lang="fr-FR" sz="1846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Title Placeholder 2">
            <a:extLst>
              <a:ext uri="{FF2B5EF4-FFF2-40B4-BE49-F238E27FC236}">
                <a16:creationId xmlns:a16="http://schemas.microsoft.com/office/drawing/2014/main" id="{7731999D-AEB7-4571-84D3-040F21C6999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="1">
                <a:solidFill>
                  <a:srgbClr val="002060"/>
                </a:solidFill>
              </a:defRPr>
            </a:lvl1pPr>
          </a:lstStyle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17" name="SlideLogoSeparator">
            <a:extLst>
              <a:ext uri="{FF2B5EF4-FFF2-40B4-BE49-F238E27FC236}">
                <a16:creationId xmlns:a16="http://schemas.microsoft.com/office/drawing/2014/main" id="{DAC52FB3-37DE-4801-ADEE-6D2A56275E2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002060"/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002060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8CDEA35-C885-4FBD-A439-331BE6BEA62A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1" i="0" u="none" strike="noStrike" kern="1200" cap="none" spc="0" normalizeH="0" baseline="0" noProof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417FE24F-DEA2-483E-9222-DA86420BEE9C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28511433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0F95F08E-62A4-4C24-AAF1-827CA2523D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9334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15" name="Diapositive think-cell" r:id="rId4" imgW="396" imgH="396" progId="TCLayout.ActiveDocument.1">
                  <p:embed/>
                </p:oleObj>
              </mc:Choice>
              <mc:Fallback>
                <p:oleObj name="Diapositive think-cell" r:id="rId4" imgW="396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0F95F08E-62A4-4C24-AAF1-827CA2523D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40400918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que -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406A7939-CD18-4A8D-A915-81202E13AC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5478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39" name="Diapositive think-cell" r:id="rId4" imgW="396" imgH="396" progId="TCLayout.ActiveDocument.1">
                  <p:embed/>
                </p:oleObj>
              </mc:Choice>
              <mc:Fallback>
                <p:oleObj name="Diapositive think-cell" r:id="rId4" imgW="396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406A7939-CD18-4A8D-A915-81202E13AC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48541371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que -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86975D63-C80D-4F5F-A85D-462E698A2A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698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63" name="Diapositive think-cell" r:id="rId4" imgW="396" imgH="396" progId="TCLayout.ActiveDocument.1">
                  <p:embed/>
                </p:oleObj>
              </mc:Choice>
              <mc:Fallback>
                <p:oleObj name="Diapositive think-cell" r:id="rId4" imgW="396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86975D63-C80D-4F5F-A85D-462E698A2A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5381201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226D19A-74FF-47B9-8FF1-1FB8F17AF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9959928"/>
              </p:ext>
            </p:extLst>
          </p:nvPr>
        </p:nvGraphicFramePr>
        <p:xfrm>
          <a:off x="1628" y="162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7"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226D19A-74FF-47B9-8FF1-1FB8F17AF2C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8" y="1628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CAC2A2"/>
          </a:solidFill>
          <a:ln>
            <a:noFill/>
          </a:ln>
          <a:effectLst>
            <a:outerShdw dist="53882" dir="2700000" algn="ctr" rotWithShape="0">
              <a:schemeClr val="tx1">
                <a:alpha val="40000"/>
              </a:schemeClr>
            </a:outerShdw>
          </a:effectLst>
        </p:spPr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041" b="1" i="0" baseline="0" dirty="0">
              <a:solidFill>
                <a:schemeClr val="bg1"/>
              </a:solidFill>
              <a:latin typeface="Gill Sans"/>
              <a:ea typeface="Arial Unicode MS"/>
              <a:sym typeface="Gill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ck to edit Master title style</a:t>
            </a:r>
            <a:endParaRPr lang="fr-F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22038" y="1508767"/>
            <a:ext cx="8305565" cy="4590288"/>
          </a:xfrm>
        </p:spPr>
        <p:txBody>
          <a:bodyPr lIns="0" tIns="0" rIns="0" bIns="0"/>
          <a:lstStyle>
            <a:lvl1pPr>
              <a:spcBef>
                <a:spcPts val="354"/>
              </a:spcBef>
              <a:defRPr/>
            </a:lvl1pPr>
            <a:lvl2pPr marL="421664" indent="-212493">
              <a:spcBef>
                <a:spcPts val="354"/>
              </a:spcBef>
              <a:defRPr/>
            </a:lvl2pPr>
            <a:lvl3pPr marL="843332" indent="-212493">
              <a:spcBef>
                <a:spcPts val="354"/>
              </a:spcBef>
              <a:defRPr/>
            </a:lvl3pPr>
            <a:lvl4pPr marL="1268319" indent="-215813">
              <a:spcBef>
                <a:spcPts val="354"/>
              </a:spcBef>
              <a:defRPr/>
            </a:lvl4pPr>
            <a:lvl5pPr marL="1899159" indent="-212493">
              <a:spcBef>
                <a:spcPts val="354"/>
              </a:spcBef>
              <a:defRPr/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880943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76337D2A-5B6C-4283-BFE3-1431AAB6D9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5104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87" name="Diapositive think-cell" r:id="rId4" imgW="396" imgH="396" progId="TCLayout.ActiveDocument.1">
                  <p:embed/>
                </p:oleObj>
              </mc:Choice>
              <mc:Fallback>
                <p:oleObj name="Diapositive think-cell" r:id="rId4" imgW="396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76337D2A-5B6C-4283-BFE3-1431AAB6D9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7193318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oîtes -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B8DD89BD-0AE8-46EB-BB95-C14E905D56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152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11" name="Diapositive think-cell" r:id="rId4" imgW="396" imgH="396" progId="TCLayout.ActiveDocument.1">
                  <p:embed/>
                </p:oleObj>
              </mc:Choice>
              <mc:Fallback>
                <p:oleObj name="Diapositive think-cell" r:id="rId4" imgW="396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B8DD89BD-0AE8-46EB-BB95-C14E905D56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934286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oîtes - connexion log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95458D06-29E9-456C-8B24-E3EA537B03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2179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35" name="Diapositive think-cell" r:id="rId4" imgW="396" imgH="396" progId="TCLayout.ActiveDocument.1">
                  <p:embed/>
                </p:oleObj>
              </mc:Choice>
              <mc:Fallback>
                <p:oleObj name="Diapositive think-cell" r:id="rId4" imgW="396" imgH="396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95458D06-29E9-456C-8B24-E3EA537B03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477797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82C7BCD6-A444-4F51-BC80-00179D4A5C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5691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59" name="Diapositive think-cell" r:id="rId4" imgW="396" imgH="396" progId="TCLayout.ActiveDocument.1">
                  <p:embed/>
                </p:oleObj>
              </mc:Choice>
              <mc:Fallback>
                <p:oleObj name="Diapositive think-cell" r:id="rId4" imgW="396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82C7BCD6-A444-4F51-BC80-00179D4A5C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547423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ois boîtes -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56952F0F-366F-489B-9EC3-55F7229E6F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9353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83" name="Diapositive think-cell" r:id="rId4" imgW="396" imgH="396" progId="TCLayout.ActiveDocument.1">
                  <p:embed/>
                </p:oleObj>
              </mc:Choice>
              <mc:Fallback>
                <p:oleObj name="Diapositive think-cell" r:id="rId4" imgW="396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56952F0F-366F-489B-9EC3-55F7229E6F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2197957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01A890AA-DD67-42C5-9125-64AB3BE396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5480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07" name="Diapositive think-cell" r:id="rId4" imgW="396" imgH="396" progId="TCLayout.ActiveDocument.1">
                  <p:embed/>
                </p:oleObj>
              </mc:Choice>
              <mc:Fallback>
                <p:oleObj name="Diapositive think-cell" r:id="rId4" imgW="396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01A890AA-DD67-42C5-9125-64AB3BE39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3839099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ée - 2 illustr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4B9F97D5-14AF-4200-A6D1-5F289DCEA6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9624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31" name="Diapositive think-cell" r:id="rId4" imgW="396" imgH="396" progId="TCLayout.ActiveDocument.1">
                  <p:embed/>
                </p:oleObj>
              </mc:Choice>
              <mc:Fallback>
                <p:oleObj name="Diapositive think-cell" r:id="rId4" imgW="396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4B9F97D5-14AF-4200-A6D1-5F289DCEA6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464465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ée - 3 illustr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D950326B-EF07-426C-AB4B-5E256EF6CE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639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55" name="Diapositive think-cell" r:id="rId4" imgW="396" imgH="396" progId="TCLayout.ActiveDocument.1">
                  <p:embed/>
                </p:oleObj>
              </mc:Choice>
              <mc:Fallback>
                <p:oleObj name="Diapositive think-cell" r:id="rId4" imgW="396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D950326B-EF07-426C-AB4B-5E256EF6CE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5983796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dées -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F150C31A-26C0-46D5-9D34-7B4E6CAE1A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9034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79" name="Diapositive think-cell" r:id="rId4" imgW="396" imgH="396" progId="TCLayout.ActiveDocument.1">
                  <p:embed/>
                </p:oleObj>
              </mc:Choice>
              <mc:Fallback>
                <p:oleObj name="Diapositive think-cell" r:id="rId4" imgW="396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F150C31A-26C0-46D5-9D34-7B4E6CAE1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138930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dées - Descriptions -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DC908403-5145-4E7E-ADB1-7C188E856C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9065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03" name="Diapositive think-cell" r:id="rId4" imgW="396" imgH="396" progId="TCLayout.ActiveDocument.1">
                  <p:embed/>
                </p:oleObj>
              </mc:Choice>
              <mc:Fallback>
                <p:oleObj name="Diapositive think-cell" r:id="rId4" imgW="396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DC908403-5145-4E7E-ADB1-7C188E856C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157379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8" y="162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5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8" y="1628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7" y="7"/>
            <a:ext cx="9140760" cy="6859620"/>
            <a:chOff x="0" y="0"/>
            <a:chExt cx="5643" cy="423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Document type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Date</a:t>
              </a:r>
            </a:p>
          </p:txBody>
        </p:sp>
        <p:sp>
          <p:nvSpPr>
            <p:cNvPr id="11" name="Disclaimer" hidden="1"/>
            <p:cNvSpPr>
              <a:spLocks noChangeArrowheads="1"/>
            </p:cNvSpPr>
            <p:nvPr/>
          </p:nvSpPr>
          <p:spPr bwMode="auto">
            <a:xfrm>
              <a:off x="1663" y="3710"/>
              <a:ext cx="3226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0" marR="0" lvl="0" indent="0" algn="l" defTabSz="82068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1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CONFIDENTIAL AND PROPRIETARY</a:t>
              </a:r>
            </a:p>
            <a:p>
              <a:pPr marL="0" marR="0" lvl="0" indent="0" algn="l" defTabSz="82068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1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3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3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3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6" y="6574553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4" descr="Map monde">
            <a:extLst>
              <a:ext uri="{FF2B5EF4-FFF2-40B4-BE49-F238E27FC236}">
                <a16:creationId xmlns:a16="http://schemas.microsoft.com/office/drawing/2014/main" id="{20EB75A8-6454-44BD-B4C0-26C8AEAB0D3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65"/>
          <a:stretch/>
        </p:blipFill>
        <p:spPr bwMode="gray">
          <a:xfrm>
            <a:off x="3062" y="0"/>
            <a:ext cx="9140938" cy="6860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188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8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haînement Concepts -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5F822099-F14A-4E9E-AAA3-EDB58EADA0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6265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27" name="Diapositive think-cell" r:id="rId4" imgW="396" imgH="396" progId="TCLayout.ActiveDocument.1">
                  <p:embed/>
                </p:oleObj>
              </mc:Choice>
              <mc:Fallback>
                <p:oleObj name="Diapositive think-cell" r:id="rId4" imgW="396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5F822099-F14A-4E9E-AAA3-EDB58EADA0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8950977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us 3 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0996272A-191C-4D31-BBCA-B563087613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1958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1" name="Diapositive think-cell" r:id="rId4" imgW="396" imgH="396" progId="TCLayout.ActiveDocument.1">
                  <p:embed/>
                </p:oleObj>
              </mc:Choice>
              <mc:Fallback>
                <p:oleObj name="Diapositive think-cell" r:id="rId4" imgW="396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0996272A-191C-4D31-BBCA-B563087613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1389129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us 4 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0594165A-CDD4-4834-8A52-B8118189E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5924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75" name="Diapositive think-cell" r:id="rId4" imgW="396" imgH="396" progId="TCLayout.ActiveDocument.1">
                  <p:embed/>
                </p:oleObj>
              </mc:Choice>
              <mc:Fallback>
                <p:oleObj name="Diapositive think-cell" r:id="rId4" imgW="396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0594165A-CDD4-4834-8A52-B8118189E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8932815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us 5 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B94DE5B4-87F6-4872-9323-1ED216F943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702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99" name="Diapositive think-cell" r:id="rId4" imgW="396" imgH="396" progId="TCLayout.ActiveDocument.1">
                  <p:embed/>
                </p:oleObj>
              </mc:Choice>
              <mc:Fallback>
                <p:oleObj name="Diapositive think-cell" r:id="rId4" imgW="396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B94DE5B4-87F6-4872-9323-1ED216F943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726034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ept clé &amp; Pili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4A4BE6E1-9FA8-4CA3-AF02-D256D73503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1088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23" name="Diapositive think-cell" r:id="rId4" imgW="396" imgH="396" progId="TCLayout.ActiveDocument.1">
                  <p:embed/>
                </p:oleObj>
              </mc:Choice>
              <mc:Fallback>
                <p:oleObj name="Diapositive think-cell" r:id="rId4" imgW="396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4A4BE6E1-9FA8-4CA3-AF02-D256D73503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0255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>
          <p15:clr>
            <a:srgbClr val="FBAE40"/>
          </p15:clr>
        </p15:guide>
        <p15:guide id="3" pos="312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us circulaire 4 éta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ED3F4974-3B22-4C99-8A00-BE8996BB7F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818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47" name="Diapositive think-cell" r:id="rId4" imgW="396" imgH="396" progId="TCLayout.ActiveDocument.1">
                  <p:embed/>
                </p:oleObj>
              </mc:Choice>
              <mc:Fallback>
                <p:oleObj name="Diapositive think-cell" r:id="rId4" imgW="396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ED3F4974-3B22-4C99-8A00-BE8996BB7F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57049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>
          <p15:clr>
            <a:srgbClr val="FBAE40"/>
          </p15:clr>
        </p15:guide>
        <p15:guide id="3" pos="312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etc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D7F44742-AA64-48B3-83D2-C8139E4EDF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257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1" name="Diapositive think-cell" r:id="rId4" imgW="396" imgH="396" progId="TCLayout.ActiveDocument.1">
                  <p:embed/>
                </p:oleObj>
              </mc:Choice>
              <mc:Fallback>
                <p:oleObj name="Diapositive think-cell" r:id="rId4" imgW="396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D7F44742-AA64-48B3-83D2-C8139E4ED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33176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>
          <p15:clr>
            <a:srgbClr val="FBAE40"/>
          </p15:clr>
        </p15:guide>
        <p15:guide id="3" pos="312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 comment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287AAE26-4C70-45FA-9DCE-FA7AC31A6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9448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95" name="Diapositive think-cell" r:id="rId4" imgW="396" imgH="396" progId="TCLayout.ActiveDocument.1">
                  <p:embed/>
                </p:oleObj>
              </mc:Choice>
              <mc:Fallback>
                <p:oleObj name="Diapositive think-cell" r:id="rId4" imgW="396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287AAE26-4C70-45FA-9DCE-FA7AC31A6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80641116"/>
      </p:ext>
    </p:extLst>
  </p:cSld>
  <p:clrMapOvr>
    <a:masterClrMapping/>
  </p:clrMapOvr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nning mis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D1572B83-E819-4C62-A01B-AD3FC2C462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0377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19" name="Diapositive think-cell" r:id="rId4" imgW="396" imgH="396" progId="TCLayout.ActiveDocument.1">
                  <p:embed/>
                </p:oleObj>
              </mc:Choice>
              <mc:Fallback>
                <p:oleObj name="Diapositive think-cell" r:id="rId4" imgW="396" imgH="396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D1572B83-E819-4C62-A01B-AD3FC2C462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911505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Proj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67036DE5-59EA-4091-A339-781A27B904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6731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43" name="Diapositive think-cell" r:id="rId4" imgW="396" imgH="396" progId="TCLayout.ActiveDocument.1">
                  <p:embed/>
                </p:oleObj>
              </mc:Choice>
              <mc:Fallback>
                <p:oleObj name="Diapositive think-cell" r:id="rId4" imgW="396" imgH="396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67036DE5-59EA-4091-A339-781A27B904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573183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8" y="162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3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8" y="1628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21494" y="234864"/>
            <a:ext cx="8794114" cy="314028"/>
          </a:xfrm>
        </p:spPr>
        <p:txBody>
          <a:bodyPr/>
          <a:lstStyle>
            <a:lvl1pPr>
              <a:defRPr sz="2041">
                <a:latin typeface="Gill Sans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74F1EA-80D4-470E-9329-D0141A71880B}"/>
              </a:ext>
            </a:extLst>
          </p:cNvPr>
          <p:cNvSpPr txBox="1"/>
          <p:nvPr userDrawn="1"/>
        </p:nvSpPr>
        <p:spPr>
          <a:xfrm>
            <a:off x="378863" y="1053709"/>
            <a:ext cx="8386276" cy="5345388"/>
          </a:xfrm>
          <a:prstGeom prst="rect">
            <a:avLst/>
          </a:prstGeom>
          <a:noFill/>
        </p:spPr>
        <p:txBody>
          <a:bodyPr wrap="square" lIns="93241" tIns="46620" rIns="93241" bIns="46620" rtlCol="0">
            <a:noAutofit/>
          </a:bodyPr>
          <a:lstStyle/>
          <a:p>
            <a:pPr marL="0" marR="0" lvl="0" indent="0" algn="l" defTabSz="9143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2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01626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80489BD-72DB-4B84-B5F1-7F27029326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8" y="162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7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80489BD-72DB-4B84-B5F1-7F27029326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8" y="1628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12FE537-5589-4881-82AA-E4BB09B6BF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6458999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8" y="162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1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8" y="1628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7" y="7"/>
            <a:ext cx="9140760" cy="6859620"/>
            <a:chOff x="0" y="0"/>
            <a:chExt cx="5643" cy="423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Document type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Date</a:t>
              </a:r>
            </a:p>
          </p:txBody>
        </p:sp>
        <p:sp>
          <p:nvSpPr>
            <p:cNvPr id="11" name="Disclaimer" hidden="1"/>
            <p:cNvSpPr>
              <a:spLocks noChangeArrowheads="1"/>
            </p:cNvSpPr>
            <p:nvPr/>
          </p:nvSpPr>
          <p:spPr bwMode="auto">
            <a:xfrm>
              <a:off x="1663" y="3710"/>
              <a:ext cx="3226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0" marR="0" lvl="0" indent="0" algn="l" defTabSz="82068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1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CONFIDENTIAL AND PROPRIETARY</a:t>
              </a:r>
            </a:p>
            <a:p>
              <a:pPr marL="0" marR="0" lvl="0" indent="0" algn="l" defTabSz="82068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816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3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3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3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6" y="6574553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4" descr="Map monde">
            <a:extLst>
              <a:ext uri="{FF2B5EF4-FFF2-40B4-BE49-F238E27FC236}">
                <a16:creationId xmlns:a16="http://schemas.microsoft.com/office/drawing/2014/main" id="{20EB75A8-6454-44BD-B4C0-26C8AEAB0D3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65"/>
          <a:stretch/>
        </p:blipFill>
        <p:spPr bwMode="gray">
          <a:xfrm>
            <a:off x="3062" y="0"/>
            <a:ext cx="9140938" cy="6860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8662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8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6301700"/>
              </p:ext>
            </p:extLst>
          </p:nvPr>
        </p:nvGraphicFramePr>
        <p:xfrm>
          <a:off x="1629" y="1630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19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9" y="1630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21494" y="234864"/>
            <a:ext cx="8794114" cy="314028"/>
          </a:xfrm>
        </p:spPr>
        <p:txBody>
          <a:bodyPr/>
          <a:lstStyle>
            <a:lvl1pPr>
              <a:defRPr sz="2041">
                <a:latin typeface="Gill Sans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74F1EA-80D4-470E-9329-D0141A71880B}"/>
              </a:ext>
            </a:extLst>
          </p:cNvPr>
          <p:cNvSpPr txBox="1"/>
          <p:nvPr userDrawn="1"/>
        </p:nvSpPr>
        <p:spPr>
          <a:xfrm>
            <a:off x="378864" y="1053709"/>
            <a:ext cx="8386276" cy="5345388"/>
          </a:xfrm>
          <a:prstGeom prst="rect">
            <a:avLst/>
          </a:prstGeom>
          <a:noFill/>
        </p:spPr>
        <p:txBody>
          <a:bodyPr wrap="square" lIns="93241" tIns="46620" rIns="93241" bIns="46620" rtlCol="0">
            <a:noAutofit/>
          </a:bodyPr>
          <a:lstStyle/>
          <a:p>
            <a:pPr marL="0" marR="0" lvl="0" indent="0" algn="l" defTabSz="9143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2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3365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15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14.xml"/><Relationship Id="rId5" Type="http://schemas.openxmlformats.org/officeDocument/2006/relationships/vmlDrawing" Target="../drawings/vmlDrawing7.vml"/><Relationship Id="rId4" Type="http://schemas.openxmlformats.org/officeDocument/2006/relationships/theme" Target="../theme/theme2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slideLayout" Target="../slideLayouts/slideLayout11.xml"/><Relationship Id="rId7" Type="http://schemas.openxmlformats.org/officeDocument/2006/relationships/vmlDrawing" Target="../drawings/vmlDrawing11.v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3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3.xml"/><Relationship Id="rId10" Type="http://schemas.openxmlformats.org/officeDocument/2006/relationships/oleObject" Target="../embeddings/oleObject11.bin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2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vmlDrawing" Target="../drawings/vmlDrawing16.vml"/><Relationship Id="rId18" Type="http://schemas.openxmlformats.org/officeDocument/2006/relationships/tags" Target="../tags/tag3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4.xml"/><Relationship Id="rId17" Type="http://schemas.openxmlformats.org/officeDocument/2006/relationships/tags" Target="../tags/tag30.xml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29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28.xml"/><Relationship Id="rId10" Type="http://schemas.openxmlformats.org/officeDocument/2006/relationships/slideLayout" Target="../slideLayouts/slideLayout23.xml"/><Relationship Id="rId19" Type="http://schemas.openxmlformats.org/officeDocument/2006/relationships/oleObject" Target="../embeddings/oleObject16.bin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2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vmlDrawing" Target="../drawings/vmlDrawing27.vml"/><Relationship Id="rId18" Type="http://schemas.openxmlformats.org/officeDocument/2006/relationships/tags" Target="../tags/tag68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5.xml"/><Relationship Id="rId17" Type="http://schemas.openxmlformats.org/officeDocument/2006/relationships/tags" Target="../tags/tag67.xml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6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ags" Target="../tags/tag65.xml"/><Relationship Id="rId10" Type="http://schemas.openxmlformats.org/officeDocument/2006/relationships/slideLayout" Target="../slideLayouts/slideLayout34.xml"/><Relationship Id="rId19" Type="http://schemas.openxmlformats.org/officeDocument/2006/relationships/oleObject" Target="../embeddings/oleObject27.bin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ags" Target="../tags/tag6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vmlDrawing" Target="../drawings/vmlDrawing38.v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theme" Target="../theme/theme6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oleObject" Target="../embeddings/oleObject38.bin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tags" Target="../tags/tag103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tags" Target="../tags/tag102.xml"/><Relationship Id="rId30" Type="http://schemas.openxmlformats.org/officeDocument/2006/relationships/image" Target="../media/image7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4930971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2" name="Diapositive think-cell" r:id="rId11" imgW="360" imgH="360" progId="TCLayout.ActiveDocument.1">
                  <p:embed/>
                </p:oleObj>
              </mc:Choice>
              <mc:Fallback>
                <p:oleObj name="Diapositive think-cell" r:id="rId11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9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CAC2A2"/>
          </a:solidFill>
          <a:ln>
            <a:noFill/>
          </a:ln>
          <a:effectLst>
            <a:outerShdw dist="53882" dir="2700000" algn="ctr" rotWithShape="0">
              <a:schemeClr val="tx1">
                <a:alpha val="40000"/>
              </a:schemeClr>
            </a:outerShdw>
          </a:effectLst>
        </p:spPr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041" b="1" i="0" baseline="0" dirty="0">
              <a:solidFill>
                <a:schemeClr val="bg1"/>
              </a:solidFill>
              <a:latin typeface="Gill Sans"/>
              <a:ea typeface="Arial Unicode MS"/>
              <a:sym typeface="Gill San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21489" y="27538"/>
            <a:ext cx="889799" cy="22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26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21495" y="542621"/>
            <a:ext cx="8794113" cy="2559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3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3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198794"/>
            <a:ext cx="8722840" cy="526421"/>
            <a:chOff x="75" y="3827"/>
            <a:chExt cx="5385" cy="32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6879" marR="0" lvl="0" indent="-106879" algn="l" defTabSz="9133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2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514" marR="0" lvl="0" indent="-621514" algn="l" defTabSz="91284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624750" algn="l"/>
                </a:tabLst>
                <a:defRPr/>
              </a:pPr>
              <a:r>
                <a:rPr kumimoji="0" lang="fr-FR" sz="102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SOURCE 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2" y="1137059"/>
            <a:ext cx="4350892" cy="531274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3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Title</a:t>
              </a:r>
            </a:p>
            <a:p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3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Unit of measure</a:t>
              </a:r>
            </a:p>
          </p:txBody>
        </p:sp>
      </p:grpSp>
      <p:sp>
        <p:nvSpPr>
          <p:cNvPr id="23" name="SlideLogoSeparator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24" name="TextBox 17"/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25" name="ZoneTexte 24"/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672478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722" r:id="rId5"/>
  </p:sldLayoutIdLst>
  <p:hf hdr="0" ftr="0" dt="0"/>
  <p:txStyles>
    <p:titleStyle>
      <a:lvl1pPr algn="l" defTabSz="912847" rtl="0" eaLnBrk="1" fontAlgn="base" hangingPunct="1">
        <a:spcBef>
          <a:spcPct val="0"/>
        </a:spcBef>
        <a:spcAft>
          <a:spcPct val="0"/>
        </a:spcAft>
        <a:tabLst>
          <a:tab pos="275149" algn="l"/>
        </a:tabLst>
        <a:defRPr lang="fr-FR" sz="2041" b="1" baseline="0" noProof="0" dirty="0">
          <a:solidFill>
            <a:schemeClr val="tx2"/>
          </a:solidFill>
          <a:latin typeface="Gill Sans"/>
          <a:ea typeface="Arial Unicode MS" pitchFamily="34" charset="-128"/>
          <a:cs typeface="Arial Unicode MS" pitchFamily="34" charset="-128"/>
        </a:defRPr>
      </a:lvl1pPr>
      <a:lvl2pPr algn="l" defTabSz="912847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2847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2847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2847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131" algn="l" defTabSz="912847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271" algn="l" defTabSz="912847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8407" algn="l" defTabSz="912847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4540" algn="l" defTabSz="912847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84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0" baseline="0">
          <a:solidFill>
            <a:schemeClr val="tx1"/>
          </a:solidFill>
          <a:latin typeface="Gill Sans"/>
          <a:ea typeface="Arial Unicode MS" pitchFamily="34" charset="-128"/>
          <a:cs typeface="Arial Unicode MS" pitchFamily="34" charset="-128"/>
        </a:defRPr>
      </a:lvl1pPr>
      <a:lvl2pPr marL="197461" indent="-195843" algn="l" defTabSz="9128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0" baseline="0">
          <a:solidFill>
            <a:schemeClr val="tx1"/>
          </a:solidFill>
          <a:latin typeface="Gill Sans"/>
          <a:ea typeface="Arial Unicode MS" pitchFamily="34" charset="-128"/>
          <a:cs typeface="Arial Unicode MS" pitchFamily="34" charset="-128"/>
        </a:defRPr>
      </a:lvl2pPr>
      <a:lvl3pPr marL="466131" indent="-267057" algn="l" defTabSz="9128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0" baseline="0">
          <a:solidFill>
            <a:schemeClr val="tx1"/>
          </a:solidFill>
          <a:latin typeface="Gill Sans"/>
          <a:ea typeface="Arial Unicode MS" pitchFamily="34" charset="-128"/>
          <a:cs typeface="Arial Unicode MS" pitchFamily="34" charset="-128"/>
        </a:defRPr>
      </a:lvl3pPr>
      <a:lvl4pPr marL="626370" indent="-158616" algn="l" defTabSz="9128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0" baseline="0">
          <a:solidFill>
            <a:schemeClr val="tx1"/>
          </a:solidFill>
          <a:latin typeface="Gill Sans"/>
          <a:ea typeface="Arial Unicode MS" pitchFamily="34" charset="-128"/>
          <a:cs typeface="Arial Unicode MS" pitchFamily="34" charset="-128"/>
        </a:defRPr>
      </a:lvl4pPr>
      <a:lvl5pPr marL="764461" indent="-132719" algn="l" defTabSz="9128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0" baseline="0">
          <a:solidFill>
            <a:schemeClr val="tx1"/>
          </a:solidFill>
          <a:latin typeface="Gill Sans"/>
          <a:ea typeface="Arial Unicode MS" pitchFamily="34" charset="-128"/>
          <a:cs typeface="Arial Unicode MS" pitchFamily="34" charset="-128"/>
        </a:defRPr>
      </a:lvl5pPr>
      <a:lvl6pPr marL="764461" indent="-132719" algn="l" defTabSz="9128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0" baseline="0">
          <a:solidFill>
            <a:schemeClr val="tx1"/>
          </a:solidFill>
          <a:latin typeface="+mn-lt"/>
        </a:defRPr>
      </a:lvl6pPr>
      <a:lvl7pPr marL="764461" indent="-132719" algn="l" defTabSz="9128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0" baseline="0">
          <a:solidFill>
            <a:schemeClr val="tx1"/>
          </a:solidFill>
          <a:latin typeface="+mn-lt"/>
        </a:defRPr>
      </a:lvl7pPr>
      <a:lvl8pPr marL="764461" indent="-132719" algn="l" defTabSz="9128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0" baseline="0">
          <a:solidFill>
            <a:schemeClr val="tx1"/>
          </a:solidFill>
          <a:latin typeface="+mn-lt"/>
        </a:defRPr>
      </a:lvl8pPr>
      <a:lvl9pPr marL="764461" indent="-132719" algn="l" defTabSz="9128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271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131" algn="l" defTabSz="932271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271" algn="l" defTabSz="932271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8407" algn="l" defTabSz="932271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4540" algn="l" defTabSz="932271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0677" algn="l" defTabSz="932271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6810" algn="l" defTabSz="932271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2945" algn="l" defTabSz="932271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29082" algn="l" defTabSz="932271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99" name="Diapositive think-cell" r:id="rId8" imgW="360" imgH="360" progId="TCLayout.ActiveDocument.1">
                  <p:embed/>
                </p:oleObj>
              </mc:Choice>
              <mc:Fallback>
                <p:oleObj name="Diapositive think-cell" r:id="rId8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4" y="234864"/>
            <a:ext cx="879411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21491" y="27536"/>
            <a:ext cx="889799" cy="224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3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27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21494" y="542621"/>
            <a:ext cx="8794114" cy="2560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2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31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90" y="6198787"/>
            <a:ext cx="8722841" cy="526420"/>
            <a:chOff x="75" y="3827"/>
            <a:chExt cx="5385" cy="32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4764" marR="0" lvl="0" indent="-104764" algn="l" defTabSz="8952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2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580" marR="0" lvl="0" indent="-621580" algn="l" defTabSz="9129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624816" algn="l"/>
                </a:tabLst>
                <a:defRPr/>
              </a:pPr>
              <a:r>
                <a:rPr kumimoji="0" lang="fr-FR" sz="102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SOURCE 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1" y="1072272"/>
            <a:ext cx="4350892" cy="596067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3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Title</a:t>
              </a:r>
            </a:p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37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Unit of measure</a:t>
              </a:r>
            </a:p>
          </p:txBody>
        </p:sp>
      </p:grpSp>
      <p:sp>
        <p:nvSpPr>
          <p:cNvPr id="24" name="SlideLogoSeparator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8847797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9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25" name="TextBox 17"/>
          <p:cNvSpPr txBox="1"/>
          <p:nvPr userDrawn="1"/>
        </p:nvSpPr>
        <p:spPr>
          <a:xfrm>
            <a:off x="8915608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3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26" name="ZoneTexte 25"/>
          <p:cNvSpPr txBox="1"/>
          <p:nvPr userDrawn="1"/>
        </p:nvSpPr>
        <p:spPr>
          <a:xfrm>
            <a:off x="7000242" y="6611124"/>
            <a:ext cx="1910348" cy="221898"/>
          </a:xfrm>
          <a:prstGeom prst="rect">
            <a:avLst/>
          </a:prstGeom>
          <a:noFill/>
        </p:spPr>
        <p:txBody>
          <a:bodyPr wrap="square" lIns="97831" tIns="48916" rIns="97831" bIns="48916" rtlCol="0">
            <a:spAutoFit/>
          </a:bodyPr>
          <a:lstStyle/>
          <a:p>
            <a:pPr marL="0" marR="0" lvl="0" indent="0" algn="r" defTabSz="9143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3547224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</p:sldLayoutIdLst>
  <p:hf hdr="0" ftr="0" dt="0"/>
  <p:txStyles>
    <p:titleStyle>
      <a:lvl1pPr algn="l" defTabSz="912944" rtl="0" eaLnBrk="1" fontAlgn="base" hangingPunct="1">
        <a:spcBef>
          <a:spcPct val="0"/>
        </a:spcBef>
        <a:spcAft>
          <a:spcPct val="0"/>
        </a:spcAft>
        <a:tabLst>
          <a:tab pos="275179" algn="l"/>
        </a:tabLst>
        <a:defRPr lang="fr-FR" sz="2041" b="1" baseline="0" noProof="0" dirty="0">
          <a:solidFill>
            <a:schemeClr val="tx2"/>
          </a:solidFill>
          <a:latin typeface="Gill Sans"/>
          <a:ea typeface="Arial Unicode MS" pitchFamily="34" charset="-128"/>
          <a:cs typeface="Arial Unicode MS" pitchFamily="34" charset="-128"/>
        </a:defRPr>
      </a:lvl1pPr>
      <a:lvl2pPr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181"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369"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8555"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4738"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1" baseline="0">
          <a:solidFill>
            <a:schemeClr val="tx1"/>
          </a:solidFill>
          <a:latin typeface="Gill Sans"/>
          <a:ea typeface="Arial Unicode MS" pitchFamily="34" charset="-128"/>
          <a:cs typeface="Arial Unicode MS" pitchFamily="34" charset="-128"/>
        </a:defRPr>
      </a:lvl1pPr>
      <a:lvl2pPr marL="197482" indent="-19586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1" baseline="0">
          <a:solidFill>
            <a:schemeClr val="tx1"/>
          </a:solidFill>
          <a:latin typeface="Gill Sans"/>
          <a:ea typeface="Arial Unicode MS" pitchFamily="34" charset="-128"/>
          <a:cs typeface="Arial Unicode MS" pitchFamily="34" charset="-128"/>
        </a:defRPr>
      </a:lvl2pPr>
      <a:lvl3pPr marL="466181" indent="-267086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1" baseline="0">
          <a:solidFill>
            <a:schemeClr val="tx1"/>
          </a:solidFill>
          <a:latin typeface="Gill Sans"/>
          <a:ea typeface="Arial Unicode MS" pitchFamily="34" charset="-128"/>
          <a:cs typeface="Arial Unicode MS" pitchFamily="34" charset="-128"/>
        </a:defRPr>
      </a:lvl3pPr>
      <a:lvl4pPr marL="626437" indent="-1586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1" baseline="0">
          <a:solidFill>
            <a:schemeClr val="tx1"/>
          </a:solidFill>
          <a:latin typeface="Gill Sans"/>
          <a:ea typeface="Arial Unicode MS" pitchFamily="34" charset="-128"/>
          <a:cs typeface="Arial Unicode MS" pitchFamily="34" charset="-128"/>
        </a:defRPr>
      </a:lvl4pPr>
      <a:lvl5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1" baseline="0">
          <a:solidFill>
            <a:schemeClr val="tx1"/>
          </a:solidFill>
          <a:latin typeface="Gill Sans"/>
          <a:ea typeface="Arial Unicode MS" pitchFamily="34" charset="-128"/>
          <a:cs typeface="Arial Unicode MS" pitchFamily="34" charset="-128"/>
        </a:defRPr>
      </a:lvl5pPr>
      <a:lvl6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1" baseline="0">
          <a:solidFill>
            <a:schemeClr val="tx1"/>
          </a:solidFill>
          <a:latin typeface="+mn-lt"/>
        </a:defRPr>
      </a:lvl6pPr>
      <a:lvl7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1" baseline="0">
          <a:solidFill>
            <a:schemeClr val="tx1"/>
          </a:solidFill>
          <a:latin typeface="+mn-lt"/>
        </a:defRPr>
      </a:lvl7pPr>
      <a:lvl8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1" baseline="0">
          <a:solidFill>
            <a:schemeClr val="tx1"/>
          </a:solidFill>
          <a:latin typeface="+mn-lt"/>
        </a:defRPr>
      </a:lvl8pPr>
      <a:lvl9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1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181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369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8555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4738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0924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7106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3291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29478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254238674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" name="Diapositive think-cell" r:id="rId10" imgW="360" imgH="360" progId="TCLayout.ActiveDocument.1">
                  <p:embed/>
                </p:oleObj>
              </mc:Choice>
              <mc:Fallback>
                <p:oleObj name="Diapositive think-cell" r:id="rId10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4" y="234864"/>
            <a:ext cx="879411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21492" y="27537"/>
            <a:ext cx="872034" cy="21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3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27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21494" y="542621"/>
            <a:ext cx="8794114" cy="2560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2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31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91" y="6198787"/>
            <a:ext cx="8722841" cy="526420"/>
            <a:chOff x="75" y="3827"/>
            <a:chExt cx="5385" cy="32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4764" marR="0" lvl="0" indent="-104764" algn="l" defTabSz="8952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02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580" marR="0" lvl="0" indent="-621580" algn="l" defTabSz="9129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624816" algn="l"/>
                </a:tabLst>
                <a:defRPr/>
              </a:pPr>
              <a:r>
                <a:rPr kumimoji="0" lang="fr-FR" sz="102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SOURCE 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2" y="1072274"/>
            <a:ext cx="4350892" cy="596067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37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Title</a:t>
              </a:r>
            </a:p>
            <a:p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37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Unit of measure</a:t>
              </a:r>
            </a:p>
          </p:txBody>
        </p:sp>
      </p:grpSp>
      <p:sp>
        <p:nvSpPr>
          <p:cNvPr id="24" name="SlideLogoSeparator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8847798" y="6611809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9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25" name="TextBox 17"/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143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143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26" name="ZoneTexte 25"/>
          <p:cNvSpPr txBox="1"/>
          <p:nvPr userDrawn="1"/>
        </p:nvSpPr>
        <p:spPr>
          <a:xfrm>
            <a:off x="7000243" y="6611124"/>
            <a:ext cx="1910348" cy="221898"/>
          </a:xfrm>
          <a:prstGeom prst="rect">
            <a:avLst/>
          </a:prstGeom>
          <a:noFill/>
        </p:spPr>
        <p:txBody>
          <a:bodyPr wrap="square" lIns="97831" tIns="48916" rIns="97831" bIns="48916" rtlCol="0">
            <a:spAutoFit/>
          </a:bodyPr>
          <a:lstStyle/>
          <a:p>
            <a:pPr marL="0" marR="0" lvl="0" indent="0" algn="r" defTabSz="9143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1824354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30" r:id="rId4"/>
    <p:sldLayoutId id="2147483818" r:id="rId5"/>
  </p:sldLayoutIdLst>
  <p:hf hdr="0" ftr="0" dt="0"/>
  <p:txStyles>
    <p:titleStyle>
      <a:lvl1pPr algn="l" defTabSz="912944" rtl="0" eaLnBrk="1" fontAlgn="base" hangingPunct="1">
        <a:spcBef>
          <a:spcPct val="0"/>
        </a:spcBef>
        <a:spcAft>
          <a:spcPct val="0"/>
        </a:spcAft>
        <a:tabLst>
          <a:tab pos="275179" algn="l"/>
        </a:tabLst>
        <a:defRPr lang="fr-FR" sz="2041" b="1" baseline="0" noProof="0" dirty="0">
          <a:solidFill>
            <a:schemeClr val="tx2"/>
          </a:solidFill>
          <a:latin typeface="Gill Sans"/>
          <a:ea typeface="Arial Unicode MS" pitchFamily="34" charset="-128"/>
          <a:cs typeface="Arial Unicode MS" pitchFamily="34" charset="-128"/>
        </a:defRPr>
      </a:lvl1pPr>
      <a:lvl2pPr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181"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369"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8555"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4738" algn="l" defTabSz="9129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1" baseline="0">
          <a:solidFill>
            <a:schemeClr val="tx1"/>
          </a:solidFill>
          <a:latin typeface="Gill Sans"/>
          <a:ea typeface="Arial Unicode MS" pitchFamily="34" charset="-128"/>
          <a:cs typeface="Arial Unicode MS" pitchFamily="34" charset="-128"/>
        </a:defRPr>
      </a:lvl1pPr>
      <a:lvl2pPr marL="197482" indent="-19586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1" baseline="0">
          <a:solidFill>
            <a:schemeClr val="tx1"/>
          </a:solidFill>
          <a:latin typeface="Gill Sans"/>
          <a:ea typeface="Arial Unicode MS" pitchFamily="34" charset="-128"/>
          <a:cs typeface="Arial Unicode MS" pitchFamily="34" charset="-128"/>
        </a:defRPr>
      </a:lvl2pPr>
      <a:lvl3pPr marL="466181" indent="-267086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1" baseline="0">
          <a:solidFill>
            <a:schemeClr val="tx1"/>
          </a:solidFill>
          <a:latin typeface="Gill Sans"/>
          <a:ea typeface="Arial Unicode MS" pitchFamily="34" charset="-128"/>
          <a:cs typeface="Arial Unicode MS" pitchFamily="34" charset="-128"/>
        </a:defRPr>
      </a:lvl3pPr>
      <a:lvl4pPr marL="626437" indent="-1586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1" baseline="0">
          <a:solidFill>
            <a:schemeClr val="tx1"/>
          </a:solidFill>
          <a:latin typeface="Gill Sans"/>
          <a:ea typeface="Arial Unicode MS" pitchFamily="34" charset="-128"/>
          <a:cs typeface="Arial Unicode MS" pitchFamily="34" charset="-128"/>
        </a:defRPr>
      </a:lvl4pPr>
      <a:lvl5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1" baseline="0">
          <a:solidFill>
            <a:schemeClr val="tx1"/>
          </a:solidFill>
          <a:latin typeface="Gill Sans"/>
          <a:ea typeface="Arial Unicode MS" pitchFamily="34" charset="-128"/>
          <a:cs typeface="Arial Unicode MS" pitchFamily="34" charset="-128"/>
        </a:defRPr>
      </a:lvl5pPr>
      <a:lvl6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1" baseline="0">
          <a:solidFill>
            <a:schemeClr val="tx1"/>
          </a:solidFill>
          <a:latin typeface="+mn-lt"/>
        </a:defRPr>
      </a:lvl6pPr>
      <a:lvl7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1" baseline="0">
          <a:solidFill>
            <a:schemeClr val="tx1"/>
          </a:solidFill>
          <a:latin typeface="+mn-lt"/>
        </a:defRPr>
      </a:lvl7pPr>
      <a:lvl8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1" baseline="0">
          <a:solidFill>
            <a:schemeClr val="tx1"/>
          </a:solidFill>
          <a:latin typeface="+mn-lt"/>
        </a:defRPr>
      </a:lvl8pPr>
      <a:lvl9pPr marL="764542" indent="-132733" algn="l" defTabSz="9129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1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181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369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8555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4738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0924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7106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3291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29478" algn="l" defTabSz="93236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7097" name="Rectangle 9" hidden="1"/>
          <p:cNvGraphicFramePr>
            <a:graphicFrameLocks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4764342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1" name="Diapositive think-cell" r:id="rId19" imgW="0" imgH="0" progId="TCLayout.ActiveDocument.1">
                  <p:embed/>
                </p:oleObj>
              </mc:Choice>
              <mc:Fallback>
                <p:oleObj name="Diapositive think-cell" r:id="rId19" imgW="0" imgH="0" progId="TCLayout.ActiveDocument.1">
                  <p:embed/>
                  <p:pic>
                    <p:nvPicPr>
                      <p:cNvPr id="217097" name="Rectangle 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939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7095" name="Working Draft" hidden="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gray">
          <a:xfrm rot="5400000">
            <a:off x="8177257" y="2761392"/>
            <a:ext cx="1790942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fr-FR" sz="612" dirty="0"/>
              <a:t>Working Draft - Last Modified 13.01.2008 12:01:20</a:t>
            </a:r>
            <a:endParaRPr lang="fr-FR" altLang="fr-FR" sz="612" dirty="0"/>
          </a:p>
        </p:txBody>
      </p:sp>
      <p:sp>
        <p:nvSpPr>
          <p:cNvPr id="217096" name="Printed" hidden="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 rot="5400000">
            <a:off x="8568157" y="4300149"/>
            <a:ext cx="1009142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fr-FR" altLang="fr-FR" sz="612" dirty="0"/>
              <a:t>Printed 10.01.2008 09:31:59</a:t>
            </a:r>
          </a:p>
        </p:txBody>
      </p:sp>
      <p:sp>
        <p:nvSpPr>
          <p:cNvPr id="14" name="Title Placeholder 2">
            <a:extLst>
              <a:ext uri="{FF2B5EF4-FFF2-40B4-BE49-F238E27FC236}">
                <a16:creationId xmlns:a16="http://schemas.microsoft.com/office/drawing/2014/main" id="{39BE43DE-041C-43F9-8631-4B8B5260CF5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15" name="SlideLogoSeparator">
            <a:extLst>
              <a:ext uri="{FF2B5EF4-FFF2-40B4-BE49-F238E27FC236}">
                <a16:creationId xmlns:a16="http://schemas.microsoft.com/office/drawing/2014/main" id="{3C51C5C1-FB72-4BE1-9D1C-E3166785BA47}"/>
              </a:ext>
            </a:extLst>
          </p:cNvPr>
          <p:cNvSpPr>
            <a:spLocks noChangeArrowheads="1"/>
          </p:cNvSpPr>
          <p:nvPr userDrawn="1">
            <p:custDataLst>
              <p:tags r:id="rId18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6" name="TextBox 17">
            <a:extLst>
              <a:ext uri="{FF2B5EF4-FFF2-40B4-BE49-F238E27FC236}">
                <a16:creationId xmlns:a16="http://schemas.microsoft.com/office/drawing/2014/main" id="{F3AAD8EF-C1DB-48C1-9629-0DC68EFAAE1B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DB969175-3F28-493A-8CF2-E0F130C42AAD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2647423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</p:sldLayoutIdLst>
  <p:hf hdr="0" ftr="0" dt="0"/>
  <p:txStyles>
    <p:titleStyle>
      <a:lvl1pPr algn="l" defTabSz="913526" rtl="0" fontAlgn="base">
        <a:spcBef>
          <a:spcPct val="0"/>
        </a:spcBef>
        <a:spcAft>
          <a:spcPct val="0"/>
        </a:spcAft>
        <a:defRPr sz="1939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66481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32962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99443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65925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algn="l" defTabSz="913526" rtl="0" fontAlgn="base">
        <a:spcBef>
          <a:spcPct val="0"/>
        </a:spcBef>
        <a:spcAft>
          <a:spcPct val="0"/>
        </a:spcAft>
        <a:buSzPct val="120000"/>
        <a:defRPr sz="1632" kern="1200">
          <a:solidFill>
            <a:schemeClr val="tx1"/>
          </a:solidFill>
          <a:latin typeface="+mn-lt"/>
          <a:ea typeface="+mn-ea"/>
          <a:cs typeface="+mn-cs"/>
        </a:defRPr>
      </a:lvl1pPr>
      <a:lvl2pPr marL="147396" indent="-145775" algn="l" defTabSz="913526" rtl="0" fontAlgn="base">
        <a:spcBef>
          <a:spcPct val="0"/>
        </a:spcBef>
        <a:spcAft>
          <a:spcPct val="0"/>
        </a:spcAft>
        <a:buSzPct val="120000"/>
        <a:buChar char="•"/>
        <a:defRPr sz="1632" kern="1200">
          <a:solidFill>
            <a:schemeClr val="tx1"/>
          </a:solidFill>
          <a:latin typeface="+mn-lt"/>
          <a:ea typeface="+mn-ea"/>
          <a:cs typeface="+mn-cs"/>
        </a:defRPr>
      </a:lvl2pPr>
      <a:lvl3pPr marL="301269" indent="-152254" algn="l" defTabSz="913526" rtl="0" fontAlgn="base">
        <a:spcBef>
          <a:spcPct val="0"/>
        </a:spcBef>
        <a:spcAft>
          <a:spcPct val="0"/>
        </a:spcAft>
        <a:buChar char="–"/>
        <a:defRPr sz="1632" kern="1200">
          <a:solidFill>
            <a:schemeClr val="tx1"/>
          </a:solidFill>
          <a:latin typeface="+mn-lt"/>
          <a:ea typeface="+mn-ea"/>
          <a:cs typeface="+mn-cs"/>
        </a:defRPr>
      </a:lvl3pPr>
      <a:lvl4pPr marL="440566" indent="-137677" algn="l" defTabSz="913526" rtl="0" fontAlgn="base">
        <a:spcBef>
          <a:spcPct val="0"/>
        </a:spcBef>
        <a:spcAft>
          <a:spcPct val="0"/>
        </a:spcAft>
        <a:buSzPct val="89000"/>
        <a:buChar char="•"/>
        <a:defRPr sz="1632" kern="1200">
          <a:solidFill>
            <a:schemeClr val="tx1"/>
          </a:solidFill>
          <a:latin typeface="+mn-lt"/>
          <a:ea typeface="+mn-ea"/>
          <a:cs typeface="+mn-cs"/>
        </a:defRPr>
      </a:lvl4pPr>
      <a:lvl5pPr marL="594440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 sz="1632" kern="1200">
          <a:solidFill>
            <a:schemeClr val="tx1"/>
          </a:solidFill>
          <a:latin typeface="+mn-lt"/>
          <a:ea typeface="+mn-ea"/>
          <a:cs typeface="+mn-cs"/>
        </a:defRPr>
      </a:lvl5pPr>
      <a:lvl6pPr marL="2565646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3032128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498609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965090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7097" name="Rectangle 9" hidden="1"/>
          <p:cNvGraphicFramePr>
            <a:graphicFrameLocks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91551025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04" name="Diapositive think-cell" r:id="rId19" imgW="0" imgH="0" progId="TCLayout.ActiveDocument.1">
                  <p:embed/>
                </p:oleObj>
              </mc:Choice>
              <mc:Fallback>
                <p:oleObj name="Diapositive think-cell" r:id="rId19" imgW="0" imgH="0" progId="TCLayout.ActiveDocument.1">
                  <p:embed/>
                  <p:pic>
                    <p:nvPicPr>
                      <p:cNvPr id="217097" name="Rectangle 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1939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7095" name="Working Draft" hidden="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gray">
          <a:xfrm rot="5400000">
            <a:off x="8177257" y="2761392"/>
            <a:ext cx="1790942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altLang="fr-FR" sz="612" dirty="0"/>
              <a:t>Working Draft - Last Modified 13.01.2008 12:01:20</a:t>
            </a:r>
            <a:endParaRPr lang="fr-FR" altLang="fr-FR" sz="612" dirty="0"/>
          </a:p>
        </p:txBody>
      </p:sp>
      <p:sp>
        <p:nvSpPr>
          <p:cNvPr id="217096" name="Printed" hidden="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 rot="5400000">
            <a:off x="8568157" y="4300149"/>
            <a:ext cx="1009142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fr-FR" altLang="fr-FR" sz="612" dirty="0"/>
              <a:t>Printed 10.01.2008 09:31:59</a:t>
            </a:r>
          </a:p>
        </p:txBody>
      </p:sp>
      <p:sp>
        <p:nvSpPr>
          <p:cNvPr id="14" name="Title Placeholder 2">
            <a:extLst>
              <a:ext uri="{FF2B5EF4-FFF2-40B4-BE49-F238E27FC236}">
                <a16:creationId xmlns:a16="http://schemas.microsoft.com/office/drawing/2014/main" id="{38FB0AC3-1DC9-41AD-A1DC-E08A7D2B98C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1496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dirty="0"/>
              <a:t>Click to </a:t>
            </a:r>
            <a:r>
              <a:rPr lang="fr-FR" noProof="0" dirty="0" err="1"/>
              <a:t>edit</a:t>
            </a:r>
            <a:r>
              <a:rPr lang="fr-FR" noProof="0" dirty="0"/>
              <a:t> Master </a:t>
            </a:r>
            <a:r>
              <a:rPr lang="fr-FR" noProof="0" dirty="0" err="1"/>
              <a:t>title</a:t>
            </a:r>
            <a:r>
              <a:rPr lang="fr-FR" noProof="0" dirty="0"/>
              <a:t> style</a:t>
            </a:r>
          </a:p>
        </p:txBody>
      </p:sp>
      <p:sp>
        <p:nvSpPr>
          <p:cNvPr id="15" name="SlideLogoSeparator">
            <a:extLst>
              <a:ext uri="{FF2B5EF4-FFF2-40B4-BE49-F238E27FC236}">
                <a16:creationId xmlns:a16="http://schemas.microsoft.com/office/drawing/2014/main" id="{755ED9E9-CE7F-44C2-9925-148EF8B8AC79}"/>
              </a:ext>
            </a:extLst>
          </p:cNvPr>
          <p:cNvSpPr>
            <a:spLocks noChangeArrowheads="1"/>
          </p:cNvSpPr>
          <p:nvPr userDrawn="1">
            <p:custDataLst>
              <p:tags r:id="rId18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6" name="TextBox 17">
            <a:extLst>
              <a:ext uri="{FF2B5EF4-FFF2-40B4-BE49-F238E27FC236}">
                <a16:creationId xmlns:a16="http://schemas.microsoft.com/office/drawing/2014/main" id="{CD7DFC55-52C4-41E0-A8A5-0D451353FA5B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0" i="0" u="none" strike="noStrike" kern="1200" cap="none" spc="0" normalizeH="0" baseline="0" noProof="0" smtClean="0">
                <a:ln>
                  <a:noFill/>
                </a:ln>
                <a:solidFill>
                  <a:srgbClr val="747473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0" i="0" u="none" strike="noStrike" kern="1200" cap="none" spc="0" normalizeH="0" baseline="0" noProof="0" dirty="0">
              <a:ln>
                <a:noFill/>
              </a:ln>
              <a:solidFill>
                <a:srgbClr val="747473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93884313-7788-4355-81C7-0BB8DB773352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1407092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</p:sldLayoutIdLst>
  <p:hf hdr="0" ftr="0" dt="0"/>
  <p:txStyles>
    <p:titleStyle>
      <a:lvl1pPr algn="l" defTabSz="913526" rtl="0" fontAlgn="base">
        <a:spcBef>
          <a:spcPct val="0"/>
        </a:spcBef>
        <a:spcAft>
          <a:spcPct val="0"/>
        </a:spcAft>
        <a:defRPr sz="1939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66481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32962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99443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65925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algn="l" defTabSz="913526" rtl="0" fontAlgn="base">
        <a:spcBef>
          <a:spcPct val="0"/>
        </a:spcBef>
        <a:spcAft>
          <a:spcPct val="0"/>
        </a:spcAft>
        <a:buSzPct val="120000"/>
        <a:defRPr sz="1632" kern="1200">
          <a:solidFill>
            <a:schemeClr val="tx1"/>
          </a:solidFill>
          <a:latin typeface="+mn-lt"/>
          <a:ea typeface="+mn-ea"/>
          <a:cs typeface="+mn-cs"/>
        </a:defRPr>
      </a:lvl1pPr>
      <a:lvl2pPr marL="147396" indent="-145775" algn="l" defTabSz="913526" rtl="0" fontAlgn="base">
        <a:spcBef>
          <a:spcPct val="0"/>
        </a:spcBef>
        <a:spcAft>
          <a:spcPct val="0"/>
        </a:spcAft>
        <a:buSzPct val="120000"/>
        <a:buChar char="•"/>
        <a:defRPr sz="1632" kern="1200">
          <a:solidFill>
            <a:schemeClr val="tx1"/>
          </a:solidFill>
          <a:latin typeface="+mn-lt"/>
          <a:ea typeface="+mn-ea"/>
          <a:cs typeface="+mn-cs"/>
        </a:defRPr>
      </a:lvl2pPr>
      <a:lvl3pPr marL="301269" indent="-152254" algn="l" defTabSz="913526" rtl="0" fontAlgn="base">
        <a:spcBef>
          <a:spcPct val="0"/>
        </a:spcBef>
        <a:spcAft>
          <a:spcPct val="0"/>
        </a:spcAft>
        <a:buChar char="–"/>
        <a:defRPr sz="1632" kern="1200">
          <a:solidFill>
            <a:schemeClr val="tx1"/>
          </a:solidFill>
          <a:latin typeface="+mn-lt"/>
          <a:ea typeface="+mn-ea"/>
          <a:cs typeface="+mn-cs"/>
        </a:defRPr>
      </a:lvl3pPr>
      <a:lvl4pPr marL="440566" indent="-137677" algn="l" defTabSz="913526" rtl="0" fontAlgn="base">
        <a:spcBef>
          <a:spcPct val="0"/>
        </a:spcBef>
        <a:spcAft>
          <a:spcPct val="0"/>
        </a:spcAft>
        <a:buSzPct val="89000"/>
        <a:buChar char="•"/>
        <a:defRPr sz="1632" kern="1200">
          <a:solidFill>
            <a:schemeClr val="tx1"/>
          </a:solidFill>
          <a:latin typeface="+mn-lt"/>
          <a:ea typeface="+mn-ea"/>
          <a:cs typeface="+mn-cs"/>
        </a:defRPr>
      </a:lvl4pPr>
      <a:lvl5pPr marL="594440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 sz="1632" kern="1200">
          <a:solidFill>
            <a:schemeClr val="tx1"/>
          </a:solidFill>
          <a:latin typeface="+mn-lt"/>
          <a:ea typeface="+mn-ea"/>
          <a:cs typeface="+mn-cs"/>
        </a:defRPr>
      </a:lvl5pPr>
      <a:lvl6pPr marL="2565646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3032128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498609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965090" indent="-233241" algn="l" defTabSz="932962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B1B013C4-5F93-4ADC-BD2D-971F6D7825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220417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69" name="Diapositive think-cell" r:id="rId29" imgW="396" imgH="396" progId="TCLayout.ActiveDocument.1">
                  <p:embed/>
                </p:oleObj>
              </mc:Choice>
              <mc:Fallback>
                <p:oleObj name="Diapositive think-cell" r:id="rId29" imgW="396" imgH="396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B1B013C4-5F93-4ADC-BD2D-971F6D782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itle Placeholder 2">
            <a:extLst>
              <a:ext uri="{FF2B5EF4-FFF2-40B4-BE49-F238E27FC236}">
                <a16:creationId xmlns:a16="http://schemas.microsoft.com/office/drawing/2014/main" id="{C810F97B-BA04-44C6-9836-5FE95E0FBE3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21496" y="234864"/>
            <a:ext cx="8794113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ts val="1846"/>
              </a:lnSpc>
              <a:spcBef>
                <a:spcPct val="0"/>
              </a:spcBef>
              <a:spcAft>
                <a:spcPct val="0"/>
              </a:spcAft>
              <a:defRPr sz="1846" b="0">
                <a:solidFill>
                  <a:srgbClr val="F08A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23">
                <a:solidFill>
                  <a:srgbClr val="F08D3F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23">
                <a:solidFill>
                  <a:srgbClr val="F08D3F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23">
                <a:solidFill>
                  <a:srgbClr val="F08D3F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23">
                <a:solidFill>
                  <a:srgbClr val="F08D3F"/>
                </a:solidFill>
                <a:latin typeface="Arial" charset="0"/>
              </a:defRPr>
            </a:lvl5pPr>
            <a:lvl6pPr marL="408427" algn="l" rtl="0" eaLnBrk="1" fontAlgn="base" hangingPunct="1">
              <a:spcBef>
                <a:spcPct val="0"/>
              </a:spcBef>
              <a:spcAft>
                <a:spcPct val="0"/>
              </a:spcAft>
              <a:defRPr sz="2123">
                <a:solidFill>
                  <a:srgbClr val="F08D3F"/>
                </a:solidFill>
                <a:latin typeface="Arial" charset="0"/>
              </a:defRPr>
            </a:lvl6pPr>
            <a:lvl7pPr marL="816851" algn="l" rtl="0" eaLnBrk="1" fontAlgn="base" hangingPunct="1">
              <a:spcBef>
                <a:spcPct val="0"/>
              </a:spcBef>
              <a:spcAft>
                <a:spcPct val="0"/>
              </a:spcAft>
              <a:defRPr sz="2123">
                <a:solidFill>
                  <a:srgbClr val="F08D3F"/>
                </a:solidFill>
                <a:latin typeface="Arial" charset="0"/>
              </a:defRPr>
            </a:lvl7pPr>
            <a:lvl8pPr marL="1225278" algn="l" rtl="0" eaLnBrk="1" fontAlgn="base" hangingPunct="1">
              <a:spcBef>
                <a:spcPct val="0"/>
              </a:spcBef>
              <a:spcAft>
                <a:spcPct val="0"/>
              </a:spcAft>
              <a:defRPr sz="2123">
                <a:solidFill>
                  <a:srgbClr val="F08D3F"/>
                </a:solidFill>
                <a:latin typeface="Arial" charset="0"/>
              </a:defRPr>
            </a:lvl8pPr>
            <a:lvl9pPr marL="1633702" algn="l" rtl="0" eaLnBrk="1" fontAlgn="base" hangingPunct="1">
              <a:spcBef>
                <a:spcPct val="0"/>
              </a:spcBef>
              <a:spcAft>
                <a:spcPct val="0"/>
              </a:spcAft>
              <a:defRPr sz="2123">
                <a:solidFill>
                  <a:srgbClr val="F08D3F"/>
                </a:solidFill>
                <a:latin typeface="Arial" charset="0"/>
              </a:defRPr>
            </a:lvl9pPr>
          </a:lstStyle>
          <a:p>
            <a:r>
              <a:rPr lang="fr-FR" b="1" kern="0" dirty="0">
                <a:solidFill>
                  <a:srgbClr val="002060"/>
                </a:solidFill>
              </a:rPr>
              <a:t>Click to edit Master title style</a:t>
            </a:r>
          </a:p>
        </p:txBody>
      </p:sp>
      <p:sp>
        <p:nvSpPr>
          <p:cNvPr id="28" name="SlideLogoSeparator">
            <a:extLst>
              <a:ext uri="{FF2B5EF4-FFF2-40B4-BE49-F238E27FC236}">
                <a16:creationId xmlns:a16="http://schemas.microsoft.com/office/drawing/2014/main" id="{14583E3D-794A-46B7-AE81-E310DAD4291F}"/>
              </a:ext>
            </a:extLst>
          </p:cNvPr>
          <p:cNvSpPr>
            <a:spLocks noChangeArrowheads="1"/>
          </p:cNvSpPr>
          <p:nvPr userDrawn="1">
            <p:custDataLst>
              <p:tags r:id="rId28"/>
            </p:custDataLst>
          </p:nvPr>
        </p:nvSpPr>
        <p:spPr bwMode="auto">
          <a:xfrm>
            <a:off x="8847796" y="6611807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marL="0" marR="0" lvl="0" indent="0" algn="r" defTabSz="91284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24" b="1" i="0" u="none" strike="noStrike" kern="1200" cap="none" spc="0" normalizeH="0" baseline="0" noProof="0" dirty="0">
                <a:ln>
                  <a:solidFill>
                    <a:srgbClr val="F4F3EC"/>
                  </a:solidFill>
                </a:ln>
                <a:solidFill>
                  <a:srgbClr val="002060"/>
                </a:solidFill>
                <a:effectLst/>
                <a:uLnTx/>
                <a:uFillTx/>
                <a:latin typeface="Gill Sans"/>
                <a:ea typeface="ＭＳ Ｐゴシック"/>
                <a:cs typeface="Times New Roman" panose="02020603050405020304" pitchFamily="18" charset="0"/>
              </a:rPr>
              <a:t>|</a:t>
            </a:r>
            <a:endParaRPr kumimoji="0" lang="fr-FR" sz="1224" b="1" i="0" u="none" strike="noStrike" kern="1200" cap="none" spc="0" normalizeH="0" baseline="0" noProof="0" dirty="0">
              <a:ln>
                <a:solidFill>
                  <a:srgbClr val="F4F3EC"/>
                </a:solidFill>
              </a:ln>
              <a:solidFill>
                <a:srgbClr val="002060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29" name="TextBox 17">
            <a:extLst>
              <a:ext uri="{FF2B5EF4-FFF2-40B4-BE49-F238E27FC236}">
                <a16:creationId xmlns:a16="http://schemas.microsoft.com/office/drawing/2014/main" id="{87306DB9-81D0-4CB4-B245-40B663EC3C33}"/>
              </a:ext>
            </a:extLst>
          </p:cNvPr>
          <p:cNvSpPr txBox="1"/>
          <p:nvPr userDrawn="1"/>
        </p:nvSpPr>
        <p:spPr>
          <a:xfrm>
            <a:off x="8915609" y="6644193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FC3CC3F-B3EB-476B-AC7A-447168629A0F}" type="slidenum">
              <a:rPr kumimoji="0" lang="fr-FR" sz="1020" b="1" i="0" u="none" strike="noStrike" kern="1200" cap="none" spc="0" normalizeH="0" baseline="0" noProof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pPr marL="0" marR="0" lvl="0" indent="0" algn="l" defTabSz="93276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2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AF547E09-FA98-4DB1-A476-DD637916267C}"/>
              </a:ext>
            </a:extLst>
          </p:cNvPr>
          <p:cNvSpPr txBox="1"/>
          <p:nvPr userDrawn="1"/>
        </p:nvSpPr>
        <p:spPr>
          <a:xfrm>
            <a:off x="7000240" y="6601888"/>
            <a:ext cx="1910349" cy="242920"/>
          </a:xfrm>
          <a:prstGeom prst="rect">
            <a:avLst/>
          </a:prstGeom>
          <a:noFill/>
        </p:spPr>
        <p:txBody>
          <a:bodyPr wrap="square" lIns="97825" tIns="48913" rIns="97825" bIns="48913" rtlCol="0">
            <a:spAutoFit/>
          </a:bodyPr>
          <a:lstStyle/>
          <a:p>
            <a:pPr marL="0" marR="0" lvl="0" indent="0" algn="r" defTabSz="9327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18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ill Sans"/>
                <a:ea typeface="ＭＳ Ｐゴシック"/>
                <a:cs typeface="Calibri" panose="020F0502020204030204" pitchFamily="34" charset="0"/>
              </a:rPr>
              <a:t>Stricte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2284555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  <p:sldLayoutId id="2147483813" r:id="rId21"/>
    <p:sldLayoutId id="2147483814" r:id="rId22"/>
    <p:sldLayoutId id="2147483815" r:id="rId23"/>
    <p:sldLayoutId id="2147483817" r:id="rId24"/>
  </p:sldLayoutIdLst>
  <p:hf hdr="0" ftr="0" dt="0"/>
  <p:txStyles>
    <p:titleStyle>
      <a:lvl1pPr algn="l" rtl="0" eaLnBrk="1" fontAlgn="base" hangingPunct="1">
        <a:lnSpc>
          <a:spcPts val="1846"/>
        </a:lnSpc>
        <a:spcBef>
          <a:spcPct val="0"/>
        </a:spcBef>
        <a:spcAft>
          <a:spcPct val="0"/>
        </a:spcAft>
        <a:defRPr sz="1846" b="0">
          <a:solidFill>
            <a:srgbClr val="F08A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23">
          <a:solidFill>
            <a:srgbClr val="F08D3F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23">
          <a:solidFill>
            <a:srgbClr val="F08D3F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23">
          <a:solidFill>
            <a:srgbClr val="F08D3F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23">
          <a:solidFill>
            <a:srgbClr val="F08D3F"/>
          </a:solidFill>
          <a:latin typeface="Arial" charset="0"/>
        </a:defRPr>
      </a:lvl5pPr>
      <a:lvl6pPr marL="408427" algn="l" rtl="0" eaLnBrk="1" fontAlgn="base" hangingPunct="1">
        <a:spcBef>
          <a:spcPct val="0"/>
        </a:spcBef>
        <a:spcAft>
          <a:spcPct val="0"/>
        </a:spcAft>
        <a:defRPr sz="2123">
          <a:solidFill>
            <a:srgbClr val="F08D3F"/>
          </a:solidFill>
          <a:latin typeface="Arial" charset="0"/>
        </a:defRPr>
      </a:lvl6pPr>
      <a:lvl7pPr marL="816851" algn="l" rtl="0" eaLnBrk="1" fontAlgn="base" hangingPunct="1">
        <a:spcBef>
          <a:spcPct val="0"/>
        </a:spcBef>
        <a:spcAft>
          <a:spcPct val="0"/>
        </a:spcAft>
        <a:defRPr sz="2123">
          <a:solidFill>
            <a:srgbClr val="F08D3F"/>
          </a:solidFill>
          <a:latin typeface="Arial" charset="0"/>
        </a:defRPr>
      </a:lvl7pPr>
      <a:lvl8pPr marL="1225278" algn="l" rtl="0" eaLnBrk="1" fontAlgn="base" hangingPunct="1">
        <a:spcBef>
          <a:spcPct val="0"/>
        </a:spcBef>
        <a:spcAft>
          <a:spcPct val="0"/>
        </a:spcAft>
        <a:defRPr sz="2123">
          <a:solidFill>
            <a:srgbClr val="F08D3F"/>
          </a:solidFill>
          <a:latin typeface="Arial" charset="0"/>
        </a:defRPr>
      </a:lvl8pPr>
      <a:lvl9pPr marL="1633702" algn="l" rtl="0" eaLnBrk="1" fontAlgn="base" hangingPunct="1">
        <a:spcBef>
          <a:spcPct val="0"/>
        </a:spcBef>
        <a:spcAft>
          <a:spcPct val="0"/>
        </a:spcAft>
        <a:defRPr sz="2123">
          <a:solidFill>
            <a:srgbClr val="F08D3F"/>
          </a:solidFill>
          <a:latin typeface="Arial" charset="0"/>
        </a:defRPr>
      </a:lvl9pPr>
    </p:titleStyle>
    <p:bodyStyle>
      <a:lvl1pPr marL="166158" indent="-166158" algn="l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accent3"/>
        </a:buClr>
        <a:buFont typeface="Wingdings 3" panose="05040102010807070707" pitchFamily="18" charset="2"/>
        <a:buChar char="}"/>
        <a:defRPr sz="1108">
          <a:solidFill>
            <a:schemeClr val="accent1"/>
          </a:solidFill>
          <a:latin typeface="+mn-lt"/>
          <a:ea typeface="+mn-ea"/>
          <a:cs typeface="+mn-cs"/>
        </a:defRPr>
      </a:lvl1pPr>
      <a:lvl2pPr marL="332316" indent="-166158" algn="l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rgbClr val="F08A00"/>
        </a:buClr>
        <a:buFont typeface="Wingdings" pitchFamily="2" charset="2"/>
        <a:buChar char="§"/>
        <a:defRPr sz="1015">
          <a:solidFill>
            <a:schemeClr val="accent1"/>
          </a:solidFill>
          <a:latin typeface="+mn-lt"/>
        </a:defRPr>
      </a:lvl2pPr>
      <a:lvl3pPr marL="498474" indent="-166158" algn="l" defTabSz="832359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rgbClr val="F08A00"/>
        </a:buClr>
        <a:buFont typeface="Arial" pitchFamily="34" charset="0"/>
        <a:buChar char="-"/>
        <a:defRPr sz="969">
          <a:solidFill>
            <a:schemeClr val="accent1"/>
          </a:solidFill>
          <a:latin typeface="+mn-lt"/>
        </a:defRPr>
      </a:lvl3pPr>
      <a:lvl4pPr marL="1151821" indent="-202228" algn="l" rtl="0" eaLnBrk="1" fontAlgn="base" hangingPunct="1">
        <a:spcBef>
          <a:spcPct val="20000"/>
        </a:spcBef>
        <a:spcAft>
          <a:spcPct val="0"/>
        </a:spcAft>
        <a:buClr>
          <a:srgbClr val="F08A00"/>
        </a:buClr>
        <a:buChar char="•"/>
        <a:tabLst>
          <a:tab pos="1572397" algn="l"/>
        </a:tabLst>
        <a:defRPr sz="1015">
          <a:solidFill>
            <a:srgbClr val="7C7D81"/>
          </a:solidFill>
          <a:latin typeface="+mn-lt"/>
        </a:defRPr>
      </a:lvl4pPr>
      <a:lvl5pPr marL="1570932" indent="-202228" algn="l" rtl="0" eaLnBrk="1" fontAlgn="base" hangingPunct="1">
        <a:spcBef>
          <a:spcPct val="20000"/>
        </a:spcBef>
        <a:spcAft>
          <a:spcPct val="0"/>
        </a:spcAft>
        <a:buClr>
          <a:srgbClr val="F08A00"/>
        </a:buClr>
        <a:buChar char="o"/>
        <a:defRPr sz="923">
          <a:solidFill>
            <a:srgbClr val="7C7D81"/>
          </a:solidFill>
          <a:latin typeface="+mn-lt"/>
        </a:defRPr>
      </a:lvl5pPr>
      <a:lvl6pPr marL="2246342" indent="-204213" algn="l" rtl="0" eaLnBrk="1" fontAlgn="base" hangingPunct="1">
        <a:spcBef>
          <a:spcPct val="20000"/>
        </a:spcBef>
        <a:spcAft>
          <a:spcPct val="0"/>
        </a:spcAft>
        <a:buClr>
          <a:srgbClr val="F08D3F"/>
        </a:buClr>
        <a:buChar char="o"/>
        <a:defRPr sz="1292">
          <a:solidFill>
            <a:schemeClr val="accent2"/>
          </a:solidFill>
          <a:latin typeface="+mn-lt"/>
        </a:defRPr>
      </a:lvl6pPr>
      <a:lvl7pPr marL="2654767" indent="-204213" algn="l" rtl="0" eaLnBrk="1" fontAlgn="base" hangingPunct="1">
        <a:spcBef>
          <a:spcPct val="20000"/>
        </a:spcBef>
        <a:spcAft>
          <a:spcPct val="0"/>
        </a:spcAft>
        <a:buClr>
          <a:srgbClr val="F08D3F"/>
        </a:buClr>
        <a:buChar char="o"/>
        <a:defRPr sz="1292">
          <a:solidFill>
            <a:schemeClr val="accent2"/>
          </a:solidFill>
          <a:latin typeface="+mn-lt"/>
        </a:defRPr>
      </a:lvl7pPr>
      <a:lvl8pPr marL="3063193" indent="-204213" algn="l" rtl="0" eaLnBrk="1" fontAlgn="base" hangingPunct="1">
        <a:spcBef>
          <a:spcPct val="20000"/>
        </a:spcBef>
        <a:spcAft>
          <a:spcPct val="0"/>
        </a:spcAft>
        <a:buClr>
          <a:srgbClr val="F08D3F"/>
        </a:buClr>
        <a:buChar char="o"/>
        <a:defRPr sz="1292">
          <a:solidFill>
            <a:schemeClr val="accent2"/>
          </a:solidFill>
          <a:latin typeface="+mn-lt"/>
        </a:defRPr>
      </a:lvl8pPr>
      <a:lvl9pPr marL="3471618" indent="-204213" algn="l" rtl="0" eaLnBrk="1" fontAlgn="base" hangingPunct="1">
        <a:spcBef>
          <a:spcPct val="20000"/>
        </a:spcBef>
        <a:spcAft>
          <a:spcPct val="0"/>
        </a:spcAft>
        <a:buClr>
          <a:srgbClr val="F08D3F"/>
        </a:buClr>
        <a:buChar char="o"/>
        <a:defRPr sz="1292">
          <a:solidFill>
            <a:schemeClr val="accent2"/>
          </a:solidFill>
          <a:latin typeface="+mn-lt"/>
        </a:defRPr>
      </a:lvl9pPr>
    </p:bodyStyle>
    <p:otherStyle>
      <a:defPPr>
        <a:defRPr lang="fr-FR"/>
      </a:defPPr>
      <a:lvl1pPr marL="0" algn="l" defTabSz="81685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08427" algn="l" defTabSz="81685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16851" algn="l" defTabSz="81685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25278" algn="l" defTabSz="81685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33702" algn="l" defTabSz="81685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042129" algn="l" defTabSz="81685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450554" algn="l" defTabSz="81685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858980" algn="l" defTabSz="81685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267406" algn="l" defTabSz="81685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81">
          <p15:clr>
            <a:srgbClr val="F26B43"/>
          </p15:clr>
        </p15:guide>
        <p15:guide id="2" pos="6159">
          <p15:clr>
            <a:srgbClr val="F26B43"/>
          </p15:clr>
        </p15:guide>
        <p15:guide id="3" orient="horz" pos="436">
          <p15:clr>
            <a:srgbClr val="F26B43"/>
          </p15:clr>
        </p15:guide>
        <p15:guide id="4" orient="horz" pos="572">
          <p15:clr>
            <a:srgbClr val="F26B43"/>
          </p15:clr>
        </p15:guide>
        <p15:guide id="5" orient="horz" pos="38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13.png"/><Relationship Id="rId3" Type="http://schemas.openxmlformats.org/officeDocument/2006/relationships/tags" Target="../tags/tag131.xml"/><Relationship Id="rId7" Type="http://schemas.openxmlformats.org/officeDocument/2006/relationships/oleObject" Target="../embeddings/oleObject63.bin"/><Relationship Id="rId12" Type="http://schemas.openxmlformats.org/officeDocument/2006/relationships/image" Target="../media/image12.jpeg"/><Relationship Id="rId17" Type="http://schemas.openxmlformats.org/officeDocument/2006/relationships/image" Target="../media/image17.png"/><Relationship Id="rId2" Type="http://schemas.openxmlformats.org/officeDocument/2006/relationships/tags" Target="../tags/tag130.xml"/><Relationship Id="rId16" Type="http://schemas.openxmlformats.org/officeDocument/2006/relationships/image" Target="../media/image16.jpeg"/><Relationship Id="rId1" Type="http://schemas.openxmlformats.org/officeDocument/2006/relationships/vmlDrawing" Target="../drawings/vmlDrawing63.v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11.jpeg"/><Relationship Id="rId5" Type="http://schemas.openxmlformats.org/officeDocument/2006/relationships/slideLayout" Target="../slideLayouts/slideLayout11.xml"/><Relationship Id="rId15" Type="http://schemas.openxmlformats.org/officeDocument/2006/relationships/image" Target="../media/image15.jpeg"/><Relationship Id="rId10" Type="http://schemas.openxmlformats.org/officeDocument/2006/relationships/image" Target="../media/image10.jpeg"/><Relationship Id="rId4" Type="http://schemas.openxmlformats.org/officeDocument/2006/relationships/tags" Target="../tags/tag132.xml"/><Relationship Id="rId9" Type="http://schemas.openxmlformats.org/officeDocument/2006/relationships/image" Target="../media/image9.gif"/><Relationship Id="rId14" Type="http://schemas.openxmlformats.org/officeDocument/2006/relationships/image" Target="../media/image14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04.xml"/><Relationship Id="rId3" Type="http://schemas.openxmlformats.org/officeDocument/2006/relationships/tags" Target="../tags/tag299.xml"/><Relationship Id="rId7" Type="http://schemas.openxmlformats.org/officeDocument/2006/relationships/tags" Target="../tags/tag303.xml"/><Relationship Id="rId12" Type="http://schemas.openxmlformats.org/officeDocument/2006/relationships/oleObject" Target="../embeddings/oleObject71.bin"/><Relationship Id="rId2" Type="http://schemas.openxmlformats.org/officeDocument/2006/relationships/tags" Target="../tags/tag298.xml"/><Relationship Id="rId1" Type="http://schemas.openxmlformats.org/officeDocument/2006/relationships/vmlDrawing" Target="../drawings/vmlDrawing71.vml"/><Relationship Id="rId6" Type="http://schemas.openxmlformats.org/officeDocument/2006/relationships/tags" Target="../tags/tag302.xml"/><Relationship Id="rId11" Type="http://schemas.openxmlformats.org/officeDocument/2006/relationships/notesSlide" Target="../notesSlides/notesSlide5.xml"/><Relationship Id="rId5" Type="http://schemas.openxmlformats.org/officeDocument/2006/relationships/tags" Target="../tags/tag301.xml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300.xml"/><Relationship Id="rId9" Type="http://schemas.openxmlformats.org/officeDocument/2006/relationships/tags" Target="../tags/tag30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13.png"/><Relationship Id="rId3" Type="http://schemas.openxmlformats.org/officeDocument/2006/relationships/tags" Target="../tags/tag307.xml"/><Relationship Id="rId7" Type="http://schemas.openxmlformats.org/officeDocument/2006/relationships/oleObject" Target="../embeddings/oleObject72.bin"/><Relationship Id="rId12" Type="http://schemas.openxmlformats.org/officeDocument/2006/relationships/image" Target="../media/image12.jpeg"/><Relationship Id="rId17" Type="http://schemas.openxmlformats.org/officeDocument/2006/relationships/image" Target="../media/image17.png"/><Relationship Id="rId2" Type="http://schemas.openxmlformats.org/officeDocument/2006/relationships/tags" Target="../tags/tag306.xml"/><Relationship Id="rId16" Type="http://schemas.openxmlformats.org/officeDocument/2006/relationships/image" Target="../media/image16.jpeg"/><Relationship Id="rId1" Type="http://schemas.openxmlformats.org/officeDocument/2006/relationships/vmlDrawing" Target="../drawings/vmlDrawing72.vml"/><Relationship Id="rId6" Type="http://schemas.openxmlformats.org/officeDocument/2006/relationships/notesSlide" Target="../notesSlides/notesSlide6.xml"/><Relationship Id="rId11" Type="http://schemas.openxmlformats.org/officeDocument/2006/relationships/image" Target="../media/image11.jpeg"/><Relationship Id="rId5" Type="http://schemas.openxmlformats.org/officeDocument/2006/relationships/slideLayout" Target="../slideLayouts/slideLayout11.xml"/><Relationship Id="rId15" Type="http://schemas.openxmlformats.org/officeDocument/2006/relationships/image" Target="../media/image15.jpeg"/><Relationship Id="rId10" Type="http://schemas.openxmlformats.org/officeDocument/2006/relationships/image" Target="../media/image10.jpeg"/><Relationship Id="rId4" Type="http://schemas.openxmlformats.org/officeDocument/2006/relationships/tags" Target="../tags/tag308.xml"/><Relationship Id="rId9" Type="http://schemas.openxmlformats.org/officeDocument/2006/relationships/image" Target="../media/image9.gif"/><Relationship Id="rId14" Type="http://schemas.openxmlformats.org/officeDocument/2006/relationships/image" Target="../media/image1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13" Type="http://schemas.openxmlformats.org/officeDocument/2006/relationships/tags" Target="../tags/tag144.xml"/><Relationship Id="rId18" Type="http://schemas.openxmlformats.org/officeDocument/2006/relationships/image" Target="../media/image7.emf"/><Relationship Id="rId26" Type="http://schemas.openxmlformats.org/officeDocument/2006/relationships/image" Target="../media/image24.gif"/><Relationship Id="rId3" Type="http://schemas.openxmlformats.org/officeDocument/2006/relationships/tags" Target="../tags/tag134.xml"/><Relationship Id="rId21" Type="http://schemas.openxmlformats.org/officeDocument/2006/relationships/image" Target="../media/image19.gif"/><Relationship Id="rId7" Type="http://schemas.openxmlformats.org/officeDocument/2006/relationships/tags" Target="../tags/tag138.xml"/><Relationship Id="rId12" Type="http://schemas.openxmlformats.org/officeDocument/2006/relationships/tags" Target="../tags/tag143.xml"/><Relationship Id="rId17" Type="http://schemas.openxmlformats.org/officeDocument/2006/relationships/oleObject" Target="../embeddings/oleObject64.bin"/><Relationship Id="rId25" Type="http://schemas.openxmlformats.org/officeDocument/2006/relationships/image" Target="../media/image23.gif"/><Relationship Id="rId2" Type="http://schemas.openxmlformats.org/officeDocument/2006/relationships/tags" Target="../tags/tag133.xml"/><Relationship Id="rId16" Type="http://schemas.openxmlformats.org/officeDocument/2006/relationships/notesSlide" Target="../notesSlides/notesSlide2.xml"/><Relationship Id="rId20" Type="http://schemas.openxmlformats.org/officeDocument/2006/relationships/image" Target="../media/image18.png"/><Relationship Id="rId1" Type="http://schemas.openxmlformats.org/officeDocument/2006/relationships/vmlDrawing" Target="../drawings/vmlDrawing64.vml"/><Relationship Id="rId6" Type="http://schemas.openxmlformats.org/officeDocument/2006/relationships/tags" Target="../tags/tag137.xml"/><Relationship Id="rId11" Type="http://schemas.openxmlformats.org/officeDocument/2006/relationships/tags" Target="../tags/tag142.xml"/><Relationship Id="rId24" Type="http://schemas.openxmlformats.org/officeDocument/2006/relationships/image" Target="../media/image22.gif"/><Relationship Id="rId5" Type="http://schemas.openxmlformats.org/officeDocument/2006/relationships/tags" Target="../tags/tag136.xml"/><Relationship Id="rId15" Type="http://schemas.openxmlformats.org/officeDocument/2006/relationships/slideLayout" Target="../slideLayouts/slideLayout10.xml"/><Relationship Id="rId23" Type="http://schemas.openxmlformats.org/officeDocument/2006/relationships/image" Target="../media/image21.gif"/><Relationship Id="rId10" Type="http://schemas.openxmlformats.org/officeDocument/2006/relationships/tags" Target="../tags/tag141.xml"/><Relationship Id="rId19" Type="http://schemas.openxmlformats.org/officeDocument/2006/relationships/chart" Target="../charts/chart1.xml"/><Relationship Id="rId4" Type="http://schemas.openxmlformats.org/officeDocument/2006/relationships/tags" Target="../tags/tag135.xml"/><Relationship Id="rId9" Type="http://schemas.openxmlformats.org/officeDocument/2006/relationships/tags" Target="../tags/tag140.xml"/><Relationship Id="rId14" Type="http://schemas.openxmlformats.org/officeDocument/2006/relationships/tags" Target="../tags/tag145.xml"/><Relationship Id="rId22" Type="http://schemas.openxmlformats.org/officeDocument/2006/relationships/image" Target="../media/image20.gif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170.xml"/><Relationship Id="rId117" Type="http://schemas.openxmlformats.org/officeDocument/2006/relationships/tags" Target="../tags/tag261.xml"/><Relationship Id="rId21" Type="http://schemas.openxmlformats.org/officeDocument/2006/relationships/tags" Target="../tags/tag165.xml"/><Relationship Id="rId42" Type="http://schemas.openxmlformats.org/officeDocument/2006/relationships/tags" Target="../tags/tag186.xml"/><Relationship Id="rId47" Type="http://schemas.openxmlformats.org/officeDocument/2006/relationships/tags" Target="../tags/tag191.xml"/><Relationship Id="rId63" Type="http://schemas.openxmlformats.org/officeDocument/2006/relationships/tags" Target="../tags/tag207.xml"/><Relationship Id="rId68" Type="http://schemas.openxmlformats.org/officeDocument/2006/relationships/tags" Target="../tags/tag212.xml"/><Relationship Id="rId84" Type="http://schemas.openxmlformats.org/officeDocument/2006/relationships/tags" Target="../tags/tag228.xml"/><Relationship Id="rId89" Type="http://schemas.openxmlformats.org/officeDocument/2006/relationships/tags" Target="../tags/tag233.xml"/><Relationship Id="rId112" Type="http://schemas.openxmlformats.org/officeDocument/2006/relationships/tags" Target="../tags/tag256.xml"/><Relationship Id="rId133" Type="http://schemas.openxmlformats.org/officeDocument/2006/relationships/chart" Target="../charts/chart2.xml"/><Relationship Id="rId16" Type="http://schemas.openxmlformats.org/officeDocument/2006/relationships/tags" Target="../tags/tag160.xml"/><Relationship Id="rId107" Type="http://schemas.openxmlformats.org/officeDocument/2006/relationships/tags" Target="../tags/tag251.xml"/><Relationship Id="rId11" Type="http://schemas.openxmlformats.org/officeDocument/2006/relationships/tags" Target="../tags/tag155.xml"/><Relationship Id="rId32" Type="http://schemas.openxmlformats.org/officeDocument/2006/relationships/tags" Target="../tags/tag176.xml"/><Relationship Id="rId37" Type="http://schemas.openxmlformats.org/officeDocument/2006/relationships/tags" Target="../tags/tag181.xml"/><Relationship Id="rId53" Type="http://schemas.openxmlformats.org/officeDocument/2006/relationships/tags" Target="../tags/tag197.xml"/><Relationship Id="rId58" Type="http://schemas.openxmlformats.org/officeDocument/2006/relationships/tags" Target="../tags/tag202.xml"/><Relationship Id="rId74" Type="http://schemas.openxmlformats.org/officeDocument/2006/relationships/tags" Target="../tags/tag218.xml"/><Relationship Id="rId79" Type="http://schemas.openxmlformats.org/officeDocument/2006/relationships/tags" Target="../tags/tag223.xml"/><Relationship Id="rId102" Type="http://schemas.openxmlformats.org/officeDocument/2006/relationships/tags" Target="../tags/tag246.xml"/><Relationship Id="rId123" Type="http://schemas.openxmlformats.org/officeDocument/2006/relationships/tags" Target="../tags/tag267.xml"/><Relationship Id="rId128" Type="http://schemas.openxmlformats.org/officeDocument/2006/relationships/tags" Target="../tags/tag272.xml"/><Relationship Id="rId5" Type="http://schemas.openxmlformats.org/officeDocument/2006/relationships/tags" Target="../tags/tag149.xml"/><Relationship Id="rId90" Type="http://schemas.openxmlformats.org/officeDocument/2006/relationships/tags" Target="../tags/tag234.xml"/><Relationship Id="rId95" Type="http://schemas.openxmlformats.org/officeDocument/2006/relationships/tags" Target="../tags/tag239.xml"/><Relationship Id="rId14" Type="http://schemas.openxmlformats.org/officeDocument/2006/relationships/tags" Target="../tags/tag158.xml"/><Relationship Id="rId22" Type="http://schemas.openxmlformats.org/officeDocument/2006/relationships/tags" Target="../tags/tag166.xml"/><Relationship Id="rId27" Type="http://schemas.openxmlformats.org/officeDocument/2006/relationships/tags" Target="../tags/tag171.xml"/><Relationship Id="rId30" Type="http://schemas.openxmlformats.org/officeDocument/2006/relationships/tags" Target="../tags/tag174.xml"/><Relationship Id="rId35" Type="http://schemas.openxmlformats.org/officeDocument/2006/relationships/tags" Target="../tags/tag179.xml"/><Relationship Id="rId43" Type="http://schemas.openxmlformats.org/officeDocument/2006/relationships/tags" Target="../tags/tag187.xml"/><Relationship Id="rId48" Type="http://schemas.openxmlformats.org/officeDocument/2006/relationships/tags" Target="../tags/tag192.xml"/><Relationship Id="rId56" Type="http://schemas.openxmlformats.org/officeDocument/2006/relationships/tags" Target="../tags/tag200.xml"/><Relationship Id="rId64" Type="http://schemas.openxmlformats.org/officeDocument/2006/relationships/tags" Target="../tags/tag208.xml"/><Relationship Id="rId69" Type="http://schemas.openxmlformats.org/officeDocument/2006/relationships/tags" Target="../tags/tag213.xml"/><Relationship Id="rId77" Type="http://schemas.openxmlformats.org/officeDocument/2006/relationships/tags" Target="../tags/tag221.xml"/><Relationship Id="rId100" Type="http://schemas.openxmlformats.org/officeDocument/2006/relationships/tags" Target="../tags/tag244.xml"/><Relationship Id="rId105" Type="http://schemas.openxmlformats.org/officeDocument/2006/relationships/tags" Target="../tags/tag249.xml"/><Relationship Id="rId113" Type="http://schemas.openxmlformats.org/officeDocument/2006/relationships/tags" Target="../tags/tag257.xml"/><Relationship Id="rId118" Type="http://schemas.openxmlformats.org/officeDocument/2006/relationships/tags" Target="../tags/tag262.xml"/><Relationship Id="rId126" Type="http://schemas.openxmlformats.org/officeDocument/2006/relationships/tags" Target="../tags/tag270.xml"/><Relationship Id="rId134" Type="http://schemas.openxmlformats.org/officeDocument/2006/relationships/image" Target="../media/image18.png"/><Relationship Id="rId8" Type="http://schemas.openxmlformats.org/officeDocument/2006/relationships/tags" Target="../tags/tag152.xml"/><Relationship Id="rId51" Type="http://schemas.openxmlformats.org/officeDocument/2006/relationships/tags" Target="../tags/tag195.xml"/><Relationship Id="rId72" Type="http://schemas.openxmlformats.org/officeDocument/2006/relationships/tags" Target="../tags/tag216.xml"/><Relationship Id="rId80" Type="http://schemas.openxmlformats.org/officeDocument/2006/relationships/tags" Target="../tags/tag224.xml"/><Relationship Id="rId85" Type="http://schemas.openxmlformats.org/officeDocument/2006/relationships/tags" Target="../tags/tag229.xml"/><Relationship Id="rId93" Type="http://schemas.openxmlformats.org/officeDocument/2006/relationships/tags" Target="../tags/tag237.xml"/><Relationship Id="rId98" Type="http://schemas.openxmlformats.org/officeDocument/2006/relationships/tags" Target="../tags/tag242.xml"/><Relationship Id="rId121" Type="http://schemas.openxmlformats.org/officeDocument/2006/relationships/tags" Target="../tags/tag265.xml"/><Relationship Id="rId3" Type="http://schemas.openxmlformats.org/officeDocument/2006/relationships/tags" Target="../tags/tag147.xml"/><Relationship Id="rId12" Type="http://schemas.openxmlformats.org/officeDocument/2006/relationships/tags" Target="../tags/tag156.xml"/><Relationship Id="rId17" Type="http://schemas.openxmlformats.org/officeDocument/2006/relationships/tags" Target="../tags/tag161.xml"/><Relationship Id="rId25" Type="http://schemas.openxmlformats.org/officeDocument/2006/relationships/tags" Target="../tags/tag169.xml"/><Relationship Id="rId33" Type="http://schemas.openxmlformats.org/officeDocument/2006/relationships/tags" Target="../tags/tag177.xml"/><Relationship Id="rId38" Type="http://schemas.openxmlformats.org/officeDocument/2006/relationships/tags" Target="../tags/tag182.xml"/><Relationship Id="rId46" Type="http://schemas.openxmlformats.org/officeDocument/2006/relationships/tags" Target="../tags/tag190.xml"/><Relationship Id="rId59" Type="http://schemas.openxmlformats.org/officeDocument/2006/relationships/tags" Target="../tags/tag203.xml"/><Relationship Id="rId67" Type="http://schemas.openxmlformats.org/officeDocument/2006/relationships/tags" Target="../tags/tag211.xml"/><Relationship Id="rId103" Type="http://schemas.openxmlformats.org/officeDocument/2006/relationships/tags" Target="../tags/tag247.xml"/><Relationship Id="rId108" Type="http://schemas.openxmlformats.org/officeDocument/2006/relationships/tags" Target="../tags/tag252.xml"/><Relationship Id="rId116" Type="http://schemas.openxmlformats.org/officeDocument/2006/relationships/tags" Target="../tags/tag260.xml"/><Relationship Id="rId124" Type="http://schemas.openxmlformats.org/officeDocument/2006/relationships/tags" Target="../tags/tag268.xml"/><Relationship Id="rId129" Type="http://schemas.openxmlformats.org/officeDocument/2006/relationships/tags" Target="../tags/tag273.xml"/><Relationship Id="rId20" Type="http://schemas.openxmlformats.org/officeDocument/2006/relationships/tags" Target="../tags/tag164.xml"/><Relationship Id="rId41" Type="http://schemas.openxmlformats.org/officeDocument/2006/relationships/tags" Target="../tags/tag185.xml"/><Relationship Id="rId54" Type="http://schemas.openxmlformats.org/officeDocument/2006/relationships/tags" Target="../tags/tag198.xml"/><Relationship Id="rId62" Type="http://schemas.openxmlformats.org/officeDocument/2006/relationships/tags" Target="../tags/tag206.xml"/><Relationship Id="rId70" Type="http://schemas.openxmlformats.org/officeDocument/2006/relationships/tags" Target="../tags/tag214.xml"/><Relationship Id="rId75" Type="http://schemas.openxmlformats.org/officeDocument/2006/relationships/tags" Target="../tags/tag219.xml"/><Relationship Id="rId83" Type="http://schemas.openxmlformats.org/officeDocument/2006/relationships/tags" Target="../tags/tag227.xml"/><Relationship Id="rId88" Type="http://schemas.openxmlformats.org/officeDocument/2006/relationships/tags" Target="../tags/tag232.xml"/><Relationship Id="rId91" Type="http://schemas.openxmlformats.org/officeDocument/2006/relationships/tags" Target="../tags/tag235.xml"/><Relationship Id="rId96" Type="http://schemas.openxmlformats.org/officeDocument/2006/relationships/tags" Target="../tags/tag240.xml"/><Relationship Id="rId111" Type="http://schemas.openxmlformats.org/officeDocument/2006/relationships/tags" Target="../tags/tag255.xml"/><Relationship Id="rId132" Type="http://schemas.openxmlformats.org/officeDocument/2006/relationships/image" Target="../media/image7.emf"/><Relationship Id="rId1" Type="http://schemas.openxmlformats.org/officeDocument/2006/relationships/vmlDrawing" Target="../drawings/vmlDrawing65.vml"/><Relationship Id="rId6" Type="http://schemas.openxmlformats.org/officeDocument/2006/relationships/tags" Target="../tags/tag150.xml"/><Relationship Id="rId15" Type="http://schemas.openxmlformats.org/officeDocument/2006/relationships/tags" Target="../tags/tag159.xml"/><Relationship Id="rId23" Type="http://schemas.openxmlformats.org/officeDocument/2006/relationships/tags" Target="../tags/tag167.xml"/><Relationship Id="rId28" Type="http://schemas.openxmlformats.org/officeDocument/2006/relationships/tags" Target="../tags/tag172.xml"/><Relationship Id="rId36" Type="http://schemas.openxmlformats.org/officeDocument/2006/relationships/tags" Target="../tags/tag180.xml"/><Relationship Id="rId49" Type="http://schemas.openxmlformats.org/officeDocument/2006/relationships/tags" Target="../tags/tag193.xml"/><Relationship Id="rId57" Type="http://schemas.openxmlformats.org/officeDocument/2006/relationships/tags" Target="../tags/tag201.xml"/><Relationship Id="rId106" Type="http://schemas.openxmlformats.org/officeDocument/2006/relationships/tags" Target="../tags/tag250.xml"/><Relationship Id="rId114" Type="http://schemas.openxmlformats.org/officeDocument/2006/relationships/tags" Target="../tags/tag258.xml"/><Relationship Id="rId119" Type="http://schemas.openxmlformats.org/officeDocument/2006/relationships/tags" Target="../tags/tag263.xml"/><Relationship Id="rId127" Type="http://schemas.openxmlformats.org/officeDocument/2006/relationships/tags" Target="../tags/tag271.xml"/><Relationship Id="rId10" Type="http://schemas.openxmlformats.org/officeDocument/2006/relationships/tags" Target="../tags/tag154.xml"/><Relationship Id="rId31" Type="http://schemas.openxmlformats.org/officeDocument/2006/relationships/tags" Target="../tags/tag175.xml"/><Relationship Id="rId44" Type="http://schemas.openxmlformats.org/officeDocument/2006/relationships/tags" Target="../tags/tag188.xml"/><Relationship Id="rId52" Type="http://schemas.openxmlformats.org/officeDocument/2006/relationships/tags" Target="../tags/tag196.xml"/><Relationship Id="rId60" Type="http://schemas.openxmlformats.org/officeDocument/2006/relationships/tags" Target="../tags/tag204.xml"/><Relationship Id="rId65" Type="http://schemas.openxmlformats.org/officeDocument/2006/relationships/tags" Target="../tags/tag209.xml"/><Relationship Id="rId73" Type="http://schemas.openxmlformats.org/officeDocument/2006/relationships/tags" Target="../tags/tag217.xml"/><Relationship Id="rId78" Type="http://schemas.openxmlformats.org/officeDocument/2006/relationships/tags" Target="../tags/tag222.xml"/><Relationship Id="rId81" Type="http://schemas.openxmlformats.org/officeDocument/2006/relationships/tags" Target="../tags/tag225.xml"/><Relationship Id="rId86" Type="http://schemas.openxmlformats.org/officeDocument/2006/relationships/tags" Target="../tags/tag230.xml"/><Relationship Id="rId94" Type="http://schemas.openxmlformats.org/officeDocument/2006/relationships/tags" Target="../tags/tag238.xml"/><Relationship Id="rId99" Type="http://schemas.openxmlformats.org/officeDocument/2006/relationships/tags" Target="../tags/tag243.xml"/><Relationship Id="rId101" Type="http://schemas.openxmlformats.org/officeDocument/2006/relationships/tags" Target="../tags/tag245.xml"/><Relationship Id="rId122" Type="http://schemas.openxmlformats.org/officeDocument/2006/relationships/tags" Target="../tags/tag266.xml"/><Relationship Id="rId130" Type="http://schemas.openxmlformats.org/officeDocument/2006/relationships/slideLayout" Target="../slideLayouts/slideLayout10.xml"/><Relationship Id="rId135" Type="http://schemas.openxmlformats.org/officeDocument/2006/relationships/chart" Target="../charts/chart3.xml"/><Relationship Id="rId4" Type="http://schemas.openxmlformats.org/officeDocument/2006/relationships/tags" Target="../tags/tag148.xml"/><Relationship Id="rId9" Type="http://schemas.openxmlformats.org/officeDocument/2006/relationships/tags" Target="../tags/tag153.xml"/><Relationship Id="rId13" Type="http://schemas.openxmlformats.org/officeDocument/2006/relationships/tags" Target="../tags/tag157.xml"/><Relationship Id="rId18" Type="http://schemas.openxmlformats.org/officeDocument/2006/relationships/tags" Target="../tags/tag162.xml"/><Relationship Id="rId39" Type="http://schemas.openxmlformats.org/officeDocument/2006/relationships/tags" Target="../tags/tag183.xml"/><Relationship Id="rId109" Type="http://schemas.openxmlformats.org/officeDocument/2006/relationships/tags" Target="../tags/tag253.xml"/><Relationship Id="rId34" Type="http://schemas.openxmlformats.org/officeDocument/2006/relationships/tags" Target="../tags/tag178.xml"/><Relationship Id="rId50" Type="http://schemas.openxmlformats.org/officeDocument/2006/relationships/tags" Target="../tags/tag194.xml"/><Relationship Id="rId55" Type="http://schemas.openxmlformats.org/officeDocument/2006/relationships/tags" Target="../tags/tag199.xml"/><Relationship Id="rId76" Type="http://schemas.openxmlformats.org/officeDocument/2006/relationships/tags" Target="../tags/tag220.xml"/><Relationship Id="rId97" Type="http://schemas.openxmlformats.org/officeDocument/2006/relationships/tags" Target="../tags/tag241.xml"/><Relationship Id="rId104" Type="http://schemas.openxmlformats.org/officeDocument/2006/relationships/tags" Target="../tags/tag248.xml"/><Relationship Id="rId120" Type="http://schemas.openxmlformats.org/officeDocument/2006/relationships/tags" Target="../tags/tag264.xml"/><Relationship Id="rId125" Type="http://schemas.openxmlformats.org/officeDocument/2006/relationships/tags" Target="../tags/tag269.xml"/><Relationship Id="rId7" Type="http://schemas.openxmlformats.org/officeDocument/2006/relationships/tags" Target="../tags/tag151.xml"/><Relationship Id="rId71" Type="http://schemas.openxmlformats.org/officeDocument/2006/relationships/tags" Target="../tags/tag215.xml"/><Relationship Id="rId92" Type="http://schemas.openxmlformats.org/officeDocument/2006/relationships/tags" Target="../tags/tag236.xml"/><Relationship Id="rId2" Type="http://schemas.openxmlformats.org/officeDocument/2006/relationships/tags" Target="../tags/tag146.xml"/><Relationship Id="rId29" Type="http://schemas.openxmlformats.org/officeDocument/2006/relationships/tags" Target="../tags/tag173.xml"/><Relationship Id="rId24" Type="http://schemas.openxmlformats.org/officeDocument/2006/relationships/tags" Target="../tags/tag168.xml"/><Relationship Id="rId40" Type="http://schemas.openxmlformats.org/officeDocument/2006/relationships/tags" Target="../tags/tag184.xml"/><Relationship Id="rId45" Type="http://schemas.openxmlformats.org/officeDocument/2006/relationships/tags" Target="../tags/tag189.xml"/><Relationship Id="rId66" Type="http://schemas.openxmlformats.org/officeDocument/2006/relationships/tags" Target="../tags/tag210.xml"/><Relationship Id="rId87" Type="http://schemas.openxmlformats.org/officeDocument/2006/relationships/tags" Target="../tags/tag231.xml"/><Relationship Id="rId110" Type="http://schemas.openxmlformats.org/officeDocument/2006/relationships/tags" Target="../tags/tag254.xml"/><Relationship Id="rId115" Type="http://schemas.openxmlformats.org/officeDocument/2006/relationships/tags" Target="../tags/tag259.xml"/><Relationship Id="rId131" Type="http://schemas.openxmlformats.org/officeDocument/2006/relationships/oleObject" Target="../embeddings/oleObject65.bin"/><Relationship Id="rId136" Type="http://schemas.openxmlformats.org/officeDocument/2006/relationships/chart" Target="../charts/chart4.xml"/><Relationship Id="rId61" Type="http://schemas.openxmlformats.org/officeDocument/2006/relationships/tags" Target="../tags/tag205.xml"/><Relationship Id="rId82" Type="http://schemas.openxmlformats.org/officeDocument/2006/relationships/tags" Target="../tags/tag226.xml"/><Relationship Id="rId19" Type="http://schemas.openxmlformats.org/officeDocument/2006/relationships/tags" Target="../tags/tag16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75.xml"/><Relationship Id="rId2" Type="http://schemas.openxmlformats.org/officeDocument/2006/relationships/tags" Target="../tags/tag274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6.bin"/><Relationship Id="rId4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82.xml"/><Relationship Id="rId13" Type="http://schemas.openxmlformats.org/officeDocument/2006/relationships/tags" Target="../tags/tag287.xml"/><Relationship Id="rId18" Type="http://schemas.openxmlformats.org/officeDocument/2006/relationships/slideLayout" Target="../slideLayouts/slideLayout10.xml"/><Relationship Id="rId26" Type="http://schemas.openxmlformats.org/officeDocument/2006/relationships/image" Target="../media/image30.jpeg"/><Relationship Id="rId3" Type="http://schemas.openxmlformats.org/officeDocument/2006/relationships/tags" Target="../tags/tag277.xml"/><Relationship Id="rId21" Type="http://schemas.openxmlformats.org/officeDocument/2006/relationships/image" Target="../media/image25.gif"/><Relationship Id="rId7" Type="http://schemas.openxmlformats.org/officeDocument/2006/relationships/tags" Target="../tags/tag281.xml"/><Relationship Id="rId12" Type="http://schemas.openxmlformats.org/officeDocument/2006/relationships/tags" Target="../tags/tag286.xml"/><Relationship Id="rId17" Type="http://schemas.openxmlformats.org/officeDocument/2006/relationships/tags" Target="../tags/tag291.xml"/><Relationship Id="rId25" Type="http://schemas.openxmlformats.org/officeDocument/2006/relationships/image" Target="../media/image29.jpeg"/><Relationship Id="rId33" Type="http://schemas.openxmlformats.org/officeDocument/2006/relationships/image" Target="../media/image37.png"/><Relationship Id="rId2" Type="http://schemas.openxmlformats.org/officeDocument/2006/relationships/tags" Target="../tags/tag276.xml"/><Relationship Id="rId16" Type="http://schemas.openxmlformats.org/officeDocument/2006/relationships/tags" Target="../tags/tag290.xml"/><Relationship Id="rId20" Type="http://schemas.openxmlformats.org/officeDocument/2006/relationships/oleObject" Target="../embeddings/oleObject67.bin"/><Relationship Id="rId29" Type="http://schemas.openxmlformats.org/officeDocument/2006/relationships/image" Target="../media/image33.jpeg"/><Relationship Id="rId1" Type="http://schemas.openxmlformats.org/officeDocument/2006/relationships/vmlDrawing" Target="../drawings/vmlDrawing67.vml"/><Relationship Id="rId6" Type="http://schemas.openxmlformats.org/officeDocument/2006/relationships/tags" Target="../tags/tag280.xml"/><Relationship Id="rId11" Type="http://schemas.openxmlformats.org/officeDocument/2006/relationships/tags" Target="../tags/tag285.xml"/><Relationship Id="rId24" Type="http://schemas.openxmlformats.org/officeDocument/2006/relationships/image" Target="../media/image28.jpeg"/><Relationship Id="rId32" Type="http://schemas.openxmlformats.org/officeDocument/2006/relationships/image" Target="../media/image36.png"/><Relationship Id="rId5" Type="http://schemas.openxmlformats.org/officeDocument/2006/relationships/tags" Target="../tags/tag279.xml"/><Relationship Id="rId15" Type="http://schemas.openxmlformats.org/officeDocument/2006/relationships/tags" Target="../tags/tag289.xml"/><Relationship Id="rId23" Type="http://schemas.openxmlformats.org/officeDocument/2006/relationships/image" Target="../media/image27.jpeg"/><Relationship Id="rId28" Type="http://schemas.openxmlformats.org/officeDocument/2006/relationships/image" Target="../media/image32.png"/><Relationship Id="rId10" Type="http://schemas.openxmlformats.org/officeDocument/2006/relationships/tags" Target="../tags/tag284.xml"/><Relationship Id="rId19" Type="http://schemas.openxmlformats.org/officeDocument/2006/relationships/notesSlide" Target="../notesSlides/notesSlide3.xml"/><Relationship Id="rId31" Type="http://schemas.openxmlformats.org/officeDocument/2006/relationships/image" Target="../media/image35.png"/><Relationship Id="rId4" Type="http://schemas.openxmlformats.org/officeDocument/2006/relationships/tags" Target="../tags/tag278.xml"/><Relationship Id="rId9" Type="http://schemas.openxmlformats.org/officeDocument/2006/relationships/tags" Target="../tags/tag283.xml"/><Relationship Id="rId14" Type="http://schemas.openxmlformats.org/officeDocument/2006/relationships/tags" Target="../tags/tag288.xml"/><Relationship Id="rId22" Type="http://schemas.openxmlformats.org/officeDocument/2006/relationships/image" Target="../media/image26.png"/><Relationship Id="rId27" Type="http://schemas.openxmlformats.org/officeDocument/2006/relationships/image" Target="../media/image31.png"/><Relationship Id="rId30" Type="http://schemas.openxmlformats.org/officeDocument/2006/relationships/image" Target="../media/image3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93.xml"/><Relationship Id="rId7" Type="http://schemas.openxmlformats.org/officeDocument/2006/relationships/image" Target="../media/image38.jpeg"/><Relationship Id="rId12" Type="http://schemas.openxmlformats.org/officeDocument/2006/relationships/image" Target="../media/image42.jpeg"/><Relationship Id="rId2" Type="http://schemas.openxmlformats.org/officeDocument/2006/relationships/tags" Target="../tags/tag292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6.emf"/><Relationship Id="rId11" Type="http://schemas.openxmlformats.org/officeDocument/2006/relationships/image" Target="../media/image41.jpeg"/><Relationship Id="rId5" Type="http://schemas.openxmlformats.org/officeDocument/2006/relationships/oleObject" Target="../embeddings/oleObject68.bin"/><Relationship Id="rId10" Type="http://schemas.openxmlformats.org/officeDocument/2006/relationships/image" Target="../media/image40.jpe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3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95.xml"/><Relationship Id="rId2" Type="http://schemas.openxmlformats.org/officeDocument/2006/relationships/tags" Target="../tags/tag294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9.bin"/><Relationship Id="rId4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tags" Target="../tags/tag297.xml"/><Relationship Id="rId7" Type="http://schemas.openxmlformats.org/officeDocument/2006/relationships/image" Target="../media/image6.emf"/><Relationship Id="rId2" Type="http://schemas.openxmlformats.org/officeDocument/2006/relationships/tags" Target="../tags/tag296.xml"/><Relationship Id="rId1" Type="http://schemas.openxmlformats.org/officeDocument/2006/relationships/vmlDrawing" Target="../drawings/vmlDrawing70.vml"/><Relationship Id="rId6" Type="http://schemas.openxmlformats.org/officeDocument/2006/relationships/oleObject" Target="../embeddings/oleObject70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434" y="2030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108" name="Diapositive think-cell" r:id="rId7" imgW="360" imgH="360" progId="TCLayout.ActiveDocument.1">
                  <p:embed/>
                </p:oleObj>
              </mc:Choice>
              <mc:Fallback>
                <p:oleObj name="Diapositive think-cell" r:id="rId7" imgW="360" imgH="36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34" y="2030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8" descr="Animated-Flag-Morocco"/>
          <p:cNvPicPr>
            <a:picLocks noChangeArrowheads="1" noCrop="1"/>
          </p:cNvPicPr>
          <p:nvPr>
            <p:custDataLst>
              <p:tags r:id="rId4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5854" y="141265"/>
            <a:ext cx="726022" cy="510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E11D7ED5-875E-44F9-9EF1-3B7AB3921DBE}"/>
              </a:ext>
            </a:extLst>
          </p:cNvPr>
          <p:cNvSpPr txBox="1">
            <a:spLocks/>
          </p:cNvSpPr>
          <p:nvPr/>
        </p:nvSpPr>
        <p:spPr bwMode="gray">
          <a:xfrm>
            <a:off x="1691393" y="3054270"/>
            <a:ext cx="7643799" cy="1365143"/>
          </a:xfrm>
          <a:prstGeom prst="rect">
            <a:avLst/>
          </a:prstGeom>
        </p:spPr>
        <p:txBody>
          <a:bodyPr anchor="t"/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fr-FR" sz="2000" b="1" baseline="0" noProof="0" dirty="0">
                <a:solidFill>
                  <a:schemeClr val="tx2"/>
                </a:solidFill>
                <a:latin typeface="Gill Sans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dirty="0" smtClean="0">
                <a:solidFill>
                  <a:srgbClr val="002060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Comités </a:t>
            </a:r>
            <a:r>
              <a:rPr lang="fr-FR" dirty="0">
                <a:solidFill>
                  <a:srgbClr val="002060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Régionaux de Veille </a:t>
            </a:r>
            <a:r>
              <a:rPr lang="fr-FR" dirty="0" smtClean="0">
                <a:solidFill>
                  <a:srgbClr val="002060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Economique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dirty="0" smtClean="0">
                <a:solidFill>
                  <a:srgbClr val="002060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Objectifs et attentes</a:t>
            </a:r>
            <a:endParaRPr lang="fr-FR" dirty="0">
              <a:solidFill>
                <a:srgbClr val="002060"/>
              </a:solidFill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F3F02802-D52F-43B7-B72C-4E40FCD3889B}"/>
              </a:ext>
            </a:extLst>
          </p:cNvPr>
          <p:cNvGrpSpPr/>
          <p:nvPr/>
        </p:nvGrpSpPr>
        <p:grpSpPr>
          <a:xfrm>
            <a:off x="264" y="3596"/>
            <a:ext cx="1882324" cy="6854404"/>
            <a:chOff x="264" y="3595"/>
            <a:chExt cx="1819310" cy="6710256"/>
          </a:xfrm>
        </p:grpSpPr>
        <p:pic>
          <p:nvPicPr>
            <p:cNvPr id="12" name="Picture 63" descr="Image associÃ©e">
              <a:extLst>
                <a:ext uri="{FF2B5EF4-FFF2-40B4-BE49-F238E27FC236}">
                  <a16:creationId xmlns:a16="http://schemas.microsoft.com/office/drawing/2014/main" id="{4C8D41EA-3984-4E30-B570-D433A789250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1343" b="27951"/>
            <a:stretch/>
          </p:blipFill>
          <p:spPr bwMode="auto">
            <a:xfrm>
              <a:off x="264" y="3595"/>
              <a:ext cx="1819310" cy="9841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65" descr="RÃ©sultat de recherche d'images pour &quot;pÃªche agadir maroc&quot;">
              <a:extLst>
                <a:ext uri="{FF2B5EF4-FFF2-40B4-BE49-F238E27FC236}">
                  <a16:creationId xmlns:a16="http://schemas.microsoft.com/office/drawing/2014/main" id="{5227DED1-54A0-4BB5-A88F-84C4B826158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708" r="35595"/>
            <a:stretch/>
          </p:blipFill>
          <p:spPr bwMode="auto">
            <a:xfrm>
              <a:off x="264" y="983369"/>
              <a:ext cx="1819310" cy="9766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67" descr="RÃ©sultat de recherche d'images pour &quot;casablanca finance city&quot;">
              <a:extLst>
                <a:ext uri="{FF2B5EF4-FFF2-40B4-BE49-F238E27FC236}">
                  <a16:creationId xmlns:a16="http://schemas.microsoft.com/office/drawing/2014/main" id="{BA4F3BA8-4F2B-437A-8074-24377BA99F9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" y="5744045"/>
              <a:ext cx="1819310" cy="969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69" descr="RÃ©sultat de recherche d'images pour &quot;automobile maroc&quot;">
              <a:extLst>
                <a:ext uri="{FF2B5EF4-FFF2-40B4-BE49-F238E27FC236}">
                  <a16:creationId xmlns:a16="http://schemas.microsoft.com/office/drawing/2014/main" id="{1658D908-6977-476C-9AD8-9B5CD2539C2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560"/>
            <a:stretch/>
          </p:blipFill>
          <p:spPr bwMode="auto">
            <a:xfrm>
              <a:off x="264" y="1955624"/>
              <a:ext cx="1819310" cy="9745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71" descr="RÃ©sultat de recherche d'images pour &quot;aÃ©ronautique maroc&quot;">
              <a:extLst>
                <a:ext uri="{FF2B5EF4-FFF2-40B4-BE49-F238E27FC236}">
                  <a16:creationId xmlns:a16="http://schemas.microsoft.com/office/drawing/2014/main" id="{D8B7E88C-42AE-44A4-957F-DAABB0BA26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" y="2925805"/>
              <a:ext cx="1819310" cy="9745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73" descr="RÃ©sultat de recherche d'images pour &quot;aÃ©roport marrakech&quot;">
              <a:extLst>
                <a:ext uri="{FF2B5EF4-FFF2-40B4-BE49-F238E27FC236}">
                  <a16:creationId xmlns:a16="http://schemas.microsoft.com/office/drawing/2014/main" id="{ABEE8F7E-1B94-4E38-805A-A5BD8575859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2299"/>
            <a:stretch/>
          </p:blipFill>
          <p:spPr bwMode="auto">
            <a:xfrm>
              <a:off x="264" y="3895986"/>
              <a:ext cx="1819310" cy="9421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76" descr="Image associÃ©e">
              <a:extLst>
                <a:ext uri="{FF2B5EF4-FFF2-40B4-BE49-F238E27FC236}">
                  <a16:creationId xmlns:a16="http://schemas.microsoft.com/office/drawing/2014/main" id="{95DAA15A-5588-40E1-AF74-AED869D43D1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058"/>
            <a:stretch/>
          </p:blipFill>
          <p:spPr bwMode="auto">
            <a:xfrm>
              <a:off x="264" y="4833762"/>
              <a:ext cx="1819310" cy="9119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" name="Image 1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533041" y="199409"/>
            <a:ext cx="1426588" cy="1322947"/>
          </a:xfrm>
          <a:prstGeom prst="rect">
            <a:avLst/>
          </a:prstGeom>
        </p:spPr>
      </p:pic>
      <p:sp>
        <p:nvSpPr>
          <p:cNvPr id="25" name="ZoneTexte 24"/>
          <p:cNvSpPr txBox="1"/>
          <p:nvPr/>
        </p:nvSpPr>
        <p:spPr>
          <a:xfrm>
            <a:off x="3570131" y="5352124"/>
            <a:ext cx="3886324" cy="34684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fr-FR" b="1" dirty="0">
                <a:solidFill>
                  <a:srgbClr val="002060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Rabat 03 Novembre 2020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11D7ED5-875E-44F9-9EF1-3B7AB3921DBE}"/>
              </a:ext>
            </a:extLst>
          </p:cNvPr>
          <p:cNvSpPr txBox="1">
            <a:spLocks/>
          </p:cNvSpPr>
          <p:nvPr/>
        </p:nvSpPr>
        <p:spPr bwMode="gray">
          <a:xfrm>
            <a:off x="1926105" y="4702962"/>
            <a:ext cx="7261413" cy="1050992"/>
          </a:xfrm>
          <a:prstGeom prst="rect">
            <a:avLst/>
          </a:prstGeom>
        </p:spPr>
        <p:txBody>
          <a:bodyPr anchor="t"/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fr-FR" sz="2000" b="1" baseline="0" noProof="0" dirty="0">
                <a:solidFill>
                  <a:schemeClr val="tx2"/>
                </a:solidFill>
                <a:latin typeface="Gill Sans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fr-FR" b="0" dirty="0">
              <a:solidFill>
                <a:srgbClr val="002060"/>
              </a:solidFill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20908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gray">
          <a:xfrm>
            <a:off x="399935" y="2596036"/>
            <a:ext cx="3121891" cy="168624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rtlCol="0" anchor="ctr"/>
          <a:lstStyle/>
          <a:p>
            <a:pPr>
              <a:lnSpc>
                <a:spcPct val="120000"/>
              </a:lnSpc>
              <a:buSzTx/>
            </a:pPr>
            <a:r>
              <a:rPr lang="fr-FR" altLang="fr-FR" sz="1200" b="1" dirty="0">
                <a:solidFill>
                  <a:schemeClr val="tx2"/>
                </a:solidFill>
                <a:latin typeface="Gill Sans" panose="020B0502020104020203"/>
              </a:rPr>
              <a:t>Position de force dans l’environnement post-crise</a:t>
            </a:r>
            <a:endParaRPr lang="en-US" altLang="fr-FR" sz="1200" b="1" dirty="0">
              <a:solidFill>
                <a:schemeClr val="tx2"/>
              </a:solidFill>
              <a:latin typeface="Gill Sans" panose="020B0502020104020203"/>
            </a:endParaRPr>
          </a:p>
          <a:p>
            <a:pPr marL="171450" indent="-171450">
              <a:lnSpc>
                <a:spcPct val="105000"/>
              </a:lnSpc>
              <a:spcBef>
                <a:spcPct val="45000"/>
              </a:spcBef>
              <a:buFont typeface="Arial" panose="020B0604020202020204" pitchFamily="34" charset="0"/>
              <a:buChar char="•"/>
            </a:pPr>
            <a:r>
              <a:rPr lang="fr-FR" altLang="fr-FR" sz="1200" dirty="0">
                <a:solidFill>
                  <a:schemeClr val="tx2"/>
                </a:solidFill>
                <a:latin typeface="Gill Sans" panose="020B0502020104020203"/>
              </a:rPr>
              <a:t>Préservation des acquis structurels de la Région durant la crise</a:t>
            </a:r>
          </a:p>
          <a:p>
            <a:pPr marL="171450" indent="-171450">
              <a:lnSpc>
                <a:spcPct val="105000"/>
              </a:lnSpc>
              <a:spcBef>
                <a:spcPct val="45000"/>
              </a:spcBef>
              <a:buFont typeface="Arial" panose="020B0604020202020204" pitchFamily="34" charset="0"/>
              <a:buChar char="•"/>
            </a:pPr>
            <a:r>
              <a:rPr lang="fr-FR" altLang="fr-FR" sz="1200" dirty="0">
                <a:solidFill>
                  <a:schemeClr val="tx2"/>
                </a:solidFill>
                <a:latin typeface="Gill Sans" panose="020B0502020104020203"/>
              </a:rPr>
              <a:t>Marges de manœuvre à utiliser de manière rationnelle / ciblée</a:t>
            </a:r>
          </a:p>
        </p:txBody>
      </p:sp>
      <p:graphicFrame>
        <p:nvGraphicFramePr>
          <p:cNvPr id="576514" name="Rectangle 2" hidden="1">
            <a:extLst>
              <a:ext uri="{FF2B5EF4-FFF2-40B4-BE49-F238E27FC236}">
                <a16:creationId xmlns:a16="http://schemas.microsoft.com/office/drawing/2014/main" id="{5067CC6C-2013-4E77-86A4-6A2EE1DAC0D2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44" name="Diapositive think-cell" r:id="rId12" imgW="0" imgH="0" progId="TCLayout.ActiveDocument.1">
                  <p:embed/>
                </p:oleObj>
              </mc:Choice>
              <mc:Fallback>
                <p:oleObj name="Diapositive think-cell" r:id="rId12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0" y="1"/>
                        <a:ext cx="16197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6515" name="Rectangle 3" hidden="1">
            <a:extLst>
              <a:ext uri="{FF2B5EF4-FFF2-40B4-BE49-F238E27FC236}">
                <a16:creationId xmlns:a16="http://schemas.microsoft.com/office/drawing/2014/main" id="{A203D9B2-9D88-43C5-8571-7FB2911850F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numCol="1" spc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fr-FR" altLang="fr-FR" sz="2041" b="1" dirty="0">
              <a:latin typeface="Gill Sans" panose="020B0502020104020203"/>
              <a:ea typeface="Arial Unicode MS"/>
              <a:cs typeface="Arial" panose="020B0604020202020204" pitchFamily="34" charset="0"/>
              <a:sym typeface="Gill Sans" panose="020B0502020104020203"/>
            </a:endParaRPr>
          </a:p>
        </p:txBody>
      </p:sp>
      <p:sp>
        <p:nvSpPr>
          <p:cNvPr id="576525" name="Freeform 13">
            <a:extLst>
              <a:ext uri="{FF2B5EF4-FFF2-40B4-BE49-F238E27FC236}">
                <a16:creationId xmlns:a16="http://schemas.microsoft.com/office/drawing/2014/main" id="{93484E81-3627-4935-A27E-7E10ADE456C2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 flipH="1" flipV="1">
            <a:off x="3913425" y="4723177"/>
            <a:ext cx="597686" cy="469726"/>
          </a:xfrm>
          <a:custGeom>
            <a:avLst/>
            <a:gdLst>
              <a:gd name="T0" fmla="*/ 225 w 697"/>
              <a:gd name="T1" fmla="*/ 0 h 1024"/>
              <a:gd name="T2" fmla="*/ 0 w 697"/>
              <a:gd name="T3" fmla="*/ 279 h 1024"/>
              <a:gd name="T4" fmla="*/ 225 w 697"/>
              <a:gd name="T5" fmla="*/ 560 h 1024"/>
              <a:gd name="T6" fmla="*/ 225 w 697"/>
              <a:gd name="T7" fmla="*/ 405 h 1024"/>
              <a:gd name="T8" fmla="*/ 264 w 697"/>
              <a:gd name="T9" fmla="*/ 409 h 1024"/>
              <a:gd name="T10" fmla="*/ 303 w 697"/>
              <a:gd name="T11" fmla="*/ 416 h 1024"/>
              <a:gd name="T12" fmla="*/ 341 w 697"/>
              <a:gd name="T13" fmla="*/ 428 h 1024"/>
              <a:gd name="T14" fmla="*/ 378 w 697"/>
              <a:gd name="T15" fmla="*/ 443 h 1024"/>
              <a:gd name="T16" fmla="*/ 414 w 697"/>
              <a:gd name="T17" fmla="*/ 461 h 1024"/>
              <a:gd name="T18" fmla="*/ 449 w 697"/>
              <a:gd name="T19" fmla="*/ 485 h 1024"/>
              <a:gd name="T20" fmla="*/ 483 w 697"/>
              <a:gd name="T21" fmla="*/ 511 h 1024"/>
              <a:gd name="T22" fmla="*/ 514 w 697"/>
              <a:gd name="T23" fmla="*/ 541 h 1024"/>
              <a:gd name="T24" fmla="*/ 543 w 697"/>
              <a:gd name="T25" fmla="*/ 574 h 1024"/>
              <a:gd name="T26" fmla="*/ 571 w 697"/>
              <a:gd name="T27" fmla="*/ 609 h 1024"/>
              <a:gd name="T28" fmla="*/ 596 w 697"/>
              <a:gd name="T29" fmla="*/ 648 h 1024"/>
              <a:gd name="T30" fmla="*/ 619 w 697"/>
              <a:gd name="T31" fmla="*/ 689 h 1024"/>
              <a:gd name="T32" fmla="*/ 638 w 697"/>
              <a:gd name="T33" fmla="*/ 732 h 1024"/>
              <a:gd name="T34" fmla="*/ 655 w 697"/>
              <a:gd name="T35" fmla="*/ 778 h 1024"/>
              <a:gd name="T36" fmla="*/ 669 w 697"/>
              <a:gd name="T37" fmla="*/ 825 h 1024"/>
              <a:gd name="T38" fmla="*/ 681 w 697"/>
              <a:gd name="T39" fmla="*/ 873 h 1024"/>
              <a:gd name="T40" fmla="*/ 689 w 697"/>
              <a:gd name="T41" fmla="*/ 922 h 1024"/>
              <a:gd name="T42" fmla="*/ 694 w 697"/>
              <a:gd name="T43" fmla="*/ 972 h 1024"/>
              <a:gd name="T44" fmla="*/ 696 w 697"/>
              <a:gd name="T45" fmla="*/ 1023 h 1024"/>
              <a:gd name="T46" fmla="*/ 695 w 697"/>
              <a:gd name="T47" fmla="*/ 963 h 1024"/>
              <a:gd name="T48" fmla="*/ 692 w 697"/>
              <a:gd name="T49" fmla="*/ 904 h 1024"/>
              <a:gd name="T50" fmla="*/ 687 w 697"/>
              <a:gd name="T51" fmla="*/ 846 h 1024"/>
              <a:gd name="T52" fmla="*/ 679 w 697"/>
              <a:gd name="T53" fmla="*/ 788 h 1024"/>
              <a:gd name="T54" fmla="*/ 669 w 697"/>
              <a:gd name="T55" fmla="*/ 732 h 1024"/>
              <a:gd name="T56" fmla="*/ 658 w 697"/>
              <a:gd name="T57" fmla="*/ 677 h 1024"/>
              <a:gd name="T58" fmla="*/ 643 w 697"/>
              <a:gd name="T59" fmla="*/ 623 h 1024"/>
              <a:gd name="T60" fmla="*/ 628 w 697"/>
              <a:gd name="T61" fmla="*/ 571 h 1024"/>
              <a:gd name="T62" fmla="*/ 610 w 697"/>
              <a:gd name="T63" fmla="*/ 522 h 1024"/>
              <a:gd name="T64" fmla="*/ 591 w 697"/>
              <a:gd name="T65" fmla="*/ 474 h 1024"/>
              <a:gd name="T66" fmla="*/ 570 w 697"/>
              <a:gd name="T67" fmla="*/ 429 h 1024"/>
              <a:gd name="T68" fmla="*/ 547 w 697"/>
              <a:gd name="T69" fmla="*/ 387 h 1024"/>
              <a:gd name="T70" fmla="*/ 524 w 697"/>
              <a:gd name="T71" fmla="*/ 348 h 1024"/>
              <a:gd name="T72" fmla="*/ 498 w 697"/>
              <a:gd name="T73" fmla="*/ 311 h 1024"/>
              <a:gd name="T74" fmla="*/ 471 w 697"/>
              <a:gd name="T75" fmla="*/ 278 h 1024"/>
              <a:gd name="T76" fmla="*/ 443 w 697"/>
              <a:gd name="T77" fmla="*/ 248 h 1024"/>
              <a:gd name="T78" fmla="*/ 413 w 697"/>
              <a:gd name="T79" fmla="*/ 222 h 1024"/>
              <a:gd name="T80" fmla="*/ 384 w 697"/>
              <a:gd name="T81" fmla="*/ 199 h 1024"/>
              <a:gd name="T82" fmla="*/ 353 w 697"/>
              <a:gd name="T83" fmla="*/ 180 h 1024"/>
              <a:gd name="T84" fmla="*/ 322 w 697"/>
              <a:gd name="T85" fmla="*/ 165 h 1024"/>
              <a:gd name="T86" fmla="*/ 290 w 697"/>
              <a:gd name="T87" fmla="*/ 154 h 1024"/>
              <a:gd name="T88" fmla="*/ 258 w 697"/>
              <a:gd name="T89" fmla="*/ 146 h 1024"/>
              <a:gd name="T90" fmla="*/ 225 w 697"/>
              <a:gd name="T91" fmla="*/ 142 h 1024"/>
              <a:gd name="T92" fmla="*/ 225 w 697"/>
              <a:gd name="T93" fmla="*/ 0 h 1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97" h="1024">
                <a:moveTo>
                  <a:pt x="225" y="0"/>
                </a:moveTo>
                <a:lnTo>
                  <a:pt x="0" y="279"/>
                </a:lnTo>
                <a:lnTo>
                  <a:pt x="225" y="560"/>
                </a:lnTo>
                <a:lnTo>
                  <a:pt x="225" y="405"/>
                </a:lnTo>
                <a:lnTo>
                  <a:pt x="264" y="409"/>
                </a:lnTo>
                <a:lnTo>
                  <a:pt x="303" y="416"/>
                </a:lnTo>
                <a:lnTo>
                  <a:pt x="341" y="428"/>
                </a:lnTo>
                <a:lnTo>
                  <a:pt x="378" y="443"/>
                </a:lnTo>
                <a:lnTo>
                  <a:pt x="414" y="461"/>
                </a:lnTo>
                <a:lnTo>
                  <a:pt x="449" y="485"/>
                </a:lnTo>
                <a:lnTo>
                  <a:pt x="483" y="511"/>
                </a:lnTo>
                <a:lnTo>
                  <a:pt x="514" y="541"/>
                </a:lnTo>
                <a:lnTo>
                  <a:pt x="543" y="574"/>
                </a:lnTo>
                <a:lnTo>
                  <a:pt x="571" y="609"/>
                </a:lnTo>
                <a:lnTo>
                  <a:pt x="596" y="648"/>
                </a:lnTo>
                <a:lnTo>
                  <a:pt x="619" y="689"/>
                </a:lnTo>
                <a:lnTo>
                  <a:pt x="638" y="732"/>
                </a:lnTo>
                <a:lnTo>
                  <a:pt x="655" y="778"/>
                </a:lnTo>
                <a:lnTo>
                  <a:pt x="669" y="825"/>
                </a:lnTo>
                <a:lnTo>
                  <a:pt x="681" y="873"/>
                </a:lnTo>
                <a:lnTo>
                  <a:pt x="689" y="922"/>
                </a:lnTo>
                <a:lnTo>
                  <a:pt x="694" y="972"/>
                </a:lnTo>
                <a:lnTo>
                  <a:pt x="696" y="1023"/>
                </a:lnTo>
                <a:lnTo>
                  <a:pt x="695" y="963"/>
                </a:lnTo>
                <a:lnTo>
                  <a:pt x="692" y="904"/>
                </a:lnTo>
                <a:lnTo>
                  <a:pt x="687" y="846"/>
                </a:lnTo>
                <a:lnTo>
                  <a:pt x="679" y="788"/>
                </a:lnTo>
                <a:lnTo>
                  <a:pt x="669" y="732"/>
                </a:lnTo>
                <a:lnTo>
                  <a:pt x="658" y="677"/>
                </a:lnTo>
                <a:lnTo>
                  <a:pt x="643" y="623"/>
                </a:lnTo>
                <a:lnTo>
                  <a:pt x="628" y="571"/>
                </a:lnTo>
                <a:lnTo>
                  <a:pt x="610" y="522"/>
                </a:lnTo>
                <a:lnTo>
                  <a:pt x="591" y="474"/>
                </a:lnTo>
                <a:lnTo>
                  <a:pt x="570" y="429"/>
                </a:lnTo>
                <a:lnTo>
                  <a:pt x="547" y="387"/>
                </a:lnTo>
                <a:lnTo>
                  <a:pt x="524" y="348"/>
                </a:lnTo>
                <a:lnTo>
                  <a:pt x="498" y="311"/>
                </a:lnTo>
                <a:lnTo>
                  <a:pt x="471" y="278"/>
                </a:lnTo>
                <a:lnTo>
                  <a:pt x="443" y="248"/>
                </a:lnTo>
                <a:lnTo>
                  <a:pt x="413" y="222"/>
                </a:lnTo>
                <a:lnTo>
                  <a:pt x="384" y="199"/>
                </a:lnTo>
                <a:lnTo>
                  <a:pt x="353" y="180"/>
                </a:lnTo>
                <a:lnTo>
                  <a:pt x="322" y="165"/>
                </a:lnTo>
                <a:lnTo>
                  <a:pt x="290" y="154"/>
                </a:lnTo>
                <a:lnTo>
                  <a:pt x="258" y="146"/>
                </a:lnTo>
                <a:lnTo>
                  <a:pt x="225" y="142"/>
                </a:lnTo>
                <a:lnTo>
                  <a:pt x="225" y="0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fr-FR" sz="1837">
              <a:latin typeface="Gill Sans" panose="020B0502020104020203"/>
            </a:endParaRPr>
          </a:p>
        </p:txBody>
      </p:sp>
      <p:sp>
        <p:nvSpPr>
          <p:cNvPr id="576526" name="Freeform 14">
            <a:extLst>
              <a:ext uri="{FF2B5EF4-FFF2-40B4-BE49-F238E27FC236}">
                <a16:creationId xmlns:a16="http://schemas.microsoft.com/office/drawing/2014/main" id="{743702DF-EC8E-4399-9992-AC43AFFBD91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 rot="10800000" flipV="1">
            <a:off x="3913425" y="1987429"/>
            <a:ext cx="597686" cy="469726"/>
          </a:xfrm>
          <a:custGeom>
            <a:avLst/>
            <a:gdLst>
              <a:gd name="T0" fmla="*/ 225 w 697"/>
              <a:gd name="T1" fmla="*/ 0 h 1024"/>
              <a:gd name="T2" fmla="*/ 0 w 697"/>
              <a:gd name="T3" fmla="*/ 279 h 1024"/>
              <a:gd name="T4" fmla="*/ 225 w 697"/>
              <a:gd name="T5" fmla="*/ 560 h 1024"/>
              <a:gd name="T6" fmla="*/ 225 w 697"/>
              <a:gd name="T7" fmla="*/ 405 h 1024"/>
              <a:gd name="T8" fmla="*/ 264 w 697"/>
              <a:gd name="T9" fmla="*/ 409 h 1024"/>
              <a:gd name="T10" fmla="*/ 303 w 697"/>
              <a:gd name="T11" fmla="*/ 416 h 1024"/>
              <a:gd name="T12" fmla="*/ 341 w 697"/>
              <a:gd name="T13" fmla="*/ 428 h 1024"/>
              <a:gd name="T14" fmla="*/ 378 w 697"/>
              <a:gd name="T15" fmla="*/ 443 h 1024"/>
              <a:gd name="T16" fmla="*/ 414 w 697"/>
              <a:gd name="T17" fmla="*/ 461 h 1024"/>
              <a:gd name="T18" fmla="*/ 449 w 697"/>
              <a:gd name="T19" fmla="*/ 485 h 1024"/>
              <a:gd name="T20" fmla="*/ 483 w 697"/>
              <a:gd name="T21" fmla="*/ 511 h 1024"/>
              <a:gd name="T22" fmla="*/ 514 w 697"/>
              <a:gd name="T23" fmla="*/ 541 h 1024"/>
              <a:gd name="T24" fmla="*/ 543 w 697"/>
              <a:gd name="T25" fmla="*/ 574 h 1024"/>
              <a:gd name="T26" fmla="*/ 571 w 697"/>
              <a:gd name="T27" fmla="*/ 609 h 1024"/>
              <a:gd name="T28" fmla="*/ 596 w 697"/>
              <a:gd name="T29" fmla="*/ 648 h 1024"/>
              <a:gd name="T30" fmla="*/ 619 w 697"/>
              <a:gd name="T31" fmla="*/ 689 h 1024"/>
              <a:gd name="T32" fmla="*/ 638 w 697"/>
              <a:gd name="T33" fmla="*/ 732 h 1024"/>
              <a:gd name="T34" fmla="*/ 655 w 697"/>
              <a:gd name="T35" fmla="*/ 778 h 1024"/>
              <a:gd name="T36" fmla="*/ 669 w 697"/>
              <a:gd name="T37" fmla="*/ 825 h 1024"/>
              <a:gd name="T38" fmla="*/ 681 w 697"/>
              <a:gd name="T39" fmla="*/ 873 h 1024"/>
              <a:gd name="T40" fmla="*/ 689 w 697"/>
              <a:gd name="T41" fmla="*/ 922 h 1024"/>
              <a:gd name="T42" fmla="*/ 694 w 697"/>
              <a:gd name="T43" fmla="*/ 972 h 1024"/>
              <a:gd name="T44" fmla="*/ 696 w 697"/>
              <a:gd name="T45" fmla="*/ 1023 h 1024"/>
              <a:gd name="T46" fmla="*/ 695 w 697"/>
              <a:gd name="T47" fmla="*/ 963 h 1024"/>
              <a:gd name="T48" fmla="*/ 692 w 697"/>
              <a:gd name="T49" fmla="*/ 904 h 1024"/>
              <a:gd name="T50" fmla="*/ 687 w 697"/>
              <a:gd name="T51" fmla="*/ 846 h 1024"/>
              <a:gd name="T52" fmla="*/ 679 w 697"/>
              <a:gd name="T53" fmla="*/ 788 h 1024"/>
              <a:gd name="T54" fmla="*/ 669 w 697"/>
              <a:gd name="T55" fmla="*/ 732 h 1024"/>
              <a:gd name="T56" fmla="*/ 658 w 697"/>
              <a:gd name="T57" fmla="*/ 677 h 1024"/>
              <a:gd name="T58" fmla="*/ 643 w 697"/>
              <a:gd name="T59" fmla="*/ 623 h 1024"/>
              <a:gd name="T60" fmla="*/ 628 w 697"/>
              <a:gd name="T61" fmla="*/ 571 h 1024"/>
              <a:gd name="T62" fmla="*/ 610 w 697"/>
              <a:gd name="T63" fmla="*/ 522 h 1024"/>
              <a:gd name="T64" fmla="*/ 591 w 697"/>
              <a:gd name="T65" fmla="*/ 474 h 1024"/>
              <a:gd name="T66" fmla="*/ 570 w 697"/>
              <a:gd name="T67" fmla="*/ 429 h 1024"/>
              <a:gd name="T68" fmla="*/ 547 w 697"/>
              <a:gd name="T69" fmla="*/ 387 h 1024"/>
              <a:gd name="T70" fmla="*/ 524 w 697"/>
              <a:gd name="T71" fmla="*/ 348 h 1024"/>
              <a:gd name="T72" fmla="*/ 498 w 697"/>
              <a:gd name="T73" fmla="*/ 311 h 1024"/>
              <a:gd name="T74" fmla="*/ 471 w 697"/>
              <a:gd name="T75" fmla="*/ 278 h 1024"/>
              <a:gd name="T76" fmla="*/ 443 w 697"/>
              <a:gd name="T77" fmla="*/ 248 h 1024"/>
              <a:gd name="T78" fmla="*/ 413 w 697"/>
              <a:gd name="T79" fmla="*/ 222 h 1024"/>
              <a:gd name="T80" fmla="*/ 384 w 697"/>
              <a:gd name="T81" fmla="*/ 199 h 1024"/>
              <a:gd name="T82" fmla="*/ 353 w 697"/>
              <a:gd name="T83" fmla="*/ 180 h 1024"/>
              <a:gd name="T84" fmla="*/ 322 w 697"/>
              <a:gd name="T85" fmla="*/ 165 h 1024"/>
              <a:gd name="T86" fmla="*/ 290 w 697"/>
              <a:gd name="T87" fmla="*/ 154 h 1024"/>
              <a:gd name="T88" fmla="*/ 258 w 697"/>
              <a:gd name="T89" fmla="*/ 146 h 1024"/>
              <a:gd name="T90" fmla="*/ 225 w 697"/>
              <a:gd name="T91" fmla="*/ 142 h 1024"/>
              <a:gd name="T92" fmla="*/ 225 w 697"/>
              <a:gd name="T93" fmla="*/ 0 h 1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97" h="1024">
                <a:moveTo>
                  <a:pt x="225" y="0"/>
                </a:moveTo>
                <a:lnTo>
                  <a:pt x="0" y="279"/>
                </a:lnTo>
                <a:lnTo>
                  <a:pt x="225" y="560"/>
                </a:lnTo>
                <a:lnTo>
                  <a:pt x="225" y="405"/>
                </a:lnTo>
                <a:lnTo>
                  <a:pt x="264" y="409"/>
                </a:lnTo>
                <a:lnTo>
                  <a:pt x="303" y="416"/>
                </a:lnTo>
                <a:lnTo>
                  <a:pt x="341" y="428"/>
                </a:lnTo>
                <a:lnTo>
                  <a:pt x="378" y="443"/>
                </a:lnTo>
                <a:lnTo>
                  <a:pt x="414" y="461"/>
                </a:lnTo>
                <a:lnTo>
                  <a:pt x="449" y="485"/>
                </a:lnTo>
                <a:lnTo>
                  <a:pt x="483" y="511"/>
                </a:lnTo>
                <a:lnTo>
                  <a:pt x="514" y="541"/>
                </a:lnTo>
                <a:lnTo>
                  <a:pt x="543" y="574"/>
                </a:lnTo>
                <a:lnTo>
                  <a:pt x="571" y="609"/>
                </a:lnTo>
                <a:lnTo>
                  <a:pt x="596" y="648"/>
                </a:lnTo>
                <a:lnTo>
                  <a:pt x="619" y="689"/>
                </a:lnTo>
                <a:lnTo>
                  <a:pt x="638" y="732"/>
                </a:lnTo>
                <a:lnTo>
                  <a:pt x="655" y="778"/>
                </a:lnTo>
                <a:lnTo>
                  <a:pt x="669" y="825"/>
                </a:lnTo>
                <a:lnTo>
                  <a:pt x="681" y="873"/>
                </a:lnTo>
                <a:lnTo>
                  <a:pt x="689" y="922"/>
                </a:lnTo>
                <a:lnTo>
                  <a:pt x="694" y="972"/>
                </a:lnTo>
                <a:lnTo>
                  <a:pt x="696" y="1023"/>
                </a:lnTo>
                <a:lnTo>
                  <a:pt x="695" y="963"/>
                </a:lnTo>
                <a:lnTo>
                  <a:pt x="692" y="904"/>
                </a:lnTo>
                <a:lnTo>
                  <a:pt x="687" y="846"/>
                </a:lnTo>
                <a:lnTo>
                  <a:pt x="679" y="788"/>
                </a:lnTo>
                <a:lnTo>
                  <a:pt x="669" y="732"/>
                </a:lnTo>
                <a:lnTo>
                  <a:pt x="658" y="677"/>
                </a:lnTo>
                <a:lnTo>
                  <a:pt x="643" y="623"/>
                </a:lnTo>
                <a:lnTo>
                  <a:pt x="628" y="571"/>
                </a:lnTo>
                <a:lnTo>
                  <a:pt x="610" y="522"/>
                </a:lnTo>
                <a:lnTo>
                  <a:pt x="591" y="474"/>
                </a:lnTo>
                <a:lnTo>
                  <a:pt x="570" y="429"/>
                </a:lnTo>
                <a:lnTo>
                  <a:pt x="547" y="387"/>
                </a:lnTo>
                <a:lnTo>
                  <a:pt x="524" y="348"/>
                </a:lnTo>
                <a:lnTo>
                  <a:pt x="498" y="311"/>
                </a:lnTo>
                <a:lnTo>
                  <a:pt x="471" y="278"/>
                </a:lnTo>
                <a:lnTo>
                  <a:pt x="443" y="248"/>
                </a:lnTo>
                <a:lnTo>
                  <a:pt x="413" y="222"/>
                </a:lnTo>
                <a:lnTo>
                  <a:pt x="384" y="199"/>
                </a:lnTo>
                <a:lnTo>
                  <a:pt x="353" y="180"/>
                </a:lnTo>
                <a:lnTo>
                  <a:pt x="322" y="165"/>
                </a:lnTo>
                <a:lnTo>
                  <a:pt x="290" y="154"/>
                </a:lnTo>
                <a:lnTo>
                  <a:pt x="258" y="146"/>
                </a:lnTo>
                <a:lnTo>
                  <a:pt x="225" y="142"/>
                </a:lnTo>
                <a:lnTo>
                  <a:pt x="225" y="0"/>
                </a:lnTo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/>
          <a:p>
            <a:endParaRPr lang="fr-FR" sz="1837">
              <a:latin typeface="Gill Sans" panose="020B0502020104020203"/>
            </a:endParaRPr>
          </a:p>
        </p:txBody>
      </p:sp>
      <p:sp>
        <p:nvSpPr>
          <p:cNvPr id="576565" name="Oval 53">
            <a:extLst>
              <a:ext uri="{FF2B5EF4-FFF2-40B4-BE49-F238E27FC236}">
                <a16:creationId xmlns:a16="http://schemas.microsoft.com/office/drawing/2014/main" id="{8B74364F-11CE-4690-A244-2A3B1B797965}"/>
              </a:ext>
            </a:extLst>
          </p:cNvPr>
          <p:cNvSpPr>
            <a:spLocks noChangeArrowheads="1"/>
          </p:cNvSpPr>
          <p:nvPr/>
        </p:nvSpPr>
        <p:spPr bwMode="gray">
          <a:xfrm>
            <a:off x="5035325" y="3069122"/>
            <a:ext cx="2943077" cy="1099807"/>
          </a:xfrm>
          <a:prstGeom prst="ellipse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algn="ctr">
              <a:lnSpc>
                <a:spcPct val="95000"/>
              </a:lnSpc>
              <a:buSzTx/>
            </a:pPr>
            <a:r>
              <a:rPr lang="fr-FR" altLang="fr-FR" sz="1400" b="1" i="1" dirty="0">
                <a:solidFill>
                  <a:schemeClr val="tx2"/>
                </a:solidFill>
                <a:latin typeface="Gill Sans" panose="020B0502020104020203"/>
              </a:rPr>
              <a:t>Maintien du Cap </a:t>
            </a:r>
          </a:p>
          <a:p>
            <a:pPr algn="ctr">
              <a:lnSpc>
                <a:spcPct val="95000"/>
              </a:lnSpc>
              <a:buSzTx/>
            </a:pPr>
            <a:r>
              <a:rPr lang="fr-FR" altLang="fr-FR" sz="1400" b="1" i="1" dirty="0">
                <a:solidFill>
                  <a:schemeClr val="tx2"/>
                </a:solidFill>
                <a:latin typeface="Gill Sans" panose="020B0502020104020203"/>
              </a:rPr>
              <a:t>&amp; </a:t>
            </a:r>
          </a:p>
          <a:p>
            <a:pPr algn="ctr">
              <a:lnSpc>
                <a:spcPct val="95000"/>
              </a:lnSpc>
              <a:buSzTx/>
            </a:pPr>
            <a:r>
              <a:rPr lang="fr-FR" altLang="fr-FR" sz="1400" b="1" i="1" dirty="0">
                <a:solidFill>
                  <a:schemeClr val="tx2"/>
                </a:solidFill>
                <a:latin typeface="Gill Sans" panose="020B0502020104020203"/>
              </a:rPr>
              <a:t>Affinement de la stratégie</a:t>
            </a:r>
            <a:endParaRPr lang="fr-FR" sz="1837" dirty="0">
              <a:latin typeface="Gill Sans" panose="020B0502020104020203"/>
            </a:endParaRPr>
          </a:p>
        </p:txBody>
      </p:sp>
      <p:grpSp>
        <p:nvGrpSpPr>
          <p:cNvPr id="576587" name="Group 75">
            <a:extLst>
              <a:ext uri="{FF2B5EF4-FFF2-40B4-BE49-F238E27FC236}">
                <a16:creationId xmlns:a16="http://schemas.microsoft.com/office/drawing/2014/main" id="{75740228-131A-4A75-9EAE-F5C5A1437696}"/>
              </a:ext>
            </a:extLst>
          </p:cNvPr>
          <p:cNvGrpSpPr>
            <a:grpSpLocks/>
          </p:cNvGrpSpPr>
          <p:nvPr/>
        </p:nvGrpSpPr>
        <p:grpSpPr bwMode="auto">
          <a:xfrm>
            <a:off x="2912518" y="4074366"/>
            <a:ext cx="876281" cy="578249"/>
            <a:chOff x="1680" y="2839"/>
            <a:chExt cx="541" cy="357"/>
          </a:xfrm>
          <a:effectLst/>
        </p:grpSpPr>
        <p:sp>
          <p:nvSpPr>
            <p:cNvPr id="576577" name="AutoShape 65">
              <a:extLst>
                <a:ext uri="{FF2B5EF4-FFF2-40B4-BE49-F238E27FC236}">
                  <a16:creationId xmlns:a16="http://schemas.microsoft.com/office/drawing/2014/main" id="{60FD10F1-9085-4A17-923D-87C984F4544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680" y="2839"/>
              <a:ext cx="541" cy="357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rgbClr val="DDDDDD"/>
              </a:solidFill>
              <a:round/>
              <a:headEnd/>
              <a:tailEnd/>
            </a:ln>
            <a:effectLst>
              <a:outerShdw dist="35921" dir="2700000" algn="ctr" rotWithShape="0">
                <a:schemeClr val="folHlink"/>
              </a:outerShdw>
            </a:effectLst>
          </p:spPr>
          <p:txBody>
            <a:bodyPr wrap="none" anchor="ctr"/>
            <a:lstStyle/>
            <a:p>
              <a:pPr algn="ctr"/>
              <a:endParaRPr lang="fr-FR" altLang="fr-FR" sz="816">
                <a:latin typeface="Gill Sans" panose="020B0502020104020203"/>
              </a:endParaRPr>
            </a:p>
          </p:txBody>
        </p:sp>
        <p:sp>
          <p:nvSpPr>
            <p:cNvPr id="576578" name="Freeform 66">
              <a:extLst>
                <a:ext uri="{FF2B5EF4-FFF2-40B4-BE49-F238E27FC236}">
                  <a16:creationId xmlns:a16="http://schemas.microsoft.com/office/drawing/2014/main" id="{EFA1A06C-D4AC-448E-ACA4-15E6EC9906F9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1772" y="2966"/>
              <a:ext cx="244" cy="128"/>
            </a:xfrm>
            <a:custGeom>
              <a:avLst/>
              <a:gdLst>
                <a:gd name="T0" fmla="*/ 311 w 311"/>
                <a:gd name="T1" fmla="*/ 105 h 164"/>
                <a:gd name="T2" fmla="*/ 281 w 311"/>
                <a:gd name="T3" fmla="*/ 139 h 164"/>
                <a:gd name="T4" fmla="*/ 201 w 311"/>
                <a:gd name="T5" fmla="*/ 152 h 164"/>
                <a:gd name="T6" fmla="*/ 146 w 311"/>
                <a:gd name="T7" fmla="*/ 70 h 164"/>
                <a:gd name="T8" fmla="*/ 120 w 311"/>
                <a:gd name="T9" fmla="*/ 16 h 164"/>
                <a:gd name="T10" fmla="*/ 76 w 311"/>
                <a:gd name="T11" fmla="*/ 5 h 164"/>
                <a:gd name="T12" fmla="*/ 0 w 311"/>
                <a:gd name="T13" fmla="*/ 49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1" h="164">
                  <a:moveTo>
                    <a:pt x="311" y="105"/>
                  </a:moveTo>
                  <a:cubicBezTo>
                    <a:pt x="306" y="111"/>
                    <a:pt x="299" y="131"/>
                    <a:pt x="281" y="139"/>
                  </a:cubicBezTo>
                  <a:cubicBezTo>
                    <a:pt x="263" y="147"/>
                    <a:pt x="222" y="164"/>
                    <a:pt x="201" y="152"/>
                  </a:cubicBezTo>
                  <a:cubicBezTo>
                    <a:pt x="179" y="141"/>
                    <a:pt x="159" y="94"/>
                    <a:pt x="146" y="70"/>
                  </a:cubicBezTo>
                  <a:cubicBezTo>
                    <a:pt x="133" y="47"/>
                    <a:pt x="132" y="26"/>
                    <a:pt x="120" y="16"/>
                  </a:cubicBezTo>
                  <a:cubicBezTo>
                    <a:pt x="108" y="5"/>
                    <a:pt x="95" y="0"/>
                    <a:pt x="76" y="5"/>
                  </a:cubicBezTo>
                  <a:cubicBezTo>
                    <a:pt x="56" y="10"/>
                    <a:pt x="16" y="40"/>
                    <a:pt x="0" y="49"/>
                  </a:cubicBezTo>
                </a:path>
              </a:pathLst>
            </a:custGeom>
            <a:noFill/>
            <a:ln w="12700" cap="flat" cmpd="sng">
              <a:solidFill>
                <a:srgbClr val="FF757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sz="1837">
                <a:latin typeface="Gill Sans" panose="020B0502020104020203"/>
              </a:endParaRPr>
            </a:p>
          </p:txBody>
        </p:sp>
        <p:grpSp>
          <p:nvGrpSpPr>
            <p:cNvPr id="576579" name="Group 67">
              <a:extLst>
                <a:ext uri="{FF2B5EF4-FFF2-40B4-BE49-F238E27FC236}">
                  <a16:creationId xmlns:a16="http://schemas.microsoft.com/office/drawing/2014/main" id="{8602137F-09B8-49D4-A074-B0067D43B7F3}"/>
                </a:ext>
              </a:extLst>
            </p:cNvPr>
            <p:cNvGrpSpPr>
              <a:grpSpLocks/>
            </p:cNvGrpSpPr>
            <p:nvPr>
              <p:custDataLst>
                <p:tags r:id="rId7"/>
              </p:custDataLst>
            </p:nvPr>
          </p:nvGrpSpPr>
          <p:grpSpPr bwMode="auto">
            <a:xfrm>
              <a:off x="1757" y="2910"/>
              <a:ext cx="392" cy="227"/>
              <a:chOff x="450" y="3255"/>
              <a:chExt cx="384" cy="223"/>
            </a:xfrm>
          </p:grpSpPr>
          <p:sp>
            <p:nvSpPr>
              <p:cNvPr id="576580" name="Freeform 68">
                <a:extLst>
                  <a:ext uri="{FF2B5EF4-FFF2-40B4-BE49-F238E27FC236}">
                    <a16:creationId xmlns:a16="http://schemas.microsoft.com/office/drawing/2014/main" id="{835A9A1F-E093-4DB2-8505-F3131997EDA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0" y="3255"/>
                <a:ext cx="16" cy="219"/>
              </a:xfrm>
              <a:custGeom>
                <a:avLst/>
                <a:gdLst>
                  <a:gd name="T0" fmla="*/ 0 w 16"/>
                  <a:gd name="T1" fmla="*/ 42 h 219"/>
                  <a:gd name="T2" fmla="*/ 4 w 16"/>
                  <a:gd name="T3" fmla="*/ 42 h 219"/>
                  <a:gd name="T4" fmla="*/ 4 w 16"/>
                  <a:gd name="T5" fmla="*/ 219 h 219"/>
                  <a:gd name="T6" fmla="*/ 12 w 16"/>
                  <a:gd name="T7" fmla="*/ 219 h 219"/>
                  <a:gd name="T8" fmla="*/ 12 w 16"/>
                  <a:gd name="T9" fmla="*/ 42 h 219"/>
                  <a:gd name="T10" fmla="*/ 16 w 16"/>
                  <a:gd name="T11" fmla="*/ 42 h 219"/>
                  <a:gd name="T12" fmla="*/ 8 w 16"/>
                  <a:gd name="T13" fmla="*/ 0 h 219"/>
                  <a:gd name="T14" fmla="*/ 0 w 16"/>
                  <a:gd name="T15" fmla="*/ 42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19">
                    <a:moveTo>
                      <a:pt x="0" y="42"/>
                    </a:moveTo>
                    <a:lnTo>
                      <a:pt x="4" y="42"/>
                    </a:lnTo>
                    <a:lnTo>
                      <a:pt x="4" y="219"/>
                    </a:lnTo>
                    <a:lnTo>
                      <a:pt x="12" y="219"/>
                    </a:lnTo>
                    <a:lnTo>
                      <a:pt x="12" y="42"/>
                    </a:lnTo>
                    <a:lnTo>
                      <a:pt x="16" y="42"/>
                    </a:lnTo>
                    <a:lnTo>
                      <a:pt x="8" y="0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3366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 sz="1837">
                  <a:latin typeface="Gill Sans" panose="020B0502020104020203"/>
                </a:endParaRPr>
              </a:p>
            </p:txBody>
          </p:sp>
          <p:sp>
            <p:nvSpPr>
              <p:cNvPr id="576581" name="Freeform 69">
                <a:extLst>
                  <a:ext uri="{FF2B5EF4-FFF2-40B4-BE49-F238E27FC236}">
                    <a16:creationId xmlns:a16="http://schemas.microsoft.com/office/drawing/2014/main" id="{EB24BCB7-2591-4708-9554-0C0865119A6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5" y="3464"/>
                <a:ext cx="379" cy="14"/>
              </a:xfrm>
              <a:custGeom>
                <a:avLst/>
                <a:gdLst>
                  <a:gd name="T0" fmla="*/ 251 w 310"/>
                  <a:gd name="T1" fmla="*/ 0 h 14"/>
                  <a:gd name="T2" fmla="*/ 251 w 310"/>
                  <a:gd name="T3" fmla="*/ 3 h 14"/>
                  <a:gd name="T4" fmla="*/ 0 w 310"/>
                  <a:gd name="T5" fmla="*/ 3 h 14"/>
                  <a:gd name="T6" fmla="*/ 0 w 310"/>
                  <a:gd name="T7" fmla="*/ 11 h 14"/>
                  <a:gd name="T8" fmla="*/ 251 w 310"/>
                  <a:gd name="T9" fmla="*/ 11 h 14"/>
                  <a:gd name="T10" fmla="*/ 251 w 310"/>
                  <a:gd name="T11" fmla="*/ 14 h 14"/>
                  <a:gd name="T12" fmla="*/ 310 w 310"/>
                  <a:gd name="T13" fmla="*/ 7 h 14"/>
                  <a:gd name="T14" fmla="*/ 251 w 310"/>
                  <a:gd name="T1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0" h="14">
                    <a:moveTo>
                      <a:pt x="251" y="0"/>
                    </a:moveTo>
                    <a:lnTo>
                      <a:pt x="251" y="3"/>
                    </a:lnTo>
                    <a:lnTo>
                      <a:pt x="0" y="3"/>
                    </a:lnTo>
                    <a:lnTo>
                      <a:pt x="0" y="11"/>
                    </a:lnTo>
                    <a:lnTo>
                      <a:pt x="251" y="11"/>
                    </a:lnTo>
                    <a:lnTo>
                      <a:pt x="251" y="14"/>
                    </a:lnTo>
                    <a:lnTo>
                      <a:pt x="310" y="7"/>
                    </a:lnTo>
                    <a:lnTo>
                      <a:pt x="251" y="0"/>
                    </a:lnTo>
                    <a:close/>
                  </a:path>
                </a:pathLst>
              </a:custGeom>
              <a:solidFill>
                <a:srgbClr val="3366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 sz="1837">
                  <a:latin typeface="Gill Sans" panose="020B0502020104020203"/>
                </a:endParaRPr>
              </a:p>
            </p:txBody>
          </p:sp>
        </p:grpSp>
        <p:sp>
          <p:nvSpPr>
            <p:cNvPr id="576583" name="Rectangle 71">
              <a:extLst>
                <a:ext uri="{FF2B5EF4-FFF2-40B4-BE49-F238E27FC236}">
                  <a16:creationId xmlns:a16="http://schemas.microsoft.com/office/drawing/2014/main" id="{56FA3FA7-54B4-42DE-A13E-15E9A6BF7451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999" y="2969"/>
              <a:ext cx="120" cy="101"/>
            </a:xfrm>
            <a:prstGeom prst="rect">
              <a:avLst/>
            </a:prstGeom>
            <a:noFill/>
            <a:ln w="4763" cap="rnd">
              <a:solidFill>
                <a:srgbClr val="00296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fr-FR" altLang="fr-FR" sz="1632">
                <a:latin typeface="Gill Sans" panose="020B0502020104020203"/>
              </a:endParaRPr>
            </a:p>
          </p:txBody>
        </p:sp>
        <p:sp>
          <p:nvSpPr>
            <p:cNvPr id="576584" name="Freeform 72">
              <a:extLst>
                <a:ext uri="{FF2B5EF4-FFF2-40B4-BE49-F238E27FC236}">
                  <a16:creationId xmlns:a16="http://schemas.microsoft.com/office/drawing/2014/main" id="{22C400B1-B38B-4A97-8843-B1B80F5D1A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17" y="3036"/>
              <a:ext cx="87" cy="20"/>
            </a:xfrm>
            <a:custGeom>
              <a:avLst/>
              <a:gdLst>
                <a:gd name="T0" fmla="*/ 0 w 379"/>
                <a:gd name="T1" fmla="*/ 84 h 84"/>
                <a:gd name="T2" fmla="*/ 181 w 379"/>
                <a:gd name="T3" fmla="*/ 13 h 84"/>
                <a:gd name="T4" fmla="*/ 379 w 379"/>
                <a:gd name="T5" fmla="*/ 5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79" h="84">
                  <a:moveTo>
                    <a:pt x="0" y="84"/>
                  </a:moveTo>
                  <a:cubicBezTo>
                    <a:pt x="59" y="55"/>
                    <a:pt x="118" y="26"/>
                    <a:pt x="181" y="13"/>
                  </a:cubicBezTo>
                  <a:cubicBezTo>
                    <a:pt x="244" y="0"/>
                    <a:pt x="344" y="6"/>
                    <a:pt x="379" y="5"/>
                  </a:cubicBezTo>
                </a:path>
              </a:pathLst>
            </a:custGeom>
            <a:noFill/>
            <a:ln w="19050" cap="flat" cmpd="sng">
              <a:solidFill>
                <a:srgbClr val="FF3300"/>
              </a:solidFill>
              <a:prstDash val="solid"/>
              <a:round/>
              <a:headEnd type="none" w="med" len="med"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sz="1837">
                <a:latin typeface="Gill Sans" panose="020B0502020104020203"/>
              </a:endParaRPr>
            </a:p>
          </p:txBody>
        </p:sp>
        <p:sp>
          <p:nvSpPr>
            <p:cNvPr id="576585" name="Freeform 73">
              <a:extLst>
                <a:ext uri="{FF2B5EF4-FFF2-40B4-BE49-F238E27FC236}">
                  <a16:creationId xmlns:a16="http://schemas.microsoft.com/office/drawing/2014/main" id="{9DF75B07-BCA1-4B6C-82A1-305D67397D0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17" y="2984"/>
              <a:ext cx="82" cy="70"/>
            </a:xfrm>
            <a:custGeom>
              <a:avLst/>
              <a:gdLst>
                <a:gd name="T0" fmla="*/ 0 w 355"/>
                <a:gd name="T1" fmla="*/ 308 h 308"/>
                <a:gd name="T2" fmla="*/ 110 w 355"/>
                <a:gd name="T3" fmla="*/ 142 h 308"/>
                <a:gd name="T4" fmla="*/ 355 w 355"/>
                <a:gd name="T5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55" h="308">
                  <a:moveTo>
                    <a:pt x="0" y="308"/>
                  </a:moveTo>
                  <a:cubicBezTo>
                    <a:pt x="25" y="250"/>
                    <a:pt x="51" y="193"/>
                    <a:pt x="110" y="142"/>
                  </a:cubicBezTo>
                  <a:cubicBezTo>
                    <a:pt x="169" y="91"/>
                    <a:pt x="313" y="24"/>
                    <a:pt x="355" y="0"/>
                  </a:cubicBezTo>
                </a:path>
              </a:pathLst>
            </a:custGeom>
            <a:noFill/>
            <a:ln w="19050" cap="flat" cmpd="sng">
              <a:solidFill>
                <a:srgbClr val="FF3300"/>
              </a:solidFill>
              <a:prstDash val="solid"/>
              <a:round/>
              <a:headEnd type="none" w="med" len="med"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sz="1837">
                <a:latin typeface="Gill Sans" panose="020B0502020104020203"/>
              </a:endParaRPr>
            </a:p>
          </p:txBody>
        </p:sp>
        <p:sp>
          <p:nvSpPr>
            <p:cNvPr id="576586" name="Rectangle 74">
              <a:extLst>
                <a:ext uri="{FF2B5EF4-FFF2-40B4-BE49-F238E27FC236}">
                  <a16:creationId xmlns:a16="http://schemas.microsoft.com/office/drawing/2014/main" id="{4C3FB355-5BA3-4F5C-842F-3C186A575E14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116" y="2966"/>
              <a:ext cx="47" cy="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r>
                <a:rPr lang="fr-BE" altLang="fr-FR" sz="816">
                  <a:solidFill>
                    <a:srgbClr val="FB2919"/>
                  </a:solidFill>
                  <a:latin typeface="Gill Sans" panose="020B0502020104020203"/>
                </a:rPr>
                <a:t>?</a:t>
              </a:r>
            </a:p>
          </p:txBody>
        </p:sp>
      </p:grpSp>
      <p:sp>
        <p:nvSpPr>
          <p:cNvPr id="25" name="Titre 1"/>
          <p:cNvSpPr txBox="1">
            <a:spLocks/>
          </p:cNvSpPr>
          <p:nvPr/>
        </p:nvSpPr>
        <p:spPr bwMode="auto">
          <a:xfrm>
            <a:off x="122014" y="235055"/>
            <a:ext cx="8793075" cy="6281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2944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179" algn="l"/>
              </a:tabLst>
              <a:defRPr lang="fr-FR" sz="2041" b="1" baseline="0" noProof="0" dirty="0">
                <a:solidFill>
                  <a:schemeClr val="tx2"/>
                </a:solidFill>
                <a:latin typeface="Gill Sans"/>
                <a:ea typeface="Arial Unicode MS" pitchFamily="34" charset="-128"/>
                <a:cs typeface="Arial Unicode MS" pitchFamily="34" charset="-128"/>
              </a:defRPr>
            </a:lvl1pPr>
            <a:lvl2pPr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181"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369"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8555"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4738"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fr-FR" altLang="fr-FR" dirty="0"/>
              <a:t>Comité Régional de Veille : traiter la crise à travers la gestion des fragilités structurelles et la saisie des opportunités nouvelles</a:t>
            </a:r>
            <a:endParaRPr lang="fr-FR" kern="0" dirty="0"/>
          </a:p>
        </p:txBody>
      </p:sp>
      <p:sp>
        <p:nvSpPr>
          <p:cNvPr id="27" name="Rectangle 26"/>
          <p:cNvSpPr/>
          <p:nvPr/>
        </p:nvSpPr>
        <p:spPr bwMode="gray">
          <a:xfrm>
            <a:off x="4647583" y="1283286"/>
            <a:ext cx="3922066" cy="1532953"/>
          </a:xfrm>
          <a:prstGeom prst="rect">
            <a:avLst/>
          </a:prstGeom>
          <a:solidFill>
            <a:schemeClr val="bg1"/>
          </a:solidFill>
          <a:ln w="19050">
            <a:solidFill>
              <a:srgbClr val="9BBAA9"/>
            </a:solidFill>
          </a:ln>
          <a:effectLst/>
        </p:spPr>
        <p:txBody>
          <a:bodyPr rtlCol="0" anchor="t"/>
          <a:lstStyle/>
          <a:p>
            <a:pPr>
              <a:lnSpc>
                <a:spcPct val="105000"/>
              </a:lnSpc>
              <a:buSzTx/>
            </a:pPr>
            <a:r>
              <a:rPr lang="fr-FR" altLang="fr-FR" sz="1200" b="1" dirty="0">
                <a:solidFill>
                  <a:schemeClr val="tx2"/>
                </a:solidFill>
                <a:latin typeface="Gill Sans" panose="020B0502020104020203"/>
              </a:rPr>
              <a:t>Traiter les fragilités structurelles</a:t>
            </a:r>
          </a:p>
          <a:p>
            <a:pPr marL="171450" indent="-17145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fr-FR" altLang="fr-FR" sz="1200" dirty="0">
                <a:solidFill>
                  <a:schemeClr val="tx2"/>
                </a:solidFill>
                <a:latin typeface="Gill Sans" panose="020B0502020104020203"/>
              </a:rPr>
              <a:t>Gestion / traitement des risques</a:t>
            </a:r>
          </a:p>
          <a:p>
            <a:pPr marL="171450" indent="-17145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fr-FR" altLang="fr-FR" sz="1200" dirty="0">
                <a:solidFill>
                  <a:schemeClr val="tx2"/>
                </a:solidFill>
                <a:latin typeface="Gill Sans" panose="020B0502020104020203"/>
              </a:rPr>
              <a:t>Meilleure priorisation des marges budgétaires</a:t>
            </a:r>
          </a:p>
          <a:p>
            <a:pPr marL="171450" indent="-171450">
              <a:lnSpc>
                <a:spcPct val="105000"/>
              </a:lnSpc>
              <a:buFont typeface="Arial" panose="020B0604020202020204" pitchFamily="34" charset="0"/>
              <a:buChar char="•"/>
            </a:pPr>
            <a:r>
              <a:rPr lang="fr-FR" altLang="fr-FR" sz="1200" dirty="0">
                <a:solidFill>
                  <a:schemeClr val="tx2"/>
                </a:solidFill>
                <a:latin typeface="Gill Sans" panose="020B0502020104020203"/>
              </a:rPr>
              <a:t>Renforcement des capacités d’exécution / coordination</a:t>
            </a:r>
          </a:p>
        </p:txBody>
      </p:sp>
      <p:sp>
        <p:nvSpPr>
          <p:cNvPr id="28" name="Rectangle 27"/>
          <p:cNvSpPr/>
          <p:nvPr/>
        </p:nvSpPr>
        <p:spPr bwMode="gray">
          <a:xfrm>
            <a:off x="4647583" y="4561031"/>
            <a:ext cx="3922066" cy="1532953"/>
          </a:xfrm>
          <a:prstGeom prst="rect">
            <a:avLst/>
          </a:prstGeom>
          <a:solidFill>
            <a:schemeClr val="bg1"/>
          </a:solidFill>
          <a:ln w="19050">
            <a:solidFill>
              <a:srgbClr val="9BBAA9"/>
            </a:solidFill>
          </a:ln>
          <a:effectLst/>
        </p:spPr>
        <p:txBody>
          <a:bodyPr rtlCol="0" anchor="ctr"/>
          <a:lstStyle/>
          <a:p>
            <a:pPr>
              <a:lnSpc>
                <a:spcPct val="105000"/>
              </a:lnSpc>
              <a:buSzTx/>
            </a:pPr>
            <a:r>
              <a:rPr lang="fr-FR" altLang="fr-FR" sz="1200" b="1" dirty="0">
                <a:solidFill>
                  <a:schemeClr val="tx2"/>
                </a:solidFill>
                <a:latin typeface="Gill Sans" panose="020B0502020104020203"/>
              </a:rPr>
              <a:t>Accélérer le positionnement structurel sur les opportunités post-crise</a:t>
            </a:r>
          </a:p>
          <a:p>
            <a:pPr marL="171450" indent="-171450">
              <a:lnSpc>
                <a:spcPct val="105000"/>
              </a:lnSpc>
              <a:buSzTx/>
              <a:buFont typeface="Arial" panose="020B0604020202020204" pitchFamily="34" charset="0"/>
              <a:buChar char="•"/>
            </a:pPr>
            <a:r>
              <a:rPr lang="fr-FR" altLang="fr-FR" sz="1200" dirty="0">
                <a:solidFill>
                  <a:schemeClr val="tx2"/>
                </a:solidFill>
                <a:latin typeface="Gill Sans" panose="020B0502020104020203"/>
              </a:rPr>
              <a:t>PDR 2.0</a:t>
            </a:r>
          </a:p>
          <a:p>
            <a:pPr marL="171450" indent="-171450">
              <a:lnSpc>
                <a:spcPct val="105000"/>
              </a:lnSpc>
              <a:buSzTx/>
              <a:buFont typeface="Arial" panose="020B0604020202020204" pitchFamily="34" charset="0"/>
              <a:buChar char="•"/>
            </a:pPr>
            <a:r>
              <a:rPr lang="fr-FR" altLang="fr-FR" sz="1200" dirty="0">
                <a:solidFill>
                  <a:schemeClr val="tx2"/>
                </a:solidFill>
                <a:latin typeface="Gill Sans" panose="020B0502020104020203"/>
              </a:rPr>
              <a:t>Renforcement et diversification des moteurs économiques</a:t>
            </a:r>
          </a:p>
          <a:p>
            <a:pPr marL="171450" indent="-171450">
              <a:lnSpc>
                <a:spcPct val="105000"/>
              </a:lnSpc>
              <a:buSzTx/>
              <a:buFont typeface="Arial" panose="020B0604020202020204" pitchFamily="34" charset="0"/>
              <a:buChar char="•"/>
            </a:pPr>
            <a:r>
              <a:rPr lang="fr-FR" altLang="fr-FR" sz="1200" dirty="0">
                <a:solidFill>
                  <a:schemeClr val="tx2"/>
                </a:solidFill>
                <a:latin typeface="Gill Sans" panose="020B0502020104020203"/>
              </a:rPr>
              <a:t>Captation des opportunités ouvertes par la crise sur </a:t>
            </a:r>
            <a:br>
              <a:rPr lang="fr-FR" altLang="fr-FR" sz="1200" dirty="0">
                <a:solidFill>
                  <a:schemeClr val="tx2"/>
                </a:solidFill>
                <a:latin typeface="Gill Sans" panose="020B0502020104020203"/>
              </a:rPr>
            </a:br>
            <a:r>
              <a:rPr lang="fr-FR" altLang="fr-FR" sz="1200" dirty="0">
                <a:solidFill>
                  <a:schemeClr val="tx2"/>
                </a:solidFill>
                <a:latin typeface="Gill Sans" panose="020B0502020104020203"/>
              </a:rPr>
              <a:t>quelques axes ( Tourisme, Agriculture, Auto suffisance, …)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7DBF6EE-7E53-4D95-B5EB-54D30E7B8629}"/>
              </a:ext>
            </a:extLst>
          </p:cNvPr>
          <p:cNvSpPr/>
          <p:nvPr/>
        </p:nvSpPr>
        <p:spPr bwMode="gray">
          <a:xfrm>
            <a:off x="7606146" y="53030"/>
            <a:ext cx="1454086" cy="18202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>
                <a:lumMod val="90000"/>
              </a:schemeClr>
            </a:solidFill>
          </a:ln>
          <a:effectLst/>
        </p:spPr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  <a:latin typeface="Gill Sans"/>
              </a:rPr>
              <a:t>Approche</a:t>
            </a:r>
          </a:p>
        </p:txBody>
      </p:sp>
    </p:spTree>
    <p:extLst>
      <p:ext uri="{BB962C8B-B14F-4D97-AF65-F5344CB8AC3E}">
        <p14:creationId xmlns:p14="http://schemas.microsoft.com/office/powerpoint/2010/main" val="368572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434" y="2030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82" name="Diapositive think-cell" r:id="rId7" imgW="360" imgH="360" progId="TCLayout.ActiveDocument.1">
                  <p:embed/>
                </p:oleObj>
              </mc:Choice>
              <mc:Fallback>
                <p:oleObj name="Diapositive think-cell" r:id="rId7" imgW="360" imgH="36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34" y="2030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8" descr="Animated-Flag-Morocco"/>
          <p:cNvPicPr>
            <a:picLocks noChangeArrowheads="1" noCrop="1"/>
          </p:cNvPicPr>
          <p:nvPr>
            <p:custDataLst>
              <p:tags r:id="rId4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5854" y="141265"/>
            <a:ext cx="726022" cy="510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E11D7ED5-875E-44F9-9EF1-3B7AB3921DBE}"/>
              </a:ext>
            </a:extLst>
          </p:cNvPr>
          <p:cNvSpPr txBox="1">
            <a:spLocks/>
          </p:cNvSpPr>
          <p:nvPr/>
        </p:nvSpPr>
        <p:spPr bwMode="gray">
          <a:xfrm>
            <a:off x="1691393" y="3054271"/>
            <a:ext cx="7643799" cy="1050992"/>
          </a:xfrm>
          <a:prstGeom prst="rect">
            <a:avLst/>
          </a:prstGeom>
        </p:spPr>
        <p:txBody>
          <a:bodyPr anchor="t"/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fr-FR" sz="2000" b="1" baseline="0" noProof="0" dirty="0">
                <a:solidFill>
                  <a:schemeClr val="tx2"/>
                </a:solidFill>
                <a:latin typeface="Gill Sans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dirty="0">
                <a:solidFill>
                  <a:srgbClr val="002060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Merci de votre Attention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F3F02802-D52F-43B7-B72C-4E40FCD3889B}"/>
              </a:ext>
            </a:extLst>
          </p:cNvPr>
          <p:cNvGrpSpPr/>
          <p:nvPr/>
        </p:nvGrpSpPr>
        <p:grpSpPr>
          <a:xfrm>
            <a:off x="264" y="3596"/>
            <a:ext cx="1882324" cy="6854404"/>
            <a:chOff x="264" y="3595"/>
            <a:chExt cx="1819310" cy="6710256"/>
          </a:xfrm>
        </p:grpSpPr>
        <p:pic>
          <p:nvPicPr>
            <p:cNvPr id="12" name="Picture 63" descr="Image associÃ©e">
              <a:extLst>
                <a:ext uri="{FF2B5EF4-FFF2-40B4-BE49-F238E27FC236}">
                  <a16:creationId xmlns:a16="http://schemas.microsoft.com/office/drawing/2014/main" id="{4C8D41EA-3984-4E30-B570-D433A789250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1343" b="27951"/>
            <a:stretch/>
          </p:blipFill>
          <p:spPr bwMode="auto">
            <a:xfrm>
              <a:off x="264" y="3595"/>
              <a:ext cx="1819310" cy="9841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65" descr="RÃ©sultat de recherche d'images pour &quot;pÃªche agadir maroc&quot;">
              <a:extLst>
                <a:ext uri="{FF2B5EF4-FFF2-40B4-BE49-F238E27FC236}">
                  <a16:creationId xmlns:a16="http://schemas.microsoft.com/office/drawing/2014/main" id="{5227DED1-54A0-4BB5-A88F-84C4B826158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708" r="35595"/>
            <a:stretch/>
          </p:blipFill>
          <p:spPr bwMode="auto">
            <a:xfrm>
              <a:off x="264" y="983369"/>
              <a:ext cx="1819310" cy="9766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67" descr="RÃ©sultat de recherche d'images pour &quot;casablanca finance city&quot;">
              <a:extLst>
                <a:ext uri="{FF2B5EF4-FFF2-40B4-BE49-F238E27FC236}">
                  <a16:creationId xmlns:a16="http://schemas.microsoft.com/office/drawing/2014/main" id="{BA4F3BA8-4F2B-437A-8074-24377BA99F9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" y="5744045"/>
              <a:ext cx="1819310" cy="969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69" descr="RÃ©sultat de recherche d'images pour &quot;automobile maroc&quot;">
              <a:extLst>
                <a:ext uri="{FF2B5EF4-FFF2-40B4-BE49-F238E27FC236}">
                  <a16:creationId xmlns:a16="http://schemas.microsoft.com/office/drawing/2014/main" id="{1658D908-6977-476C-9AD8-9B5CD2539C2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560"/>
            <a:stretch/>
          </p:blipFill>
          <p:spPr bwMode="auto">
            <a:xfrm>
              <a:off x="264" y="1955624"/>
              <a:ext cx="1819310" cy="9745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71" descr="RÃ©sultat de recherche d'images pour &quot;aÃ©ronautique maroc&quot;">
              <a:extLst>
                <a:ext uri="{FF2B5EF4-FFF2-40B4-BE49-F238E27FC236}">
                  <a16:creationId xmlns:a16="http://schemas.microsoft.com/office/drawing/2014/main" id="{D8B7E88C-42AE-44A4-957F-DAABB0BA26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" y="2925805"/>
              <a:ext cx="1819310" cy="9745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73" descr="RÃ©sultat de recherche d'images pour &quot;aÃ©roport marrakech&quot;">
              <a:extLst>
                <a:ext uri="{FF2B5EF4-FFF2-40B4-BE49-F238E27FC236}">
                  <a16:creationId xmlns:a16="http://schemas.microsoft.com/office/drawing/2014/main" id="{ABEE8F7E-1B94-4E38-805A-A5BD8575859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2299"/>
            <a:stretch/>
          </p:blipFill>
          <p:spPr bwMode="auto">
            <a:xfrm>
              <a:off x="264" y="3895986"/>
              <a:ext cx="1819310" cy="9421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76" descr="Image associÃ©e">
              <a:extLst>
                <a:ext uri="{FF2B5EF4-FFF2-40B4-BE49-F238E27FC236}">
                  <a16:creationId xmlns:a16="http://schemas.microsoft.com/office/drawing/2014/main" id="{95DAA15A-5588-40E1-AF74-AED869D43D1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058"/>
            <a:stretch/>
          </p:blipFill>
          <p:spPr bwMode="auto">
            <a:xfrm>
              <a:off x="264" y="4833762"/>
              <a:ext cx="1819310" cy="9119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" name="Image 1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533041" y="199409"/>
            <a:ext cx="1426588" cy="1322947"/>
          </a:xfrm>
          <a:prstGeom prst="rect">
            <a:avLst/>
          </a:prstGeom>
        </p:spPr>
      </p:pic>
      <p:sp>
        <p:nvSpPr>
          <p:cNvPr id="25" name="ZoneTexte 24"/>
          <p:cNvSpPr txBox="1"/>
          <p:nvPr/>
        </p:nvSpPr>
        <p:spPr>
          <a:xfrm>
            <a:off x="3570131" y="6189259"/>
            <a:ext cx="3886324" cy="34684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fr-FR" b="1" dirty="0">
                <a:solidFill>
                  <a:srgbClr val="002060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Rabat 03 Novembre 2020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11D7ED5-875E-44F9-9EF1-3B7AB3921DBE}"/>
              </a:ext>
            </a:extLst>
          </p:cNvPr>
          <p:cNvSpPr txBox="1">
            <a:spLocks/>
          </p:cNvSpPr>
          <p:nvPr/>
        </p:nvSpPr>
        <p:spPr bwMode="gray">
          <a:xfrm>
            <a:off x="1926105" y="4702962"/>
            <a:ext cx="7261413" cy="1050992"/>
          </a:xfrm>
          <a:prstGeom prst="rect">
            <a:avLst/>
          </a:prstGeom>
        </p:spPr>
        <p:txBody>
          <a:bodyPr anchor="t"/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lang="fr-FR" sz="2000" b="1" baseline="0" noProof="0" dirty="0">
                <a:solidFill>
                  <a:schemeClr val="tx2"/>
                </a:solidFill>
                <a:latin typeface="Gill Sans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dirty="0">
                <a:solidFill>
                  <a:srgbClr val="002060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Webinaire: </a:t>
            </a:r>
            <a:r>
              <a:rPr lang="fr-FR" b="0" dirty="0">
                <a:solidFill>
                  <a:srgbClr val="002060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Les collectivités territoriales marocaines et françaises face à la crise de la Covid-19.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b="0" dirty="0">
                <a:solidFill>
                  <a:srgbClr val="002060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Echanges d’expérienc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78868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oneTexte 8">
            <a:extLst>
              <a:ext uri="{FF2B5EF4-FFF2-40B4-BE49-F238E27FC236}">
                <a16:creationId xmlns:a16="http://schemas.microsoft.com/office/drawing/2014/main" id="{1E4CBE0C-48B9-4C60-8E57-23A16088678B}"/>
              </a:ext>
            </a:extLst>
          </p:cNvPr>
          <p:cNvSpPr txBox="1"/>
          <p:nvPr/>
        </p:nvSpPr>
        <p:spPr>
          <a:xfrm>
            <a:off x="2" y="-22314"/>
            <a:ext cx="231378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b="1" dirty="0">
                <a:solidFill>
                  <a:srgbClr val="002060"/>
                </a:solidFill>
                <a:latin typeface="Gill Sans"/>
              </a:rPr>
              <a:t>Contexte Général</a:t>
            </a:r>
            <a:endParaRPr lang="ar-MA" dirty="0">
              <a:solidFill>
                <a:srgbClr val="002060"/>
              </a:solidFill>
              <a:latin typeface="Arial" pitchFamily="34" charset="0"/>
            </a:endParaRPr>
          </a:p>
        </p:txBody>
      </p:sp>
      <p:grpSp>
        <p:nvGrpSpPr>
          <p:cNvPr id="118" name="Groupe 117"/>
          <p:cNvGrpSpPr/>
          <p:nvPr/>
        </p:nvGrpSpPr>
        <p:grpSpPr>
          <a:xfrm>
            <a:off x="2051057" y="1054990"/>
            <a:ext cx="6910063" cy="2746925"/>
            <a:chOff x="1301386" y="3423430"/>
            <a:chExt cx="7307440" cy="3328100"/>
          </a:xfrm>
        </p:grpSpPr>
        <p:grpSp>
          <p:nvGrpSpPr>
            <p:cNvPr id="12" name="Group 112">
              <a:extLst>
                <a:ext uri="{FF2B5EF4-FFF2-40B4-BE49-F238E27FC236}">
                  <a16:creationId xmlns:a16="http://schemas.microsoft.com/office/drawing/2014/main" id="{1741EBF7-0789-4FC0-AD12-418ECE0407B6}"/>
                </a:ext>
              </a:extLst>
            </p:cNvPr>
            <p:cNvGrpSpPr/>
            <p:nvPr/>
          </p:nvGrpSpPr>
          <p:grpSpPr>
            <a:xfrm>
              <a:off x="1301386" y="4840924"/>
              <a:ext cx="598475" cy="648378"/>
              <a:chOff x="4574846" y="1897856"/>
              <a:chExt cx="3028215" cy="3026664"/>
            </a:xfrm>
          </p:grpSpPr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A24D8B5C-07B9-4327-A531-8370814C472B}"/>
                  </a:ext>
                </a:extLst>
              </p:cNvPr>
              <p:cNvSpPr/>
              <p:nvPr/>
            </p:nvSpPr>
            <p:spPr>
              <a:xfrm>
                <a:off x="4575625" y="1897856"/>
                <a:ext cx="3026665" cy="3026664"/>
              </a:xfrm>
              <a:custGeom>
                <a:avLst/>
                <a:gdLst>
                  <a:gd name="connsiteX0" fmla="*/ 3057049 w 3057525"/>
                  <a:gd name="connsiteY0" fmla="*/ 1532096 h 3057525"/>
                  <a:gd name="connsiteX1" fmla="*/ 1532096 w 3057525"/>
                  <a:gd name="connsiteY1" fmla="*/ 3057049 h 3057525"/>
                  <a:gd name="connsiteX2" fmla="*/ 7144 w 3057525"/>
                  <a:gd name="connsiteY2" fmla="*/ 1532096 h 3057525"/>
                  <a:gd name="connsiteX3" fmla="*/ 1532096 w 3057525"/>
                  <a:gd name="connsiteY3" fmla="*/ 7144 h 3057525"/>
                  <a:gd name="connsiteX4" fmla="*/ 3057049 w 3057525"/>
                  <a:gd name="connsiteY4" fmla="*/ 1532096 h 3057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57525" h="3057525">
                    <a:moveTo>
                      <a:pt x="3057049" y="1532096"/>
                    </a:moveTo>
                    <a:cubicBezTo>
                      <a:pt x="3057049" y="2374304"/>
                      <a:pt x="2374304" y="3057049"/>
                      <a:pt x="1532096" y="3057049"/>
                    </a:cubicBezTo>
                    <a:cubicBezTo>
                      <a:pt x="689888" y="3057049"/>
                      <a:pt x="7144" y="2374304"/>
                      <a:pt x="7144" y="1532096"/>
                    </a:cubicBezTo>
                    <a:cubicBezTo>
                      <a:pt x="7144" y="689888"/>
                      <a:pt x="689888" y="7144"/>
                      <a:pt x="1532096" y="7144"/>
                    </a:cubicBezTo>
                    <a:cubicBezTo>
                      <a:pt x="2374304" y="7144"/>
                      <a:pt x="3057049" y="689888"/>
                      <a:pt x="3057049" y="1532096"/>
                    </a:cubicBezTo>
                    <a:close/>
                  </a:path>
                </a:pathLst>
              </a:custGeom>
              <a:solidFill>
                <a:srgbClr val="7030A0"/>
              </a:solidFill>
              <a:ln w="9525" cap="flat">
                <a:noFill/>
                <a:prstDash val="solid"/>
                <a:miter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endParaRPr lang="en-US" sz="1200" dirty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1606DD5C-F874-4811-999C-3FC4F61829F4}"/>
                  </a:ext>
                </a:extLst>
              </p:cNvPr>
              <p:cNvSpPr/>
              <p:nvPr/>
            </p:nvSpPr>
            <p:spPr>
              <a:xfrm>
                <a:off x="4574846" y="1907000"/>
                <a:ext cx="3028215" cy="2962327"/>
              </a:xfrm>
              <a:custGeom>
                <a:avLst/>
                <a:gdLst>
                  <a:gd name="connsiteX0" fmla="*/ 2863236 w 3028217"/>
                  <a:gd name="connsiteY0" fmla="*/ 2049564 h 2962327"/>
                  <a:gd name="connsiteX1" fmla="*/ 2844662 w 3028217"/>
                  <a:gd name="connsiteY1" fmla="*/ 2065518 h 2962327"/>
                  <a:gd name="connsiteX2" fmla="*/ 2847519 w 3028217"/>
                  <a:gd name="connsiteY2" fmla="*/ 2116953 h 2962327"/>
                  <a:gd name="connsiteX3" fmla="*/ 2887525 w 3028217"/>
                  <a:gd name="connsiteY3" fmla="*/ 2084568 h 2962327"/>
                  <a:gd name="connsiteX4" fmla="*/ 2890382 w 3028217"/>
                  <a:gd name="connsiteY4" fmla="*/ 2078853 h 2962327"/>
                  <a:gd name="connsiteX5" fmla="*/ 2890382 w 3028217"/>
                  <a:gd name="connsiteY5" fmla="*/ 2057898 h 2962327"/>
                  <a:gd name="connsiteX6" fmla="*/ 2863236 w 3028217"/>
                  <a:gd name="connsiteY6" fmla="*/ 2049564 h 2962327"/>
                  <a:gd name="connsiteX7" fmla="*/ 2453184 w 3028217"/>
                  <a:gd name="connsiteY7" fmla="*/ 1703568 h 2962327"/>
                  <a:gd name="connsiteX8" fmla="*/ 2444611 w 3028217"/>
                  <a:gd name="connsiteY8" fmla="*/ 1714046 h 2962327"/>
                  <a:gd name="connsiteX9" fmla="*/ 2467471 w 3028217"/>
                  <a:gd name="connsiteY9" fmla="*/ 1740716 h 2962327"/>
                  <a:gd name="connsiteX10" fmla="*/ 2482711 w 3028217"/>
                  <a:gd name="connsiteY10" fmla="*/ 1728333 h 2962327"/>
                  <a:gd name="connsiteX11" fmla="*/ 2453184 w 3028217"/>
                  <a:gd name="connsiteY11" fmla="*/ 1703568 h 2962327"/>
                  <a:gd name="connsiteX12" fmla="*/ 802501 w 3028217"/>
                  <a:gd name="connsiteY12" fmla="*/ 1583553 h 2962327"/>
                  <a:gd name="connsiteX13" fmla="*/ 812026 w 3028217"/>
                  <a:gd name="connsiteY13" fmla="*/ 1589268 h 2962327"/>
                  <a:gd name="connsiteX14" fmla="*/ 802501 w 3028217"/>
                  <a:gd name="connsiteY14" fmla="*/ 1599745 h 2962327"/>
                  <a:gd name="connsiteX15" fmla="*/ 792024 w 3028217"/>
                  <a:gd name="connsiteY15" fmla="*/ 1594030 h 2962327"/>
                  <a:gd name="connsiteX16" fmla="*/ 802501 w 3028217"/>
                  <a:gd name="connsiteY16" fmla="*/ 1583553 h 2962327"/>
                  <a:gd name="connsiteX17" fmla="*/ 573901 w 3028217"/>
                  <a:gd name="connsiteY17" fmla="*/ 1577838 h 2962327"/>
                  <a:gd name="connsiteX18" fmla="*/ 592951 w 3028217"/>
                  <a:gd name="connsiteY18" fmla="*/ 1589268 h 2962327"/>
                  <a:gd name="connsiteX19" fmla="*/ 584379 w 3028217"/>
                  <a:gd name="connsiteY19" fmla="*/ 1596888 h 2962327"/>
                  <a:gd name="connsiteX20" fmla="*/ 565329 w 3028217"/>
                  <a:gd name="connsiteY20" fmla="*/ 1587363 h 2962327"/>
                  <a:gd name="connsiteX21" fmla="*/ 573901 w 3028217"/>
                  <a:gd name="connsiteY21" fmla="*/ 1577838 h 2962327"/>
                  <a:gd name="connsiteX22" fmla="*/ 698678 w 3028217"/>
                  <a:gd name="connsiteY22" fmla="*/ 1550216 h 2962327"/>
                  <a:gd name="connsiteX23" fmla="*/ 763448 w 3028217"/>
                  <a:gd name="connsiteY23" fmla="*/ 1592126 h 2962327"/>
                  <a:gd name="connsiteX24" fmla="*/ 678676 w 3028217"/>
                  <a:gd name="connsiteY24" fmla="*/ 1592126 h 2962327"/>
                  <a:gd name="connsiteX25" fmla="*/ 698678 w 3028217"/>
                  <a:gd name="connsiteY25" fmla="*/ 1550216 h 2962327"/>
                  <a:gd name="connsiteX26" fmla="*/ 492939 w 3028217"/>
                  <a:gd name="connsiteY26" fmla="*/ 1460681 h 2962327"/>
                  <a:gd name="connsiteX27" fmla="*/ 562471 w 3028217"/>
                  <a:gd name="connsiteY27" fmla="*/ 1479731 h 2962327"/>
                  <a:gd name="connsiteX28" fmla="*/ 646291 w 3028217"/>
                  <a:gd name="connsiteY28" fmla="*/ 1537833 h 2962327"/>
                  <a:gd name="connsiteX29" fmla="*/ 577711 w 3028217"/>
                  <a:gd name="connsiteY29" fmla="*/ 1525451 h 2962327"/>
                  <a:gd name="connsiteX30" fmla="*/ 527229 w 3028217"/>
                  <a:gd name="connsiteY30" fmla="*/ 1487351 h 2962327"/>
                  <a:gd name="connsiteX31" fmla="*/ 525032 w 3028217"/>
                  <a:gd name="connsiteY31" fmla="*/ 1486533 h 2962327"/>
                  <a:gd name="connsiteX32" fmla="*/ 527229 w 3028217"/>
                  <a:gd name="connsiteY32" fmla="*/ 1488303 h 2962327"/>
                  <a:gd name="connsiteX33" fmla="*/ 451029 w 3028217"/>
                  <a:gd name="connsiteY33" fmla="*/ 1494971 h 2962327"/>
                  <a:gd name="connsiteX34" fmla="*/ 492939 w 3028217"/>
                  <a:gd name="connsiteY34" fmla="*/ 1460681 h 2962327"/>
                  <a:gd name="connsiteX35" fmla="*/ 592475 w 3028217"/>
                  <a:gd name="connsiteY35" fmla="*/ 1413889 h 2962327"/>
                  <a:gd name="connsiteX36" fmla="*/ 596761 w 3028217"/>
                  <a:gd name="connsiteY36" fmla="*/ 1414961 h 2962327"/>
                  <a:gd name="connsiteX37" fmla="*/ 595809 w 3028217"/>
                  <a:gd name="connsiteY37" fmla="*/ 1447346 h 2962327"/>
                  <a:gd name="connsiteX38" fmla="*/ 588189 w 3028217"/>
                  <a:gd name="connsiteY38" fmla="*/ 1414961 h 2962327"/>
                  <a:gd name="connsiteX39" fmla="*/ 592475 w 3028217"/>
                  <a:gd name="connsiteY39" fmla="*/ 1413889 h 2962327"/>
                  <a:gd name="connsiteX40" fmla="*/ 2633206 w 3028217"/>
                  <a:gd name="connsiteY40" fmla="*/ 1174931 h 2962327"/>
                  <a:gd name="connsiteX41" fmla="*/ 2673211 w 3028217"/>
                  <a:gd name="connsiteY41" fmla="*/ 1180646 h 2962327"/>
                  <a:gd name="connsiteX42" fmla="*/ 2633206 w 3028217"/>
                  <a:gd name="connsiteY42" fmla="*/ 1174931 h 2962327"/>
                  <a:gd name="connsiteX43" fmla="*/ 2477948 w 3028217"/>
                  <a:gd name="connsiteY43" fmla="*/ 1095873 h 2962327"/>
                  <a:gd name="connsiteX44" fmla="*/ 2484616 w 3028217"/>
                  <a:gd name="connsiteY44" fmla="*/ 1110160 h 2962327"/>
                  <a:gd name="connsiteX45" fmla="*/ 2464613 w 3028217"/>
                  <a:gd name="connsiteY45" fmla="*/ 1135878 h 2962327"/>
                  <a:gd name="connsiteX46" fmla="*/ 2444611 w 3028217"/>
                  <a:gd name="connsiteY46" fmla="*/ 1144450 h 2962327"/>
                  <a:gd name="connsiteX47" fmla="*/ 2415083 w 3028217"/>
                  <a:gd name="connsiteY47" fmla="*/ 1119685 h 2962327"/>
                  <a:gd name="connsiteX48" fmla="*/ 2446516 w 3028217"/>
                  <a:gd name="connsiteY48" fmla="*/ 1114923 h 2962327"/>
                  <a:gd name="connsiteX49" fmla="*/ 2477948 w 3028217"/>
                  <a:gd name="connsiteY49" fmla="*/ 1095873 h 2962327"/>
                  <a:gd name="connsiteX50" fmla="*/ 2344599 w 3028217"/>
                  <a:gd name="connsiteY50" fmla="*/ 1039676 h 2962327"/>
                  <a:gd name="connsiteX51" fmla="*/ 2355076 w 3028217"/>
                  <a:gd name="connsiteY51" fmla="*/ 1066346 h 2962327"/>
                  <a:gd name="connsiteX52" fmla="*/ 2341741 w 3028217"/>
                  <a:gd name="connsiteY52" fmla="*/ 1092063 h 2962327"/>
                  <a:gd name="connsiteX53" fmla="*/ 2328406 w 3028217"/>
                  <a:gd name="connsiteY53" fmla="*/ 1065393 h 2962327"/>
                  <a:gd name="connsiteX54" fmla="*/ 2344599 w 3028217"/>
                  <a:gd name="connsiteY54" fmla="*/ 1039676 h 2962327"/>
                  <a:gd name="connsiteX55" fmla="*/ 699631 w 3028217"/>
                  <a:gd name="connsiteY55" fmla="*/ 966334 h 2962327"/>
                  <a:gd name="connsiteX56" fmla="*/ 616764 w 3028217"/>
                  <a:gd name="connsiteY56" fmla="*/ 992051 h 2962327"/>
                  <a:gd name="connsiteX57" fmla="*/ 699631 w 3028217"/>
                  <a:gd name="connsiteY57" fmla="*/ 966334 h 2962327"/>
                  <a:gd name="connsiteX58" fmla="*/ 2786559 w 3028217"/>
                  <a:gd name="connsiteY58" fmla="*/ 938711 h 2962327"/>
                  <a:gd name="connsiteX59" fmla="*/ 2814181 w 3028217"/>
                  <a:gd name="connsiteY59" fmla="*/ 938711 h 2962327"/>
                  <a:gd name="connsiteX60" fmla="*/ 2814181 w 3028217"/>
                  <a:gd name="connsiteY60" fmla="*/ 945378 h 2962327"/>
                  <a:gd name="connsiteX61" fmla="*/ 2786559 w 3028217"/>
                  <a:gd name="connsiteY61" fmla="*/ 938711 h 2962327"/>
                  <a:gd name="connsiteX62" fmla="*/ 737731 w 3028217"/>
                  <a:gd name="connsiteY62" fmla="*/ 935019 h 2962327"/>
                  <a:gd name="connsiteX63" fmla="*/ 702489 w 3028217"/>
                  <a:gd name="connsiteY63" fmla="*/ 951093 h 2962327"/>
                  <a:gd name="connsiteX64" fmla="*/ 770116 w 3028217"/>
                  <a:gd name="connsiteY64" fmla="*/ 936805 h 2962327"/>
                  <a:gd name="connsiteX65" fmla="*/ 737731 w 3028217"/>
                  <a:gd name="connsiteY65" fmla="*/ 935019 h 2962327"/>
                  <a:gd name="connsiteX66" fmla="*/ 619383 w 3028217"/>
                  <a:gd name="connsiteY66" fmla="*/ 880251 h 2962327"/>
                  <a:gd name="connsiteX67" fmla="*/ 608191 w 3028217"/>
                  <a:gd name="connsiteY67" fmla="*/ 882513 h 2962327"/>
                  <a:gd name="connsiteX68" fmla="*/ 541516 w 3028217"/>
                  <a:gd name="connsiteY68" fmla="*/ 968238 h 2962327"/>
                  <a:gd name="connsiteX69" fmla="*/ 558661 w 3028217"/>
                  <a:gd name="connsiteY69" fmla="*/ 975858 h 2962327"/>
                  <a:gd name="connsiteX70" fmla="*/ 578664 w 3028217"/>
                  <a:gd name="connsiteY70" fmla="*/ 949188 h 2962327"/>
                  <a:gd name="connsiteX71" fmla="*/ 623431 w 3028217"/>
                  <a:gd name="connsiteY71" fmla="*/ 890133 h 2962327"/>
                  <a:gd name="connsiteX72" fmla="*/ 619383 w 3028217"/>
                  <a:gd name="connsiteY72" fmla="*/ 880251 h 2962327"/>
                  <a:gd name="connsiteX73" fmla="*/ 659626 w 3028217"/>
                  <a:gd name="connsiteY73" fmla="*/ 872036 h 2962327"/>
                  <a:gd name="connsiteX74" fmla="*/ 647244 w 3028217"/>
                  <a:gd name="connsiteY74" fmla="*/ 879656 h 2962327"/>
                  <a:gd name="connsiteX75" fmla="*/ 657721 w 3028217"/>
                  <a:gd name="connsiteY75" fmla="*/ 950141 h 2962327"/>
                  <a:gd name="connsiteX76" fmla="*/ 683439 w 3028217"/>
                  <a:gd name="connsiteY76" fmla="*/ 913946 h 2962327"/>
                  <a:gd name="connsiteX77" fmla="*/ 711061 w 3028217"/>
                  <a:gd name="connsiteY77" fmla="*/ 910136 h 2962327"/>
                  <a:gd name="connsiteX78" fmla="*/ 709156 w 3028217"/>
                  <a:gd name="connsiteY78" fmla="*/ 891086 h 2962327"/>
                  <a:gd name="connsiteX79" fmla="*/ 659626 w 3028217"/>
                  <a:gd name="connsiteY79" fmla="*/ 872036 h 2962327"/>
                  <a:gd name="connsiteX80" fmla="*/ 620410 w 3028217"/>
                  <a:gd name="connsiteY80" fmla="*/ 803828 h 2962327"/>
                  <a:gd name="connsiteX81" fmla="*/ 603429 w 3028217"/>
                  <a:gd name="connsiteY81" fmla="*/ 807266 h 2962327"/>
                  <a:gd name="connsiteX82" fmla="*/ 532944 w 3028217"/>
                  <a:gd name="connsiteY82" fmla="*/ 841556 h 2962327"/>
                  <a:gd name="connsiteX83" fmla="*/ 541516 w 3028217"/>
                  <a:gd name="connsiteY83" fmla="*/ 855843 h 2962327"/>
                  <a:gd name="connsiteX84" fmla="*/ 602476 w 3028217"/>
                  <a:gd name="connsiteY84" fmla="*/ 859653 h 2962327"/>
                  <a:gd name="connsiteX85" fmla="*/ 652959 w 3028217"/>
                  <a:gd name="connsiteY85" fmla="*/ 835841 h 2962327"/>
                  <a:gd name="connsiteX86" fmla="*/ 620410 w 3028217"/>
                  <a:gd name="connsiteY86" fmla="*/ 803828 h 2962327"/>
                  <a:gd name="connsiteX87" fmla="*/ 2051228 w 3028217"/>
                  <a:gd name="connsiteY87" fmla="*/ 690108 h 2962327"/>
                  <a:gd name="connsiteX88" fmla="*/ 2074088 w 3028217"/>
                  <a:gd name="connsiteY88" fmla="*/ 722493 h 2962327"/>
                  <a:gd name="connsiteX89" fmla="*/ 2021701 w 3028217"/>
                  <a:gd name="connsiteY89" fmla="*/ 782500 h 2962327"/>
                  <a:gd name="connsiteX90" fmla="*/ 2000746 w 3028217"/>
                  <a:gd name="connsiteY90" fmla="*/ 772023 h 2962327"/>
                  <a:gd name="connsiteX91" fmla="*/ 2036941 w 3028217"/>
                  <a:gd name="connsiteY91" fmla="*/ 698680 h 2962327"/>
                  <a:gd name="connsiteX92" fmla="*/ 2051228 w 3028217"/>
                  <a:gd name="connsiteY92" fmla="*/ 690108 h 2962327"/>
                  <a:gd name="connsiteX93" fmla="*/ 2111236 w 3028217"/>
                  <a:gd name="connsiteY93" fmla="*/ 608669 h 2962327"/>
                  <a:gd name="connsiteX94" fmla="*/ 2113141 w 3028217"/>
                  <a:gd name="connsiteY94" fmla="*/ 623433 h 2962327"/>
                  <a:gd name="connsiteX95" fmla="*/ 2111236 w 3028217"/>
                  <a:gd name="connsiteY95" fmla="*/ 626290 h 2962327"/>
                  <a:gd name="connsiteX96" fmla="*/ 2159814 w 3028217"/>
                  <a:gd name="connsiteY96" fmla="*/ 711063 h 2962327"/>
                  <a:gd name="connsiteX97" fmla="*/ 2199819 w 3028217"/>
                  <a:gd name="connsiteY97" fmla="*/ 758688 h 2962327"/>
                  <a:gd name="connsiteX98" fmla="*/ 2176959 w 3028217"/>
                  <a:gd name="connsiteY98" fmla="*/ 800598 h 2962327"/>
                  <a:gd name="connsiteX99" fmla="*/ 2092186 w 3028217"/>
                  <a:gd name="connsiteY99" fmla="*/ 814885 h 2962327"/>
                  <a:gd name="connsiteX100" fmla="*/ 2092186 w 3028217"/>
                  <a:gd name="connsiteY100" fmla="*/ 777738 h 2962327"/>
                  <a:gd name="connsiteX101" fmla="*/ 2111236 w 3028217"/>
                  <a:gd name="connsiteY101" fmla="*/ 740590 h 2962327"/>
                  <a:gd name="connsiteX102" fmla="*/ 2110284 w 3028217"/>
                  <a:gd name="connsiteY102" fmla="*/ 710110 h 2962327"/>
                  <a:gd name="connsiteX103" fmla="*/ 2076946 w 3028217"/>
                  <a:gd name="connsiteY103" fmla="*/ 669153 h 2962327"/>
                  <a:gd name="connsiteX104" fmla="*/ 2097901 w 3028217"/>
                  <a:gd name="connsiteY104" fmla="*/ 611050 h 2962327"/>
                  <a:gd name="connsiteX105" fmla="*/ 2111236 w 3028217"/>
                  <a:gd name="connsiteY105" fmla="*/ 608669 h 2962327"/>
                  <a:gd name="connsiteX106" fmla="*/ 927279 w 3028217"/>
                  <a:gd name="connsiteY106" fmla="*/ 479605 h 2962327"/>
                  <a:gd name="connsiteX107" fmla="*/ 933946 w 3028217"/>
                  <a:gd name="connsiteY107" fmla="*/ 486273 h 2962327"/>
                  <a:gd name="connsiteX108" fmla="*/ 929184 w 3028217"/>
                  <a:gd name="connsiteY108" fmla="*/ 493893 h 2962327"/>
                  <a:gd name="connsiteX109" fmla="*/ 919659 w 3028217"/>
                  <a:gd name="connsiteY109" fmla="*/ 488178 h 2962327"/>
                  <a:gd name="connsiteX110" fmla="*/ 927279 w 3028217"/>
                  <a:gd name="connsiteY110" fmla="*/ 479605 h 2962327"/>
                  <a:gd name="connsiteX111" fmla="*/ 1938089 w 3028217"/>
                  <a:gd name="connsiteY111" fmla="*/ 417931 h 2962327"/>
                  <a:gd name="connsiteX112" fmla="*/ 1959789 w 3028217"/>
                  <a:gd name="connsiteY112" fmla="*/ 441505 h 2962327"/>
                  <a:gd name="connsiteX113" fmla="*/ 1940739 w 3028217"/>
                  <a:gd name="connsiteY113" fmla="*/ 466270 h 2962327"/>
                  <a:gd name="connsiteX114" fmla="*/ 1842631 w 3028217"/>
                  <a:gd name="connsiteY114" fmla="*/ 480558 h 2962327"/>
                  <a:gd name="connsiteX115" fmla="*/ 1832154 w 3028217"/>
                  <a:gd name="connsiteY115" fmla="*/ 458650 h 2962327"/>
                  <a:gd name="connsiteX116" fmla="*/ 1833106 w 3028217"/>
                  <a:gd name="connsiteY116" fmla="*/ 431980 h 2962327"/>
                  <a:gd name="connsiteX117" fmla="*/ 1845489 w 3028217"/>
                  <a:gd name="connsiteY117" fmla="*/ 423408 h 2962327"/>
                  <a:gd name="connsiteX118" fmla="*/ 1857871 w 3028217"/>
                  <a:gd name="connsiteY118" fmla="*/ 432933 h 2962327"/>
                  <a:gd name="connsiteX119" fmla="*/ 1926451 w 3028217"/>
                  <a:gd name="connsiteY119" fmla="*/ 418645 h 2962327"/>
                  <a:gd name="connsiteX120" fmla="*/ 1938089 w 3028217"/>
                  <a:gd name="connsiteY120" fmla="*/ 417931 h 2962327"/>
                  <a:gd name="connsiteX121" fmla="*/ 904419 w 3028217"/>
                  <a:gd name="connsiteY121" fmla="*/ 389118 h 2962327"/>
                  <a:gd name="connsiteX122" fmla="*/ 938709 w 3028217"/>
                  <a:gd name="connsiteY122" fmla="*/ 433886 h 2962327"/>
                  <a:gd name="connsiteX123" fmla="*/ 942519 w 3028217"/>
                  <a:gd name="connsiteY123" fmla="*/ 446268 h 2962327"/>
                  <a:gd name="connsiteX124" fmla="*/ 931089 w 3028217"/>
                  <a:gd name="connsiteY124" fmla="*/ 449125 h 2962327"/>
                  <a:gd name="connsiteX125" fmla="*/ 878701 w 3028217"/>
                  <a:gd name="connsiteY125" fmla="*/ 449125 h 2962327"/>
                  <a:gd name="connsiteX126" fmla="*/ 856794 w 3028217"/>
                  <a:gd name="connsiteY126" fmla="*/ 443411 h 2962327"/>
                  <a:gd name="connsiteX127" fmla="*/ 867271 w 3028217"/>
                  <a:gd name="connsiteY127" fmla="*/ 412930 h 2962327"/>
                  <a:gd name="connsiteX128" fmla="*/ 904419 w 3028217"/>
                  <a:gd name="connsiteY128" fmla="*/ 389118 h 2962327"/>
                  <a:gd name="connsiteX129" fmla="*/ 1062534 w 3028217"/>
                  <a:gd name="connsiteY129" fmla="*/ 340541 h 2962327"/>
                  <a:gd name="connsiteX130" fmla="*/ 1083489 w 3028217"/>
                  <a:gd name="connsiteY130" fmla="*/ 353876 h 2962327"/>
                  <a:gd name="connsiteX131" fmla="*/ 1053961 w 3028217"/>
                  <a:gd name="connsiteY131" fmla="*/ 360543 h 2962327"/>
                  <a:gd name="connsiteX132" fmla="*/ 1062534 w 3028217"/>
                  <a:gd name="connsiteY132" fmla="*/ 340541 h 2962327"/>
                  <a:gd name="connsiteX133" fmla="*/ 2471113 w 3028217"/>
                  <a:gd name="connsiteY133" fmla="*/ 336025 h 2962327"/>
                  <a:gd name="connsiteX134" fmla="*/ 2521763 w 3028217"/>
                  <a:gd name="connsiteY134" fmla="*/ 370068 h 2962327"/>
                  <a:gd name="connsiteX135" fmla="*/ 2848471 w 3028217"/>
                  <a:gd name="connsiteY135" fmla="*/ 785358 h 2962327"/>
                  <a:gd name="connsiteX136" fmla="*/ 2920861 w 3028217"/>
                  <a:gd name="connsiteY136" fmla="*/ 940616 h 2962327"/>
                  <a:gd name="connsiteX137" fmla="*/ 2926576 w 3028217"/>
                  <a:gd name="connsiteY137" fmla="*/ 977763 h 2962327"/>
                  <a:gd name="connsiteX138" fmla="*/ 2847518 w 3028217"/>
                  <a:gd name="connsiteY138" fmla="*/ 938711 h 2962327"/>
                  <a:gd name="connsiteX139" fmla="*/ 2864663 w 3028217"/>
                  <a:gd name="connsiteY139" fmla="*/ 890133 h 2962327"/>
                  <a:gd name="connsiteX140" fmla="*/ 2810371 w 3028217"/>
                  <a:gd name="connsiteY140" fmla="*/ 908231 h 2962327"/>
                  <a:gd name="connsiteX141" fmla="*/ 2757031 w 3028217"/>
                  <a:gd name="connsiteY141" fmla="*/ 904421 h 2962327"/>
                  <a:gd name="connsiteX142" fmla="*/ 2728456 w 3028217"/>
                  <a:gd name="connsiteY142" fmla="*/ 916803 h 2962327"/>
                  <a:gd name="connsiteX143" fmla="*/ 2707501 w 3028217"/>
                  <a:gd name="connsiteY143" fmla="*/ 971096 h 2962327"/>
                  <a:gd name="connsiteX144" fmla="*/ 2706548 w 3028217"/>
                  <a:gd name="connsiteY144" fmla="*/ 1011101 h 2962327"/>
                  <a:gd name="connsiteX145" fmla="*/ 2712263 w 3028217"/>
                  <a:gd name="connsiteY145" fmla="*/ 1044438 h 2962327"/>
                  <a:gd name="connsiteX146" fmla="*/ 2750438 w 3028217"/>
                  <a:gd name="connsiteY146" fmla="*/ 1026892 h 2962327"/>
                  <a:gd name="connsiteX147" fmla="*/ 2757317 w 3028217"/>
                  <a:gd name="connsiteY147" fmla="*/ 1029909 h 2962327"/>
                  <a:gd name="connsiteX148" fmla="*/ 2760842 w 3028217"/>
                  <a:gd name="connsiteY148" fmla="*/ 1028246 h 2962327"/>
                  <a:gd name="connsiteX149" fmla="*/ 2785607 w 3028217"/>
                  <a:gd name="connsiteY149" fmla="*/ 1010148 h 2962327"/>
                  <a:gd name="connsiteX150" fmla="*/ 2804538 w 3028217"/>
                  <a:gd name="connsiteY150" fmla="*/ 1006457 h 2962327"/>
                  <a:gd name="connsiteX151" fmla="*/ 2822755 w 3028217"/>
                  <a:gd name="connsiteY151" fmla="*/ 1009196 h 2962327"/>
                  <a:gd name="connsiteX152" fmla="*/ 2938959 w 3028217"/>
                  <a:gd name="connsiteY152" fmla="*/ 1031103 h 2962327"/>
                  <a:gd name="connsiteX153" fmla="*/ 2959915 w 3028217"/>
                  <a:gd name="connsiteY153" fmla="*/ 1058726 h 2962327"/>
                  <a:gd name="connsiteX154" fmla="*/ 3021827 w 3028217"/>
                  <a:gd name="connsiteY154" fmla="*/ 1368288 h 2962327"/>
                  <a:gd name="connsiteX155" fmla="*/ 3027542 w 3028217"/>
                  <a:gd name="connsiteY155" fmla="*/ 1562598 h 2962327"/>
                  <a:gd name="connsiteX156" fmla="*/ 3020874 w 3028217"/>
                  <a:gd name="connsiteY156" fmla="*/ 1594983 h 2962327"/>
                  <a:gd name="connsiteX157" fmla="*/ 2958009 w 3028217"/>
                  <a:gd name="connsiteY157" fmla="*/ 1512116 h 2962327"/>
                  <a:gd name="connsiteX158" fmla="*/ 2918005 w 3028217"/>
                  <a:gd name="connsiteY158" fmla="*/ 1446393 h 2962327"/>
                  <a:gd name="connsiteX159" fmla="*/ 2860855 w 3028217"/>
                  <a:gd name="connsiteY159" fmla="*/ 1371146 h 2962327"/>
                  <a:gd name="connsiteX160" fmla="*/ 2831327 w 3028217"/>
                  <a:gd name="connsiteY160" fmla="*/ 1343523 h 2962327"/>
                  <a:gd name="connsiteX161" fmla="*/ 2856092 w 3028217"/>
                  <a:gd name="connsiteY161" fmla="*/ 1380671 h 2962327"/>
                  <a:gd name="connsiteX162" fmla="*/ 2930387 w 3028217"/>
                  <a:gd name="connsiteY162" fmla="*/ 1514021 h 2962327"/>
                  <a:gd name="connsiteX163" fmla="*/ 2939912 w 3028217"/>
                  <a:gd name="connsiteY163" fmla="*/ 1546406 h 2962327"/>
                  <a:gd name="connsiteX164" fmla="*/ 2962772 w 3028217"/>
                  <a:gd name="connsiteY164" fmla="*/ 1597841 h 2962327"/>
                  <a:gd name="connsiteX165" fmla="*/ 2999919 w 3028217"/>
                  <a:gd name="connsiteY165" fmla="*/ 1683566 h 2962327"/>
                  <a:gd name="connsiteX166" fmla="*/ 3012302 w 3028217"/>
                  <a:gd name="connsiteY166" fmla="*/ 1740716 h 2962327"/>
                  <a:gd name="connsiteX167" fmla="*/ 2886572 w 3028217"/>
                  <a:gd name="connsiteY167" fmla="*/ 2158864 h 2962327"/>
                  <a:gd name="connsiteX168" fmla="*/ 2841805 w 3028217"/>
                  <a:gd name="connsiteY168" fmla="*/ 2246493 h 2962327"/>
                  <a:gd name="connsiteX169" fmla="*/ 2821802 w 3028217"/>
                  <a:gd name="connsiteY169" fmla="*/ 2266496 h 2962327"/>
                  <a:gd name="connsiteX170" fmla="*/ 2808467 w 3028217"/>
                  <a:gd name="connsiteY170" fmla="*/ 2240778 h 2962327"/>
                  <a:gd name="connsiteX171" fmla="*/ 2785607 w 3028217"/>
                  <a:gd name="connsiteY171" fmla="*/ 2172198 h 2962327"/>
                  <a:gd name="connsiteX172" fmla="*/ 2805609 w 3028217"/>
                  <a:gd name="connsiteY172" fmla="*/ 2234111 h 2962327"/>
                  <a:gd name="connsiteX173" fmla="*/ 2821802 w 3028217"/>
                  <a:gd name="connsiteY173" fmla="*/ 2273164 h 2962327"/>
                  <a:gd name="connsiteX174" fmla="*/ 2708455 w 3028217"/>
                  <a:gd name="connsiteY174" fmla="*/ 2451281 h 2962327"/>
                  <a:gd name="connsiteX175" fmla="*/ 2551292 w 3028217"/>
                  <a:gd name="connsiteY175" fmla="*/ 2622731 h 2962327"/>
                  <a:gd name="connsiteX176" fmla="*/ 2476997 w 3028217"/>
                  <a:gd name="connsiteY176" fmla="*/ 2687501 h 2962327"/>
                  <a:gd name="connsiteX177" fmla="*/ 2463662 w 3028217"/>
                  <a:gd name="connsiteY177" fmla="*/ 2655116 h 2962327"/>
                  <a:gd name="connsiteX178" fmla="*/ 2425562 w 3028217"/>
                  <a:gd name="connsiteY178" fmla="*/ 2533196 h 2962327"/>
                  <a:gd name="connsiteX179" fmla="*/ 2439849 w 3028217"/>
                  <a:gd name="connsiteY179" fmla="*/ 2375081 h 2962327"/>
                  <a:gd name="connsiteX180" fmla="*/ 2449374 w 3028217"/>
                  <a:gd name="connsiteY180" fmla="*/ 2301739 h 2962327"/>
                  <a:gd name="connsiteX181" fmla="*/ 2430324 w 3028217"/>
                  <a:gd name="connsiteY181" fmla="*/ 2210298 h 2962327"/>
                  <a:gd name="connsiteX182" fmla="*/ 2396987 w 3028217"/>
                  <a:gd name="connsiteY182" fmla="*/ 2144576 h 2962327"/>
                  <a:gd name="connsiteX183" fmla="*/ 2370317 w 3028217"/>
                  <a:gd name="connsiteY183" fmla="*/ 2012178 h 2962327"/>
                  <a:gd name="connsiteX184" fmla="*/ 2374127 w 3028217"/>
                  <a:gd name="connsiteY184" fmla="*/ 1992176 h 2962327"/>
                  <a:gd name="connsiteX185" fmla="*/ 2319834 w 3028217"/>
                  <a:gd name="connsiteY185" fmla="*/ 1944551 h 2962327"/>
                  <a:gd name="connsiteX186" fmla="*/ 2282687 w 3028217"/>
                  <a:gd name="connsiteY186" fmla="*/ 1931216 h 2962327"/>
                  <a:gd name="connsiteX187" fmla="*/ 2200772 w 3028217"/>
                  <a:gd name="connsiteY187" fmla="*/ 1905498 h 2962327"/>
                  <a:gd name="connsiteX188" fmla="*/ 2157909 w 3028217"/>
                  <a:gd name="connsiteY188" fmla="*/ 1926453 h 2962327"/>
                  <a:gd name="connsiteX189" fmla="*/ 2106474 w 3028217"/>
                  <a:gd name="connsiteY189" fmla="*/ 1931216 h 2962327"/>
                  <a:gd name="connsiteX190" fmla="*/ 2040752 w 3028217"/>
                  <a:gd name="connsiteY190" fmla="*/ 1937883 h 2962327"/>
                  <a:gd name="connsiteX191" fmla="*/ 1974077 w 3028217"/>
                  <a:gd name="connsiteY191" fmla="*/ 1924548 h 2962327"/>
                  <a:gd name="connsiteX192" fmla="*/ 1919784 w 3028217"/>
                  <a:gd name="connsiteY192" fmla="*/ 1877876 h 2962327"/>
                  <a:gd name="connsiteX193" fmla="*/ 1896924 w 3028217"/>
                  <a:gd name="connsiteY193" fmla="*/ 1849301 h 2962327"/>
                  <a:gd name="connsiteX194" fmla="*/ 1839774 w 3028217"/>
                  <a:gd name="connsiteY194" fmla="*/ 1762623 h 2962327"/>
                  <a:gd name="connsiteX195" fmla="*/ 1822629 w 3028217"/>
                  <a:gd name="connsiteY195" fmla="*/ 1676898 h 2962327"/>
                  <a:gd name="connsiteX196" fmla="*/ 1829297 w 3028217"/>
                  <a:gd name="connsiteY196" fmla="*/ 1537833 h 2962327"/>
                  <a:gd name="connsiteX197" fmla="*/ 1828344 w 3028217"/>
                  <a:gd name="connsiteY197" fmla="*/ 1514973 h 2962327"/>
                  <a:gd name="connsiteX198" fmla="*/ 1909307 w 3028217"/>
                  <a:gd name="connsiteY198" fmla="*/ 1373051 h 2962327"/>
                  <a:gd name="connsiteX199" fmla="*/ 1929309 w 3028217"/>
                  <a:gd name="connsiteY199" fmla="*/ 1361621 h 2962327"/>
                  <a:gd name="connsiteX200" fmla="*/ 1977887 w 3028217"/>
                  <a:gd name="connsiteY200" fmla="*/ 1293041 h 2962327"/>
                  <a:gd name="connsiteX201" fmla="*/ 2019797 w 3028217"/>
                  <a:gd name="connsiteY201" fmla="*/ 1227318 h 2962327"/>
                  <a:gd name="connsiteX202" fmla="*/ 2051229 w 3028217"/>
                  <a:gd name="connsiteY202" fmla="*/ 1178741 h 2962327"/>
                  <a:gd name="connsiteX203" fmla="*/ 2083614 w 3028217"/>
                  <a:gd name="connsiteY203" fmla="*/ 1172073 h 2962327"/>
                  <a:gd name="connsiteX204" fmla="*/ 2161719 w 3028217"/>
                  <a:gd name="connsiteY204" fmla="*/ 1162548 h 2962327"/>
                  <a:gd name="connsiteX205" fmla="*/ 2266494 w 3028217"/>
                  <a:gd name="connsiteY205" fmla="*/ 1136831 h 2962327"/>
                  <a:gd name="connsiteX206" fmla="*/ 2331264 w 3028217"/>
                  <a:gd name="connsiteY206" fmla="*/ 1133021 h 2962327"/>
                  <a:gd name="connsiteX207" fmla="*/ 2387462 w 3028217"/>
                  <a:gd name="connsiteY207" fmla="*/ 1197791 h 2962327"/>
                  <a:gd name="connsiteX208" fmla="*/ 2400797 w 3028217"/>
                  <a:gd name="connsiteY208" fmla="*/ 1229223 h 2962327"/>
                  <a:gd name="connsiteX209" fmla="*/ 2517002 w 3028217"/>
                  <a:gd name="connsiteY209" fmla="*/ 1283516 h 2962327"/>
                  <a:gd name="connsiteX210" fmla="*/ 2556055 w 3028217"/>
                  <a:gd name="connsiteY210" fmla="*/ 1266371 h 2962327"/>
                  <a:gd name="connsiteX211" fmla="*/ 2617967 w 3028217"/>
                  <a:gd name="connsiteY211" fmla="*/ 1241606 h 2962327"/>
                  <a:gd name="connsiteX212" fmla="*/ 2701787 w 3028217"/>
                  <a:gd name="connsiteY212" fmla="*/ 1271133 h 2962327"/>
                  <a:gd name="connsiteX213" fmla="*/ 2823707 w 3028217"/>
                  <a:gd name="connsiteY213" fmla="*/ 1270181 h 2962327"/>
                  <a:gd name="connsiteX214" fmla="*/ 2842757 w 3028217"/>
                  <a:gd name="connsiteY214" fmla="*/ 1253988 h 2962327"/>
                  <a:gd name="connsiteX215" fmla="*/ 2857997 w 3028217"/>
                  <a:gd name="connsiteY215" fmla="*/ 1191123 h 2962327"/>
                  <a:gd name="connsiteX216" fmla="*/ 2824659 w 3028217"/>
                  <a:gd name="connsiteY216" fmla="*/ 1163501 h 2962327"/>
                  <a:gd name="connsiteX217" fmla="*/ 2781797 w 3028217"/>
                  <a:gd name="connsiteY217" fmla="*/ 1153023 h 2962327"/>
                  <a:gd name="connsiteX218" fmla="*/ 2778142 w 3028217"/>
                  <a:gd name="connsiteY218" fmla="*/ 1149005 h 2962327"/>
                  <a:gd name="connsiteX219" fmla="*/ 2758579 w 3028217"/>
                  <a:gd name="connsiteY219" fmla="*/ 1157637 h 2962327"/>
                  <a:gd name="connsiteX220" fmla="*/ 2684641 w 3028217"/>
                  <a:gd name="connsiteY220" fmla="*/ 1122543 h 2962327"/>
                  <a:gd name="connsiteX221" fmla="*/ 2664638 w 3028217"/>
                  <a:gd name="connsiteY221" fmla="*/ 1083491 h 2962327"/>
                  <a:gd name="connsiteX222" fmla="*/ 2646541 w 3028217"/>
                  <a:gd name="connsiteY222" fmla="*/ 1054916 h 2962327"/>
                  <a:gd name="connsiteX223" fmla="*/ 2610346 w 3028217"/>
                  <a:gd name="connsiteY223" fmla="*/ 1080633 h 2962327"/>
                  <a:gd name="connsiteX224" fmla="*/ 2609202 w 3028217"/>
                  <a:gd name="connsiteY224" fmla="*/ 1082346 h 2962327"/>
                  <a:gd name="connsiteX225" fmla="*/ 2613204 w 3028217"/>
                  <a:gd name="connsiteY225" fmla="*/ 1086348 h 2962327"/>
                  <a:gd name="connsiteX226" fmla="*/ 2632254 w 3028217"/>
                  <a:gd name="connsiteY226" fmla="*/ 1108255 h 2962327"/>
                  <a:gd name="connsiteX227" fmla="*/ 2609394 w 3028217"/>
                  <a:gd name="connsiteY227" fmla="*/ 1145403 h 2962327"/>
                  <a:gd name="connsiteX228" fmla="*/ 2584629 w 3028217"/>
                  <a:gd name="connsiteY228" fmla="*/ 1132068 h 2962327"/>
                  <a:gd name="connsiteX229" fmla="*/ 2566055 w 3028217"/>
                  <a:gd name="connsiteY229" fmla="*/ 1095397 h 2962327"/>
                  <a:gd name="connsiteX230" fmla="*/ 2558490 w 3028217"/>
                  <a:gd name="connsiteY230" fmla="*/ 1083461 h 2962327"/>
                  <a:gd name="connsiteX231" fmla="*/ 2545576 w 3028217"/>
                  <a:gd name="connsiteY231" fmla="*/ 1071108 h 2962327"/>
                  <a:gd name="connsiteX232" fmla="*/ 2536051 w 3028217"/>
                  <a:gd name="connsiteY232" fmla="*/ 1061583 h 2962327"/>
                  <a:gd name="connsiteX233" fmla="*/ 2429371 w 3028217"/>
                  <a:gd name="connsiteY233" fmla="*/ 952046 h 2962327"/>
                  <a:gd name="connsiteX234" fmla="*/ 2417941 w 3028217"/>
                  <a:gd name="connsiteY234" fmla="*/ 944426 h 2962327"/>
                  <a:gd name="connsiteX235" fmla="*/ 2407463 w 3028217"/>
                  <a:gd name="connsiteY235" fmla="*/ 947283 h 2962327"/>
                  <a:gd name="connsiteX236" fmla="*/ 2469376 w 3028217"/>
                  <a:gd name="connsiteY236" fmla="*/ 1014911 h 2962327"/>
                  <a:gd name="connsiteX237" fmla="*/ 2509381 w 3028217"/>
                  <a:gd name="connsiteY237" fmla="*/ 1044438 h 2962327"/>
                  <a:gd name="connsiteX238" fmla="*/ 2504618 w 3028217"/>
                  <a:gd name="connsiteY238" fmla="*/ 1057773 h 2962327"/>
                  <a:gd name="connsiteX239" fmla="*/ 2488426 w 3028217"/>
                  <a:gd name="connsiteY239" fmla="*/ 1077776 h 2962327"/>
                  <a:gd name="connsiteX240" fmla="*/ 2476996 w 3028217"/>
                  <a:gd name="connsiteY240" fmla="*/ 1084443 h 2962327"/>
                  <a:gd name="connsiteX241" fmla="*/ 2356028 w 3028217"/>
                  <a:gd name="connsiteY241" fmla="*/ 985383 h 2962327"/>
                  <a:gd name="connsiteX242" fmla="*/ 2317928 w 3028217"/>
                  <a:gd name="connsiteY242" fmla="*/ 978716 h 2962327"/>
                  <a:gd name="connsiteX243" fmla="*/ 2295068 w 3028217"/>
                  <a:gd name="connsiteY243" fmla="*/ 993003 h 2962327"/>
                  <a:gd name="connsiteX244" fmla="*/ 2196008 w 3028217"/>
                  <a:gd name="connsiteY244" fmla="*/ 1057773 h 2962327"/>
                  <a:gd name="connsiteX245" fmla="*/ 2181721 w 3028217"/>
                  <a:gd name="connsiteY245" fmla="*/ 1087301 h 2962327"/>
                  <a:gd name="connsiteX246" fmla="*/ 2105521 w 3028217"/>
                  <a:gd name="connsiteY246" fmla="*/ 1157786 h 2962327"/>
                  <a:gd name="connsiteX247" fmla="*/ 2053133 w 3028217"/>
                  <a:gd name="connsiteY247" fmla="*/ 1155881 h 2962327"/>
                  <a:gd name="connsiteX248" fmla="*/ 2036941 w 3028217"/>
                  <a:gd name="connsiteY248" fmla="*/ 1136831 h 2962327"/>
                  <a:gd name="connsiteX249" fmla="*/ 2008366 w 3028217"/>
                  <a:gd name="connsiteY249" fmla="*/ 1131116 h 2962327"/>
                  <a:gd name="connsiteX250" fmla="*/ 2001698 w 3028217"/>
                  <a:gd name="connsiteY250" fmla="*/ 1074918 h 2962327"/>
                  <a:gd name="connsiteX251" fmla="*/ 2008366 w 3028217"/>
                  <a:gd name="connsiteY251" fmla="*/ 1001576 h 2962327"/>
                  <a:gd name="connsiteX252" fmla="*/ 2035988 w 3028217"/>
                  <a:gd name="connsiteY252" fmla="*/ 977763 h 2962327"/>
                  <a:gd name="connsiteX253" fmla="*/ 2107426 w 3028217"/>
                  <a:gd name="connsiteY253" fmla="*/ 983478 h 2962327"/>
                  <a:gd name="connsiteX254" fmla="*/ 2148383 w 3028217"/>
                  <a:gd name="connsiteY254" fmla="*/ 975858 h 2962327"/>
                  <a:gd name="connsiteX255" fmla="*/ 2150288 w 3028217"/>
                  <a:gd name="connsiteY255" fmla="*/ 913946 h 2962327"/>
                  <a:gd name="connsiteX256" fmla="*/ 2112188 w 3028217"/>
                  <a:gd name="connsiteY256" fmla="*/ 876798 h 2962327"/>
                  <a:gd name="connsiteX257" fmla="*/ 2096948 w 3028217"/>
                  <a:gd name="connsiteY257" fmla="*/ 862511 h 2962327"/>
                  <a:gd name="connsiteX258" fmla="*/ 2118856 w 3028217"/>
                  <a:gd name="connsiteY258" fmla="*/ 849176 h 2962327"/>
                  <a:gd name="connsiteX259" fmla="*/ 2206486 w 3028217"/>
                  <a:gd name="connsiteY259" fmla="*/ 810123 h 2962327"/>
                  <a:gd name="connsiteX260" fmla="*/ 2308403 w 3028217"/>
                  <a:gd name="connsiteY260" fmla="*/ 731066 h 2962327"/>
                  <a:gd name="connsiteX261" fmla="*/ 2321738 w 3028217"/>
                  <a:gd name="connsiteY261" fmla="*/ 708206 h 2962327"/>
                  <a:gd name="connsiteX262" fmla="*/ 2311261 w 3028217"/>
                  <a:gd name="connsiteY262" fmla="*/ 679631 h 2962327"/>
                  <a:gd name="connsiteX263" fmla="*/ 2320786 w 3028217"/>
                  <a:gd name="connsiteY263" fmla="*/ 643436 h 2962327"/>
                  <a:gd name="connsiteX264" fmla="*/ 2338883 w 3028217"/>
                  <a:gd name="connsiteY264" fmla="*/ 638673 h 2962327"/>
                  <a:gd name="connsiteX265" fmla="*/ 2343646 w 3028217"/>
                  <a:gd name="connsiteY265" fmla="*/ 675821 h 2962327"/>
                  <a:gd name="connsiteX266" fmla="*/ 2348408 w 3028217"/>
                  <a:gd name="connsiteY266" fmla="*/ 699633 h 2962327"/>
                  <a:gd name="connsiteX267" fmla="*/ 2376031 w 3028217"/>
                  <a:gd name="connsiteY267" fmla="*/ 706301 h 2962327"/>
                  <a:gd name="connsiteX268" fmla="*/ 2385556 w 3028217"/>
                  <a:gd name="connsiteY268" fmla="*/ 704396 h 2962327"/>
                  <a:gd name="connsiteX269" fmla="*/ 2454136 w 3028217"/>
                  <a:gd name="connsiteY269" fmla="*/ 698681 h 2962327"/>
                  <a:gd name="connsiteX270" fmla="*/ 2476996 w 3028217"/>
                  <a:gd name="connsiteY270" fmla="*/ 692013 h 2962327"/>
                  <a:gd name="connsiteX271" fmla="*/ 2517953 w 3028217"/>
                  <a:gd name="connsiteY271" fmla="*/ 648198 h 2962327"/>
                  <a:gd name="connsiteX272" fmla="*/ 2563673 w 3028217"/>
                  <a:gd name="connsiteY272" fmla="*/ 626291 h 2962327"/>
                  <a:gd name="connsiteX273" fmla="*/ 2554148 w 3028217"/>
                  <a:gd name="connsiteY273" fmla="*/ 585333 h 2962327"/>
                  <a:gd name="connsiteX274" fmla="*/ 2572928 w 3028217"/>
                  <a:gd name="connsiteY274" fmla="*/ 573708 h 2962327"/>
                  <a:gd name="connsiteX275" fmla="*/ 2586098 w 3028217"/>
                  <a:gd name="connsiteY275" fmla="*/ 571735 h 2962327"/>
                  <a:gd name="connsiteX276" fmla="*/ 2586726 w 3028217"/>
                  <a:gd name="connsiteY276" fmla="*/ 571671 h 2962327"/>
                  <a:gd name="connsiteX277" fmla="*/ 2624633 w 3028217"/>
                  <a:gd name="connsiteY277" fmla="*/ 568188 h 2962327"/>
                  <a:gd name="connsiteX278" fmla="*/ 2630348 w 3028217"/>
                  <a:gd name="connsiteY278" fmla="*/ 563426 h 2962327"/>
                  <a:gd name="connsiteX279" fmla="*/ 2633206 w 3028217"/>
                  <a:gd name="connsiteY279" fmla="*/ 563426 h 2962327"/>
                  <a:gd name="connsiteX280" fmla="*/ 2626538 w 3028217"/>
                  <a:gd name="connsiteY280" fmla="*/ 563426 h 2962327"/>
                  <a:gd name="connsiteX281" fmla="*/ 2593082 w 3028217"/>
                  <a:gd name="connsiteY281" fmla="*/ 570689 h 2962327"/>
                  <a:gd name="connsiteX282" fmla="*/ 2586098 w 3028217"/>
                  <a:gd name="connsiteY282" fmla="*/ 571735 h 2962327"/>
                  <a:gd name="connsiteX283" fmla="*/ 2574151 w 3028217"/>
                  <a:gd name="connsiteY283" fmla="*/ 572951 h 2962327"/>
                  <a:gd name="connsiteX284" fmla="*/ 2572928 w 3028217"/>
                  <a:gd name="connsiteY284" fmla="*/ 573708 h 2962327"/>
                  <a:gd name="connsiteX285" fmla="*/ 2558911 w 3028217"/>
                  <a:gd name="connsiteY285" fmla="*/ 575808 h 2962327"/>
                  <a:gd name="connsiteX286" fmla="*/ 2506523 w 3028217"/>
                  <a:gd name="connsiteY286" fmla="*/ 541518 h 2962327"/>
                  <a:gd name="connsiteX287" fmla="*/ 2512238 w 3028217"/>
                  <a:gd name="connsiteY287" fmla="*/ 480558 h 2962327"/>
                  <a:gd name="connsiteX288" fmla="*/ 2533193 w 3028217"/>
                  <a:gd name="connsiteY288" fmla="*/ 458651 h 2962327"/>
                  <a:gd name="connsiteX289" fmla="*/ 2534146 w 3028217"/>
                  <a:gd name="connsiteY289" fmla="*/ 440553 h 2962327"/>
                  <a:gd name="connsiteX290" fmla="*/ 2513191 w 3028217"/>
                  <a:gd name="connsiteY290" fmla="*/ 445316 h 2962327"/>
                  <a:gd name="connsiteX291" fmla="*/ 2464613 w 3028217"/>
                  <a:gd name="connsiteY291" fmla="*/ 509133 h 2962327"/>
                  <a:gd name="connsiteX292" fmla="*/ 2467471 w 3028217"/>
                  <a:gd name="connsiteY292" fmla="*/ 551996 h 2962327"/>
                  <a:gd name="connsiteX293" fmla="*/ 2468423 w 3028217"/>
                  <a:gd name="connsiteY293" fmla="*/ 597716 h 2962327"/>
                  <a:gd name="connsiteX294" fmla="*/ 2453183 w 3028217"/>
                  <a:gd name="connsiteY294" fmla="*/ 638673 h 2962327"/>
                  <a:gd name="connsiteX295" fmla="*/ 2423656 w 3028217"/>
                  <a:gd name="connsiteY295" fmla="*/ 676773 h 2962327"/>
                  <a:gd name="connsiteX296" fmla="*/ 2389366 w 3028217"/>
                  <a:gd name="connsiteY296" fmla="*/ 683441 h 2962327"/>
                  <a:gd name="connsiteX297" fmla="*/ 2383651 w 3028217"/>
                  <a:gd name="connsiteY297" fmla="*/ 659628 h 2962327"/>
                  <a:gd name="connsiteX298" fmla="*/ 2367458 w 3028217"/>
                  <a:gd name="connsiteY298" fmla="*/ 627243 h 2962327"/>
                  <a:gd name="connsiteX299" fmla="*/ 2308403 w 3028217"/>
                  <a:gd name="connsiteY299" fmla="*/ 612003 h 2962327"/>
                  <a:gd name="connsiteX300" fmla="*/ 2270303 w 3028217"/>
                  <a:gd name="connsiteY300" fmla="*/ 571046 h 2962327"/>
                  <a:gd name="connsiteX301" fmla="*/ 2260778 w 3028217"/>
                  <a:gd name="connsiteY301" fmla="*/ 543423 h 2962327"/>
                  <a:gd name="connsiteX302" fmla="*/ 2259826 w 3028217"/>
                  <a:gd name="connsiteY302" fmla="*/ 522468 h 2962327"/>
                  <a:gd name="connsiteX303" fmla="*/ 2390318 w 3028217"/>
                  <a:gd name="connsiteY303" fmla="*/ 385308 h 2962327"/>
                  <a:gd name="connsiteX304" fmla="*/ 2416988 w 3028217"/>
                  <a:gd name="connsiteY304" fmla="*/ 357686 h 2962327"/>
                  <a:gd name="connsiteX305" fmla="*/ 2417941 w 3028217"/>
                  <a:gd name="connsiteY305" fmla="*/ 351971 h 2962327"/>
                  <a:gd name="connsiteX306" fmla="*/ 2424608 w 3028217"/>
                  <a:gd name="connsiteY306" fmla="*/ 353876 h 2962327"/>
                  <a:gd name="connsiteX307" fmla="*/ 2452245 w 3028217"/>
                  <a:gd name="connsiteY307" fmla="*/ 336582 h 2962327"/>
                  <a:gd name="connsiteX308" fmla="*/ 2471113 w 3028217"/>
                  <a:gd name="connsiteY308" fmla="*/ 336025 h 2962327"/>
                  <a:gd name="connsiteX309" fmla="*/ 761544 w 3028217"/>
                  <a:gd name="connsiteY309" fmla="*/ 194808 h 2962327"/>
                  <a:gd name="connsiteX310" fmla="*/ 773926 w 3028217"/>
                  <a:gd name="connsiteY310" fmla="*/ 216716 h 2962327"/>
                  <a:gd name="connsiteX311" fmla="*/ 773926 w 3028217"/>
                  <a:gd name="connsiteY311" fmla="*/ 278628 h 2962327"/>
                  <a:gd name="connsiteX312" fmla="*/ 687249 w 3028217"/>
                  <a:gd name="connsiteY312" fmla="*/ 293868 h 2962327"/>
                  <a:gd name="connsiteX313" fmla="*/ 671056 w 3028217"/>
                  <a:gd name="connsiteY313" fmla="*/ 292916 h 2962327"/>
                  <a:gd name="connsiteX314" fmla="*/ 640576 w 3028217"/>
                  <a:gd name="connsiteY314" fmla="*/ 298631 h 2962327"/>
                  <a:gd name="connsiteX315" fmla="*/ 603429 w 3028217"/>
                  <a:gd name="connsiteY315" fmla="*/ 291011 h 2962327"/>
                  <a:gd name="connsiteX316" fmla="*/ 715824 w 3028217"/>
                  <a:gd name="connsiteY316" fmla="*/ 211953 h 2962327"/>
                  <a:gd name="connsiteX317" fmla="*/ 727254 w 3028217"/>
                  <a:gd name="connsiteY317" fmla="*/ 215763 h 2962327"/>
                  <a:gd name="connsiteX318" fmla="*/ 761544 w 3028217"/>
                  <a:gd name="connsiteY318" fmla="*/ 194808 h 2962327"/>
                  <a:gd name="connsiteX319" fmla="*/ 873343 w 3028217"/>
                  <a:gd name="connsiteY319" fmla="*/ 184331 h 2962327"/>
                  <a:gd name="connsiteX320" fmla="*/ 891083 w 3028217"/>
                  <a:gd name="connsiteY320" fmla="*/ 191951 h 2962327"/>
                  <a:gd name="connsiteX321" fmla="*/ 888226 w 3028217"/>
                  <a:gd name="connsiteY321" fmla="*/ 217668 h 2962327"/>
                  <a:gd name="connsiteX322" fmla="*/ 879241 w 3028217"/>
                  <a:gd name="connsiteY322" fmla="*/ 234820 h 2962327"/>
                  <a:gd name="connsiteX323" fmla="*/ 895370 w 3028217"/>
                  <a:gd name="connsiteY323" fmla="*/ 235036 h 2962327"/>
                  <a:gd name="connsiteX324" fmla="*/ 899656 w 3028217"/>
                  <a:gd name="connsiteY324" fmla="*/ 266246 h 2962327"/>
                  <a:gd name="connsiteX325" fmla="*/ 892988 w 3028217"/>
                  <a:gd name="connsiteY325" fmla="*/ 303393 h 2962327"/>
                  <a:gd name="connsiteX326" fmla="*/ 905371 w 3028217"/>
                  <a:gd name="connsiteY326" fmla="*/ 303393 h 2962327"/>
                  <a:gd name="connsiteX327" fmla="*/ 915848 w 3028217"/>
                  <a:gd name="connsiteY327" fmla="*/ 337683 h 2962327"/>
                  <a:gd name="connsiteX328" fmla="*/ 946328 w 3028217"/>
                  <a:gd name="connsiteY328" fmla="*/ 324348 h 2962327"/>
                  <a:gd name="connsiteX329" fmla="*/ 973409 w 3028217"/>
                  <a:gd name="connsiteY329" fmla="*/ 303804 h 2962327"/>
                  <a:gd name="connsiteX330" fmla="*/ 975260 w 3028217"/>
                  <a:gd name="connsiteY330" fmla="*/ 292796 h 2962327"/>
                  <a:gd name="connsiteX331" fmla="*/ 965378 w 3028217"/>
                  <a:gd name="connsiteY331" fmla="*/ 281485 h 2962327"/>
                  <a:gd name="connsiteX332" fmla="*/ 962521 w 3028217"/>
                  <a:gd name="connsiteY332" fmla="*/ 233860 h 2962327"/>
                  <a:gd name="connsiteX333" fmla="*/ 1013956 w 3028217"/>
                  <a:gd name="connsiteY333" fmla="*/ 203380 h 2962327"/>
                  <a:gd name="connsiteX334" fmla="*/ 1028243 w 3028217"/>
                  <a:gd name="connsiteY334" fmla="*/ 200165 h 2962327"/>
                  <a:gd name="connsiteX335" fmla="*/ 1042531 w 3028217"/>
                  <a:gd name="connsiteY335" fmla="*/ 206238 h 2962327"/>
                  <a:gd name="connsiteX336" fmla="*/ 1016813 w 3028217"/>
                  <a:gd name="connsiteY336" fmla="*/ 234813 h 2962327"/>
                  <a:gd name="connsiteX337" fmla="*/ 1075868 w 3028217"/>
                  <a:gd name="connsiteY337" fmla="*/ 204333 h 2962327"/>
                  <a:gd name="connsiteX338" fmla="*/ 1095871 w 3028217"/>
                  <a:gd name="connsiteY338" fmla="*/ 204333 h 2962327"/>
                  <a:gd name="connsiteX339" fmla="*/ 1099681 w 3028217"/>
                  <a:gd name="connsiteY339" fmla="*/ 232908 h 2962327"/>
                  <a:gd name="connsiteX340" fmla="*/ 1133971 w 3028217"/>
                  <a:gd name="connsiteY340" fmla="*/ 231003 h 2962327"/>
                  <a:gd name="connsiteX341" fmla="*/ 1151116 w 3028217"/>
                  <a:gd name="connsiteY341" fmla="*/ 238623 h 2962327"/>
                  <a:gd name="connsiteX342" fmla="*/ 1205408 w 3028217"/>
                  <a:gd name="connsiteY342" fmla="*/ 287200 h 2962327"/>
                  <a:gd name="connsiteX343" fmla="*/ 1198741 w 3028217"/>
                  <a:gd name="connsiteY343" fmla="*/ 334825 h 2962327"/>
                  <a:gd name="connsiteX344" fmla="*/ 1248271 w 3028217"/>
                  <a:gd name="connsiteY344" fmla="*/ 377688 h 2962327"/>
                  <a:gd name="connsiteX345" fmla="*/ 1246366 w 3028217"/>
                  <a:gd name="connsiteY345" fmla="*/ 402453 h 2962327"/>
                  <a:gd name="connsiteX346" fmla="*/ 1187311 w 3028217"/>
                  <a:gd name="connsiteY346" fmla="*/ 402453 h 2962327"/>
                  <a:gd name="connsiteX347" fmla="*/ 1171118 w 3028217"/>
                  <a:gd name="connsiteY347" fmla="*/ 396738 h 2962327"/>
                  <a:gd name="connsiteX348" fmla="*/ 1171118 w 3028217"/>
                  <a:gd name="connsiteY348" fmla="*/ 431028 h 2962327"/>
                  <a:gd name="connsiteX349" fmla="*/ 1151116 w 3028217"/>
                  <a:gd name="connsiteY349" fmla="*/ 479605 h 2962327"/>
                  <a:gd name="connsiteX350" fmla="*/ 1136828 w 3028217"/>
                  <a:gd name="connsiteY350" fmla="*/ 476748 h 2962327"/>
                  <a:gd name="connsiteX351" fmla="*/ 1136828 w 3028217"/>
                  <a:gd name="connsiteY351" fmla="*/ 487225 h 2962327"/>
                  <a:gd name="connsiteX352" fmla="*/ 1118731 w 3028217"/>
                  <a:gd name="connsiteY352" fmla="*/ 497703 h 2962327"/>
                  <a:gd name="connsiteX353" fmla="*/ 1066343 w 3028217"/>
                  <a:gd name="connsiteY353" fmla="*/ 455793 h 2962327"/>
                  <a:gd name="connsiteX354" fmla="*/ 1016813 w 3028217"/>
                  <a:gd name="connsiteY354" fmla="*/ 433885 h 2962327"/>
                  <a:gd name="connsiteX355" fmla="*/ 996811 w 3028217"/>
                  <a:gd name="connsiteY355" fmla="*/ 428170 h 2962327"/>
                  <a:gd name="connsiteX356" fmla="*/ 1013003 w 3028217"/>
                  <a:gd name="connsiteY356" fmla="*/ 411978 h 2962327"/>
                  <a:gd name="connsiteX357" fmla="*/ 1109206 w 3028217"/>
                  <a:gd name="connsiteY357" fmla="*/ 369115 h 2962327"/>
                  <a:gd name="connsiteX358" fmla="*/ 1089203 w 3028217"/>
                  <a:gd name="connsiteY358" fmla="*/ 307203 h 2962327"/>
                  <a:gd name="connsiteX359" fmla="*/ 1077773 w 3028217"/>
                  <a:gd name="connsiteY359" fmla="*/ 291010 h 2962327"/>
                  <a:gd name="connsiteX360" fmla="*/ 1016813 w 3028217"/>
                  <a:gd name="connsiteY360" fmla="*/ 292915 h 2962327"/>
                  <a:gd name="connsiteX361" fmla="*/ 1007169 w 3028217"/>
                  <a:gd name="connsiteY361" fmla="*/ 296011 h 2962327"/>
                  <a:gd name="connsiteX362" fmla="*/ 1007866 w 3028217"/>
                  <a:gd name="connsiteY362" fmla="*/ 302667 h 2962327"/>
                  <a:gd name="connsiteX363" fmla="*/ 1009193 w 3028217"/>
                  <a:gd name="connsiteY363" fmla="*/ 303393 h 2962327"/>
                  <a:gd name="connsiteX364" fmla="*/ 962521 w 3028217"/>
                  <a:gd name="connsiteY364" fmla="*/ 370068 h 2962327"/>
                  <a:gd name="connsiteX365" fmla="*/ 905371 w 3028217"/>
                  <a:gd name="connsiteY365" fmla="*/ 371973 h 2962327"/>
                  <a:gd name="connsiteX366" fmla="*/ 868223 w 3028217"/>
                  <a:gd name="connsiteY366" fmla="*/ 410073 h 2962327"/>
                  <a:gd name="connsiteX367" fmla="*/ 836791 w 3028217"/>
                  <a:gd name="connsiteY367" fmla="*/ 426266 h 2962327"/>
                  <a:gd name="connsiteX368" fmla="*/ 816788 w 3028217"/>
                  <a:gd name="connsiteY368" fmla="*/ 424361 h 2962327"/>
                  <a:gd name="connsiteX369" fmla="*/ 677723 w 3028217"/>
                  <a:gd name="connsiteY369" fmla="*/ 507228 h 2962327"/>
                  <a:gd name="connsiteX370" fmla="*/ 668198 w 3028217"/>
                  <a:gd name="connsiteY370" fmla="*/ 553901 h 2962327"/>
                  <a:gd name="connsiteX371" fmla="*/ 662483 w 3028217"/>
                  <a:gd name="connsiteY371" fmla="*/ 586286 h 2962327"/>
                  <a:gd name="connsiteX372" fmla="*/ 716776 w 3028217"/>
                  <a:gd name="connsiteY372" fmla="*/ 612956 h 2962327"/>
                  <a:gd name="connsiteX373" fmla="*/ 771068 w 3028217"/>
                  <a:gd name="connsiteY373" fmla="*/ 645341 h 2962327"/>
                  <a:gd name="connsiteX374" fmla="*/ 782498 w 3028217"/>
                  <a:gd name="connsiteY374" fmla="*/ 667248 h 2962327"/>
                  <a:gd name="connsiteX375" fmla="*/ 772973 w 3028217"/>
                  <a:gd name="connsiteY375" fmla="*/ 726303 h 2962327"/>
                  <a:gd name="connsiteX376" fmla="*/ 805358 w 3028217"/>
                  <a:gd name="connsiteY376" fmla="*/ 736781 h 2962327"/>
                  <a:gd name="connsiteX377" fmla="*/ 828218 w 3028217"/>
                  <a:gd name="connsiteY377" fmla="*/ 689156 h 2962327"/>
                  <a:gd name="connsiteX378" fmla="*/ 858698 w 3028217"/>
                  <a:gd name="connsiteY378" fmla="*/ 652961 h 2962327"/>
                  <a:gd name="connsiteX379" fmla="*/ 901561 w 3028217"/>
                  <a:gd name="connsiteY379" fmla="*/ 573903 h 2962327"/>
                  <a:gd name="connsiteX380" fmla="*/ 904418 w 3028217"/>
                  <a:gd name="connsiteY380" fmla="*/ 561521 h 2962327"/>
                  <a:gd name="connsiteX381" fmla="*/ 953948 w 3028217"/>
                  <a:gd name="connsiteY381" fmla="*/ 491988 h 2962327"/>
                  <a:gd name="connsiteX382" fmla="*/ 968236 w 3028217"/>
                  <a:gd name="connsiteY382" fmla="*/ 478653 h 2962327"/>
                  <a:gd name="connsiteX383" fmla="*/ 1049198 w 3028217"/>
                  <a:gd name="connsiteY383" fmla="*/ 512943 h 2962327"/>
                  <a:gd name="connsiteX384" fmla="*/ 1063486 w 3028217"/>
                  <a:gd name="connsiteY384" fmla="*/ 539613 h 2962327"/>
                  <a:gd name="connsiteX385" fmla="*/ 1067296 w 3028217"/>
                  <a:gd name="connsiteY385" fmla="*/ 583428 h 2962327"/>
                  <a:gd name="connsiteX386" fmla="*/ 1112063 w 3028217"/>
                  <a:gd name="connsiteY386" fmla="*/ 568188 h 2962327"/>
                  <a:gd name="connsiteX387" fmla="*/ 1146353 w 3028217"/>
                  <a:gd name="connsiteY387" fmla="*/ 580571 h 2962327"/>
                  <a:gd name="connsiteX388" fmla="*/ 1151116 w 3028217"/>
                  <a:gd name="connsiteY388" fmla="*/ 616766 h 2962327"/>
                  <a:gd name="connsiteX389" fmla="*/ 1193026 w 3028217"/>
                  <a:gd name="connsiteY389" fmla="*/ 684393 h 2962327"/>
                  <a:gd name="connsiteX390" fmla="*/ 1182905 w 3028217"/>
                  <a:gd name="connsiteY390" fmla="*/ 697847 h 2962327"/>
                  <a:gd name="connsiteX391" fmla="*/ 1179024 w 3028217"/>
                  <a:gd name="connsiteY391" fmla="*/ 699159 h 2962327"/>
                  <a:gd name="connsiteX392" fmla="*/ 1177845 w 3028217"/>
                  <a:gd name="connsiteY392" fmla="*/ 699023 h 2962327"/>
                  <a:gd name="connsiteX393" fmla="*/ 1166356 w 3028217"/>
                  <a:gd name="connsiteY393" fmla="*/ 703443 h 2962327"/>
                  <a:gd name="connsiteX394" fmla="*/ 1179024 w 3028217"/>
                  <a:gd name="connsiteY394" fmla="*/ 699159 h 2962327"/>
                  <a:gd name="connsiteX395" fmla="*/ 1188263 w 3028217"/>
                  <a:gd name="connsiteY395" fmla="*/ 700229 h 2962327"/>
                  <a:gd name="connsiteX396" fmla="*/ 1207313 w 3028217"/>
                  <a:gd name="connsiteY396" fmla="*/ 712016 h 2962327"/>
                  <a:gd name="connsiteX397" fmla="*/ 1205051 w 3028217"/>
                  <a:gd name="connsiteY397" fmla="*/ 754402 h 2962327"/>
                  <a:gd name="connsiteX398" fmla="*/ 1180854 w 3028217"/>
                  <a:gd name="connsiteY398" fmla="*/ 787924 h 2962327"/>
                  <a:gd name="connsiteX399" fmla="*/ 1187073 w 3028217"/>
                  <a:gd name="connsiteY399" fmla="*/ 807504 h 2962327"/>
                  <a:gd name="connsiteX400" fmla="*/ 1206361 w 3028217"/>
                  <a:gd name="connsiteY400" fmla="*/ 814886 h 2962327"/>
                  <a:gd name="connsiteX401" fmla="*/ 1213981 w 3028217"/>
                  <a:gd name="connsiteY401" fmla="*/ 828221 h 2962327"/>
                  <a:gd name="connsiteX402" fmla="*/ 1172071 w 3028217"/>
                  <a:gd name="connsiteY402" fmla="*/ 862511 h 2962327"/>
                  <a:gd name="connsiteX403" fmla="*/ 1115874 w 3028217"/>
                  <a:gd name="connsiteY403" fmla="*/ 854891 h 2962327"/>
                  <a:gd name="connsiteX404" fmla="*/ 1148259 w 3028217"/>
                  <a:gd name="connsiteY404" fmla="*/ 807266 h 2962327"/>
                  <a:gd name="connsiteX405" fmla="*/ 1173024 w 3028217"/>
                  <a:gd name="connsiteY405" fmla="*/ 780596 h 2962327"/>
                  <a:gd name="connsiteX406" fmla="*/ 1173125 w 3028217"/>
                  <a:gd name="connsiteY406" fmla="*/ 780684 h 2962327"/>
                  <a:gd name="connsiteX407" fmla="*/ 1174333 w 3028217"/>
                  <a:gd name="connsiteY407" fmla="*/ 770475 h 2962327"/>
                  <a:gd name="connsiteX408" fmla="*/ 1163498 w 3028217"/>
                  <a:gd name="connsiteY408" fmla="*/ 767261 h 2962327"/>
                  <a:gd name="connsiteX409" fmla="*/ 1124446 w 3028217"/>
                  <a:gd name="connsiteY409" fmla="*/ 787263 h 2962327"/>
                  <a:gd name="connsiteX410" fmla="*/ 1043483 w 3028217"/>
                  <a:gd name="connsiteY410" fmla="*/ 789168 h 2962327"/>
                  <a:gd name="connsiteX411" fmla="*/ 993953 w 3028217"/>
                  <a:gd name="connsiteY411" fmla="*/ 794883 h 2962327"/>
                  <a:gd name="connsiteX412" fmla="*/ 959663 w 3028217"/>
                  <a:gd name="connsiteY412" fmla="*/ 814886 h 2962327"/>
                  <a:gd name="connsiteX413" fmla="*/ 929183 w 3028217"/>
                  <a:gd name="connsiteY413" fmla="*/ 839651 h 2962327"/>
                  <a:gd name="connsiteX414" fmla="*/ 925100 w 3028217"/>
                  <a:gd name="connsiteY414" fmla="*/ 843462 h 2962327"/>
                  <a:gd name="connsiteX415" fmla="*/ 915848 w 3028217"/>
                  <a:gd name="connsiteY415" fmla="*/ 851081 h 2962327"/>
                  <a:gd name="connsiteX416" fmla="*/ 912991 w 3028217"/>
                  <a:gd name="connsiteY416" fmla="*/ 851081 h 2962327"/>
                  <a:gd name="connsiteX417" fmla="*/ 914896 w 3028217"/>
                  <a:gd name="connsiteY417" fmla="*/ 852986 h 2962327"/>
                  <a:gd name="connsiteX418" fmla="*/ 925100 w 3028217"/>
                  <a:gd name="connsiteY418" fmla="*/ 843462 h 2962327"/>
                  <a:gd name="connsiteX419" fmla="*/ 932041 w 3028217"/>
                  <a:gd name="connsiteY419" fmla="*/ 837746 h 2962327"/>
                  <a:gd name="connsiteX420" fmla="*/ 972998 w 3028217"/>
                  <a:gd name="connsiteY420" fmla="*/ 820601 h 2962327"/>
                  <a:gd name="connsiteX421" fmla="*/ 992048 w 3028217"/>
                  <a:gd name="connsiteY421" fmla="*/ 814886 h 2962327"/>
                  <a:gd name="connsiteX422" fmla="*/ 1023481 w 3028217"/>
                  <a:gd name="connsiteY422" fmla="*/ 819648 h 2962327"/>
                  <a:gd name="connsiteX423" fmla="*/ 1005383 w 3028217"/>
                  <a:gd name="connsiteY423" fmla="*/ 842508 h 2962327"/>
                  <a:gd name="connsiteX424" fmla="*/ 1006336 w 3028217"/>
                  <a:gd name="connsiteY424" fmla="*/ 854891 h 2962327"/>
                  <a:gd name="connsiteX425" fmla="*/ 1005383 w 3028217"/>
                  <a:gd name="connsiteY425" fmla="*/ 889181 h 2962327"/>
                  <a:gd name="connsiteX426" fmla="*/ 984428 w 3028217"/>
                  <a:gd name="connsiteY426" fmla="*/ 910136 h 2962327"/>
                  <a:gd name="connsiteX427" fmla="*/ 952043 w 3028217"/>
                  <a:gd name="connsiteY427" fmla="*/ 916803 h 2962327"/>
                  <a:gd name="connsiteX428" fmla="*/ 899656 w 3028217"/>
                  <a:gd name="connsiteY428" fmla="*/ 938711 h 2962327"/>
                  <a:gd name="connsiteX429" fmla="*/ 855841 w 3028217"/>
                  <a:gd name="connsiteY429" fmla="*/ 985383 h 2962327"/>
                  <a:gd name="connsiteX430" fmla="*/ 831076 w 3028217"/>
                  <a:gd name="connsiteY430" fmla="*/ 1003481 h 2962327"/>
                  <a:gd name="connsiteX431" fmla="*/ 738683 w 3028217"/>
                  <a:gd name="connsiteY431" fmla="*/ 1081586 h 2962327"/>
                  <a:gd name="connsiteX432" fmla="*/ 711061 w 3028217"/>
                  <a:gd name="connsiteY432" fmla="*/ 1115876 h 2962327"/>
                  <a:gd name="connsiteX433" fmla="*/ 666293 w 3028217"/>
                  <a:gd name="connsiteY433" fmla="*/ 1175883 h 2962327"/>
                  <a:gd name="connsiteX434" fmla="*/ 585331 w 3028217"/>
                  <a:gd name="connsiteY434" fmla="*/ 1230176 h 2962327"/>
                  <a:gd name="connsiteX435" fmla="*/ 559613 w 3028217"/>
                  <a:gd name="connsiteY435" fmla="*/ 1297803 h 2962327"/>
                  <a:gd name="connsiteX436" fmla="*/ 557708 w 3028217"/>
                  <a:gd name="connsiteY436" fmla="*/ 1386386 h 2962327"/>
                  <a:gd name="connsiteX437" fmla="*/ 542468 w 3028217"/>
                  <a:gd name="connsiteY437" fmla="*/ 1407341 h 2962327"/>
                  <a:gd name="connsiteX438" fmla="*/ 528181 w 3028217"/>
                  <a:gd name="connsiteY438" fmla="*/ 1387338 h 2962327"/>
                  <a:gd name="connsiteX439" fmla="*/ 519608 w 3028217"/>
                  <a:gd name="connsiteY439" fmla="*/ 1320663 h 2962327"/>
                  <a:gd name="connsiteX440" fmla="*/ 488176 w 3028217"/>
                  <a:gd name="connsiteY440" fmla="*/ 1283516 h 2962327"/>
                  <a:gd name="connsiteX441" fmla="*/ 429121 w 3028217"/>
                  <a:gd name="connsiteY441" fmla="*/ 1267323 h 2962327"/>
                  <a:gd name="connsiteX442" fmla="*/ 409118 w 3028217"/>
                  <a:gd name="connsiteY442" fmla="*/ 1268276 h 2962327"/>
                  <a:gd name="connsiteX443" fmla="*/ 336728 w 3028217"/>
                  <a:gd name="connsiteY443" fmla="*/ 1284468 h 2962327"/>
                  <a:gd name="connsiteX444" fmla="*/ 215761 w 3028217"/>
                  <a:gd name="connsiteY444" fmla="*/ 1373051 h 2962327"/>
                  <a:gd name="connsiteX445" fmla="*/ 189091 w 3028217"/>
                  <a:gd name="connsiteY445" fmla="*/ 1441631 h 2962327"/>
                  <a:gd name="connsiteX446" fmla="*/ 196711 w 3028217"/>
                  <a:gd name="connsiteY446" fmla="*/ 1544501 h 2962327"/>
                  <a:gd name="connsiteX447" fmla="*/ 244336 w 3028217"/>
                  <a:gd name="connsiteY447" fmla="*/ 1573076 h 2962327"/>
                  <a:gd name="connsiteX448" fmla="*/ 320536 w 3028217"/>
                  <a:gd name="connsiteY448" fmla="*/ 1514973 h 2962327"/>
                  <a:gd name="connsiteX449" fmla="*/ 387211 w 3028217"/>
                  <a:gd name="connsiteY449" fmla="*/ 1494971 h 2962327"/>
                  <a:gd name="connsiteX450" fmla="*/ 389116 w 3028217"/>
                  <a:gd name="connsiteY450" fmla="*/ 1515926 h 2962327"/>
                  <a:gd name="connsiteX451" fmla="*/ 340538 w 3028217"/>
                  <a:gd name="connsiteY451" fmla="*/ 1624511 h 2962327"/>
                  <a:gd name="connsiteX452" fmla="*/ 354826 w 3028217"/>
                  <a:gd name="connsiteY452" fmla="*/ 1644513 h 2962327"/>
                  <a:gd name="connsiteX453" fmla="*/ 410071 w 3028217"/>
                  <a:gd name="connsiteY453" fmla="*/ 1645466 h 2962327"/>
                  <a:gd name="connsiteX454" fmla="*/ 439598 w 3028217"/>
                  <a:gd name="connsiteY454" fmla="*/ 1687376 h 2962327"/>
                  <a:gd name="connsiteX455" fmla="*/ 426263 w 3028217"/>
                  <a:gd name="connsiteY455" fmla="*/ 1743573 h 2962327"/>
                  <a:gd name="connsiteX456" fmla="*/ 450076 w 3028217"/>
                  <a:gd name="connsiteY456" fmla="*/ 1813106 h 2962327"/>
                  <a:gd name="connsiteX457" fmla="*/ 499606 w 3028217"/>
                  <a:gd name="connsiteY457" fmla="*/ 1812153 h 2962327"/>
                  <a:gd name="connsiteX458" fmla="*/ 536753 w 3028217"/>
                  <a:gd name="connsiteY458" fmla="*/ 1818821 h 2962327"/>
                  <a:gd name="connsiteX459" fmla="*/ 577711 w 3028217"/>
                  <a:gd name="connsiteY459" fmla="*/ 1813106 h 2962327"/>
                  <a:gd name="connsiteX460" fmla="*/ 661531 w 3028217"/>
                  <a:gd name="connsiteY460" fmla="*/ 1754051 h 2962327"/>
                  <a:gd name="connsiteX461" fmla="*/ 672008 w 3028217"/>
                  <a:gd name="connsiteY461" fmla="*/ 1763576 h 2962327"/>
                  <a:gd name="connsiteX462" fmla="*/ 695821 w 3028217"/>
                  <a:gd name="connsiteY462" fmla="*/ 1768338 h 2962327"/>
                  <a:gd name="connsiteX463" fmla="*/ 741541 w 3028217"/>
                  <a:gd name="connsiteY463" fmla="*/ 1772148 h 2962327"/>
                  <a:gd name="connsiteX464" fmla="*/ 832028 w 3028217"/>
                  <a:gd name="connsiteY464" fmla="*/ 1788341 h 2962327"/>
                  <a:gd name="connsiteX465" fmla="*/ 865366 w 3028217"/>
                  <a:gd name="connsiteY465" fmla="*/ 1796913 h 2962327"/>
                  <a:gd name="connsiteX466" fmla="*/ 910133 w 3028217"/>
                  <a:gd name="connsiteY466" fmla="*/ 1838823 h 2962327"/>
                  <a:gd name="connsiteX467" fmla="*/ 1047293 w 3028217"/>
                  <a:gd name="connsiteY467" fmla="*/ 1918833 h 2962327"/>
                  <a:gd name="connsiteX468" fmla="*/ 1116826 w 3028217"/>
                  <a:gd name="connsiteY468" fmla="*/ 2036943 h 2962327"/>
                  <a:gd name="connsiteX469" fmla="*/ 1106348 w 3028217"/>
                  <a:gd name="connsiteY469" fmla="*/ 2056946 h 2962327"/>
                  <a:gd name="connsiteX470" fmla="*/ 1104443 w 3028217"/>
                  <a:gd name="connsiteY470" fmla="*/ 2099808 h 2962327"/>
                  <a:gd name="connsiteX471" fmla="*/ 1124446 w 3028217"/>
                  <a:gd name="connsiteY471" fmla="*/ 2102666 h 2962327"/>
                  <a:gd name="connsiteX472" fmla="*/ 1193026 w 3028217"/>
                  <a:gd name="connsiteY472" fmla="*/ 2077901 h 2962327"/>
                  <a:gd name="connsiteX473" fmla="*/ 1280656 w 3028217"/>
                  <a:gd name="connsiteY473" fmla="*/ 2123621 h 2962327"/>
                  <a:gd name="connsiteX474" fmla="*/ 1387336 w 3028217"/>
                  <a:gd name="connsiteY474" fmla="*/ 2172198 h 2962327"/>
                  <a:gd name="connsiteX475" fmla="*/ 1434008 w 3028217"/>
                  <a:gd name="connsiteY475" fmla="*/ 2199821 h 2962327"/>
                  <a:gd name="connsiteX476" fmla="*/ 1430198 w 3028217"/>
                  <a:gd name="connsiteY476" fmla="*/ 2282688 h 2962327"/>
                  <a:gd name="connsiteX477" fmla="*/ 1370191 w 3028217"/>
                  <a:gd name="connsiteY477" fmla="*/ 2373176 h 2962327"/>
                  <a:gd name="connsiteX478" fmla="*/ 1358761 w 3028217"/>
                  <a:gd name="connsiteY478" fmla="*/ 2423658 h 2962327"/>
                  <a:gd name="connsiteX479" fmla="*/ 1327328 w 3028217"/>
                  <a:gd name="connsiteY479" fmla="*/ 2600823 h 2962327"/>
                  <a:gd name="connsiteX480" fmla="*/ 1293991 w 3028217"/>
                  <a:gd name="connsiteY480" fmla="*/ 2626541 h 2962327"/>
                  <a:gd name="connsiteX481" fmla="*/ 1218743 w 3028217"/>
                  <a:gd name="connsiteY481" fmla="*/ 2661783 h 2962327"/>
                  <a:gd name="connsiteX482" fmla="*/ 1193026 w 3028217"/>
                  <a:gd name="connsiteY482" fmla="*/ 2710361 h 2962327"/>
                  <a:gd name="connsiteX483" fmla="*/ 1164451 w 3028217"/>
                  <a:gd name="connsiteY483" fmla="*/ 2832281 h 2962327"/>
                  <a:gd name="connsiteX484" fmla="*/ 1122541 w 3028217"/>
                  <a:gd name="connsiteY484" fmla="*/ 2910386 h 2962327"/>
                  <a:gd name="connsiteX485" fmla="*/ 1095871 w 3028217"/>
                  <a:gd name="connsiteY485" fmla="*/ 2929436 h 2962327"/>
                  <a:gd name="connsiteX486" fmla="*/ 1061581 w 3028217"/>
                  <a:gd name="connsiteY486" fmla="*/ 2922768 h 2962327"/>
                  <a:gd name="connsiteX487" fmla="*/ 1047293 w 3028217"/>
                  <a:gd name="connsiteY487" fmla="*/ 2929436 h 2962327"/>
                  <a:gd name="connsiteX488" fmla="*/ 1061581 w 3028217"/>
                  <a:gd name="connsiteY488" fmla="*/ 2956106 h 2962327"/>
                  <a:gd name="connsiteX489" fmla="*/ 1040626 w 3028217"/>
                  <a:gd name="connsiteY489" fmla="*/ 2959916 h 2962327"/>
                  <a:gd name="connsiteX490" fmla="*/ 783451 w 3028217"/>
                  <a:gd name="connsiteY490" fmla="*/ 2850378 h 2962327"/>
                  <a:gd name="connsiteX491" fmla="*/ 752971 w 3028217"/>
                  <a:gd name="connsiteY491" fmla="*/ 2805611 h 2962327"/>
                  <a:gd name="connsiteX492" fmla="*/ 737731 w 3028217"/>
                  <a:gd name="connsiteY492" fmla="*/ 2765606 h 2962327"/>
                  <a:gd name="connsiteX493" fmla="*/ 721538 w 3028217"/>
                  <a:gd name="connsiteY493" fmla="*/ 2564628 h 2962327"/>
                  <a:gd name="connsiteX494" fmla="*/ 670103 w 3028217"/>
                  <a:gd name="connsiteY494" fmla="*/ 2492238 h 2962327"/>
                  <a:gd name="connsiteX495" fmla="*/ 539611 w 3028217"/>
                  <a:gd name="connsiteY495" fmla="*/ 2337933 h 2962327"/>
                  <a:gd name="connsiteX496" fmla="*/ 473888 w 3028217"/>
                  <a:gd name="connsiteY496" fmla="*/ 2221728 h 2962327"/>
                  <a:gd name="connsiteX497" fmla="*/ 468173 w 3028217"/>
                  <a:gd name="connsiteY497" fmla="*/ 2148386 h 2962327"/>
                  <a:gd name="connsiteX498" fmla="*/ 471983 w 3028217"/>
                  <a:gd name="connsiteY498" fmla="*/ 2122668 h 2962327"/>
                  <a:gd name="connsiteX499" fmla="*/ 493891 w 3028217"/>
                  <a:gd name="connsiteY499" fmla="*/ 2021703 h 2962327"/>
                  <a:gd name="connsiteX500" fmla="*/ 538658 w 3028217"/>
                  <a:gd name="connsiteY500" fmla="*/ 1907403 h 2962327"/>
                  <a:gd name="connsiteX501" fmla="*/ 524371 w 3028217"/>
                  <a:gd name="connsiteY501" fmla="*/ 1854063 h 2962327"/>
                  <a:gd name="connsiteX502" fmla="*/ 499606 w 3028217"/>
                  <a:gd name="connsiteY502" fmla="*/ 1853111 h 2962327"/>
                  <a:gd name="connsiteX503" fmla="*/ 459601 w 3028217"/>
                  <a:gd name="connsiteY503" fmla="*/ 1860731 h 2962327"/>
                  <a:gd name="connsiteX504" fmla="*/ 408166 w 3028217"/>
                  <a:gd name="connsiteY504" fmla="*/ 1827393 h 2962327"/>
                  <a:gd name="connsiteX505" fmla="*/ 354826 w 3028217"/>
                  <a:gd name="connsiteY505" fmla="*/ 1742621 h 2962327"/>
                  <a:gd name="connsiteX506" fmla="*/ 322441 w 3028217"/>
                  <a:gd name="connsiteY506" fmla="*/ 1715951 h 2962327"/>
                  <a:gd name="connsiteX507" fmla="*/ 234811 w 3028217"/>
                  <a:gd name="connsiteY507" fmla="*/ 1658801 h 2962327"/>
                  <a:gd name="connsiteX508" fmla="*/ 206236 w 3028217"/>
                  <a:gd name="connsiteY508" fmla="*/ 1644513 h 2962327"/>
                  <a:gd name="connsiteX509" fmla="*/ 116701 w 3028217"/>
                  <a:gd name="connsiteY509" fmla="*/ 1622606 h 2962327"/>
                  <a:gd name="connsiteX510" fmla="*/ 28118 w 3028217"/>
                  <a:gd name="connsiteY510" fmla="*/ 1557836 h 2962327"/>
                  <a:gd name="connsiteX511" fmla="*/ 12878 w 3028217"/>
                  <a:gd name="connsiteY511" fmla="*/ 1499733 h 2962327"/>
                  <a:gd name="connsiteX512" fmla="*/ 10021 w 3028217"/>
                  <a:gd name="connsiteY512" fmla="*/ 1446393 h 2962327"/>
                  <a:gd name="connsiteX513" fmla="*/ 5258 w 3028217"/>
                  <a:gd name="connsiteY513" fmla="*/ 1410198 h 2962327"/>
                  <a:gd name="connsiteX514" fmla="*/ 45263 w 3028217"/>
                  <a:gd name="connsiteY514" fmla="*/ 1105398 h 2962327"/>
                  <a:gd name="connsiteX515" fmla="*/ 304343 w 3028217"/>
                  <a:gd name="connsiteY515" fmla="*/ 581523 h 2962327"/>
                  <a:gd name="connsiteX516" fmla="*/ 548183 w 3028217"/>
                  <a:gd name="connsiteY516" fmla="*/ 329111 h 2962327"/>
                  <a:gd name="connsiteX517" fmla="*/ 617716 w 3028217"/>
                  <a:gd name="connsiteY517" fmla="*/ 317681 h 2962327"/>
                  <a:gd name="connsiteX518" fmla="*/ 631051 w 3028217"/>
                  <a:gd name="connsiteY518" fmla="*/ 309108 h 2962327"/>
                  <a:gd name="connsiteX519" fmla="*/ 692011 w 3028217"/>
                  <a:gd name="connsiteY519" fmla="*/ 299583 h 2962327"/>
                  <a:gd name="connsiteX520" fmla="*/ 756781 w 3028217"/>
                  <a:gd name="connsiteY520" fmla="*/ 316728 h 2962327"/>
                  <a:gd name="connsiteX521" fmla="*/ 780593 w 3028217"/>
                  <a:gd name="connsiteY521" fmla="*/ 315776 h 2962327"/>
                  <a:gd name="connsiteX522" fmla="*/ 797738 w 3028217"/>
                  <a:gd name="connsiteY522" fmla="*/ 314823 h 2962327"/>
                  <a:gd name="connsiteX523" fmla="*/ 831076 w 3028217"/>
                  <a:gd name="connsiteY523" fmla="*/ 316728 h 2962327"/>
                  <a:gd name="connsiteX524" fmla="*/ 841553 w 3028217"/>
                  <a:gd name="connsiteY524" fmla="*/ 277676 h 2962327"/>
                  <a:gd name="connsiteX525" fmla="*/ 852031 w 3028217"/>
                  <a:gd name="connsiteY525" fmla="*/ 259578 h 2962327"/>
                  <a:gd name="connsiteX526" fmla="*/ 867152 w 3028217"/>
                  <a:gd name="connsiteY526" fmla="*/ 248624 h 2962327"/>
                  <a:gd name="connsiteX527" fmla="*/ 876026 w 3028217"/>
                  <a:gd name="connsiteY527" fmla="*/ 238011 h 2962327"/>
                  <a:gd name="connsiteX528" fmla="*/ 858921 w 3028217"/>
                  <a:gd name="connsiteY528" fmla="*/ 241392 h 2962327"/>
                  <a:gd name="connsiteX529" fmla="*/ 821551 w 3028217"/>
                  <a:gd name="connsiteY529" fmla="*/ 210048 h 2962327"/>
                  <a:gd name="connsiteX530" fmla="*/ 857746 w 3028217"/>
                  <a:gd name="connsiteY530" fmla="*/ 190998 h 2962327"/>
                  <a:gd name="connsiteX531" fmla="*/ 873343 w 3028217"/>
                  <a:gd name="connsiteY531" fmla="*/ 184331 h 2962327"/>
                  <a:gd name="connsiteX532" fmla="*/ 798215 w 3028217"/>
                  <a:gd name="connsiteY532" fmla="*/ 181949 h 2962327"/>
                  <a:gd name="connsiteX533" fmla="*/ 805359 w 3028217"/>
                  <a:gd name="connsiteY533" fmla="*/ 187188 h 2962327"/>
                  <a:gd name="connsiteX534" fmla="*/ 795834 w 3028217"/>
                  <a:gd name="connsiteY534" fmla="*/ 196713 h 2962327"/>
                  <a:gd name="connsiteX535" fmla="*/ 788214 w 3028217"/>
                  <a:gd name="connsiteY535" fmla="*/ 182426 h 2962327"/>
                  <a:gd name="connsiteX536" fmla="*/ 798215 w 3028217"/>
                  <a:gd name="connsiteY536" fmla="*/ 181949 h 2962327"/>
                  <a:gd name="connsiteX537" fmla="*/ 938708 w 3028217"/>
                  <a:gd name="connsiteY537" fmla="*/ 121466 h 2962327"/>
                  <a:gd name="connsiteX538" fmla="*/ 952043 w 3028217"/>
                  <a:gd name="connsiteY538" fmla="*/ 141468 h 2962327"/>
                  <a:gd name="connsiteX539" fmla="*/ 951037 w 3028217"/>
                  <a:gd name="connsiteY539" fmla="*/ 142501 h 2962327"/>
                  <a:gd name="connsiteX540" fmla="*/ 953949 w 3028217"/>
                  <a:gd name="connsiteY540" fmla="*/ 140516 h 2962327"/>
                  <a:gd name="connsiteX541" fmla="*/ 952996 w 3028217"/>
                  <a:gd name="connsiteY541" fmla="*/ 148136 h 2962327"/>
                  <a:gd name="connsiteX542" fmla="*/ 952996 w 3028217"/>
                  <a:gd name="connsiteY542" fmla="*/ 169091 h 2962327"/>
                  <a:gd name="connsiteX543" fmla="*/ 944424 w 3028217"/>
                  <a:gd name="connsiteY543" fmla="*/ 159804 h 2962327"/>
                  <a:gd name="connsiteX544" fmla="*/ 933131 w 3028217"/>
                  <a:gd name="connsiteY544" fmla="*/ 154863 h 2962327"/>
                  <a:gd name="connsiteX545" fmla="*/ 931088 w 3028217"/>
                  <a:gd name="connsiteY545" fmla="*/ 155756 h 2962327"/>
                  <a:gd name="connsiteX546" fmla="*/ 930136 w 3028217"/>
                  <a:gd name="connsiteY546" fmla="*/ 155756 h 2962327"/>
                  <a:gd name="connsiteX547" fmla="*/ 918706 w 3028217"/>
                  <a:gd name="connsiteY547" fmla="*/ 144326 h 2962327"/>
                  <a:gd name="connsiteX548" fmla="*/ 931088 w 3028217"/>
                  <a:gd name="connsiteY548" fmla="*/ 122418 h 2962327"/>
                  <a:gd name="connsiteX549" fmla="*/ 938708 w 3028217"/>
                  <a:gd name="connsiteY549" fmla="*/ 121466 h 2962327"/>
                  <a:gd name="connsiteX550" fmla="*/ 925373 w 3028217"/>
                  <a:gd name="connsiteY550" fmla="*/ 107178 h 2962327"/>
                  <a:gd name="connsiteX551" fmla="*/ 938708 w 3028217"/>
                  <a:gd name="connsiteY551" fmla="*/ 121465 h 2962327"/>
                  <a:gd name="connsiteX552" fmla="*/ 935851 w 3028217"/>
                  <a:gd name="connsiteY552" fmla="*/ 121465 h 2962327"/>
                  <a:gd name="connsiteX553" fmla="*/ 932993 w 3028217"/>
                  <a:gd name="connsiteY553" fmla="*/ 121465 h 2962327"/>
                  <a:gd name="connsiteX554" fmla="*/ 901561 w 3028217"/>
                  <a:gd name="connsiteY554" fmla="*/ 123370 h 2962327"/>
                  <a:gd name="connsiteX555" fmla="*/ 925373 w 3028217"/>
                  <a:gd name="connsiteY555" fmla="*/ 107178 h 2962327"/>
                  <a:gd name="connsiteX556" fmla="*/ 1021576 w 3028217"/>
                  <a:gd name="connsiteY556" fmla="*/ 71936 h 2962327"/>
                  <a:gd name="connsiteX557" fmla="*/ 1031101 w 3028217"/>
                  <a:gd name="connsiteY557" fmla="*/ 97653 h 2962327"/>
                  <a:gd name="connsiteX558" fmla="*/ 1000621 w 3028217"/>
                  <a:gd name="connsiteY558" fmla="*/ 92891 h 2962327"/>
                  <a:gd name="connsiteX559" fmla="*/ 1007288 w 3028217"/>
                  <a:gd name="connsiteY559" fmla="*/ 79556 h 2962327"/>
                  <a:gd name="connsiteX560" fmla="*/ 1021576 w 3028217"/>
                  <a:gd name="connsiteY560" fmla="*/ 71936 h 2962327"/>
                  <a:gd name="connsiteX561" fmla="*/ 1113849 w 3028217"/>
                  <a:gd name="connsiteY561" fmla="*/ 40265 h 2962327"/>
                  <a:gd name="connsiteX562" fmla="*/ 1159689 w 3028217"/>
                  <a:gd name="connsiteY562" fmla="*/ 51933 h 2962327"/>
                  <a:gd name="connsiteX563" fmla="*/ 1151116 w 3028217"/>
                  <a:gd name="connsiteY563" fmla="*/ 84318 h 2962327"/>
                  <a:gd name="connsiteX564" fmla="*/ 1111111 w 3028217"/>
                  <a:gd name="connsiteY564" fmla="*/ 92891 h 2962327"/>
                  <a:gd name="connsiteX565" fmla="*/ 1070153 w 3028217"/>
                  <a:gd name="connsiteY565" fmla="*/ 58601 h 2962327"/>
                  <a:gd name="connsiteX566" fmla="*/ 1113849 w 3028217"/>
                  <a:gd name="connsiteY566" fmla="*/ 40265 h 2962327"/>
                  <a:gd name="connsiteX567" fmla="*/ 1400760 w 3028217"/>
                  <a:gd name="connsiteY567" fmla="*/ 96 h 2962327"/>
                  <a:gd name="connsiteX568" fmla="*/ 1476871 w 3028217"/>
                  <a:gd name="connsiteY568" fmla="*/ 5260 h 2962327"/>
                  <a:gd name="connsiteX569" fmla="*/ 1611174 w 3028217"/>
                  <a:gd name="connsiteY569" fmla="*/ 9070 h 2962327"/>
                  <a:gd name="connsiteX570" fmla="*/ 1619746 w 3028217"/>
                  <a:gd name="connsiteY570" fmla="*/ 17643 h 2962327"/>
                  <a:gd name="connsiteX571" fmla="*/ 1646416 w 3028217"/>
                  <a:gd name="connsiteY571" fmla="*/ 28120 h 2962327"/>
                  <a:gd name="connsiteX572" fmla="*/ 1667371 w 3028217"/>
                  <a:gd name="connsiteY572" fmla="*/ 31930 h 2962327"/>
                  <a:gd name="connsiteX573" fmla="*/ 1742261 w 3028217"/>
                  <a:gd name="connsiteY573" fmla="*/ 11690 h 2962327"/>
                  <a:gd name="connsiteX574" fmla="*/ 1820723 w 3028217"/>
                  <a:gd name="connsiteY574" fmla="*/ 30025 h 2962327"/>
                  <a:gd name="connsiteX575" fmla="*/ 1901686 w 3028217"/>
                  <a:gd name="connsiteY575" fmla="*/ 45265 h 2962327"/>
                  <a:gd name="connsiteX576" fmla="*/ 1894066 w 3028217"/>
                  <a:gd name="connsiteY576" fmla="*/ 69078 h 2962327"/>
                  <a:gd name="connsiteX577" fmla="*/ 1955978 w 3028217"/>
                  <a:gd name="connsiteY577" fmla="*/ 55743 h 2962327"/>
                  <a:gd name="connsiteX578" fmla="*/ 1954073 w 3028217"/>
                  <a:gd name="connsiteY578" fmla="*/ 71935 h 2962327"/>
                  <a:gd name="connsiteX579" fmla="*/ 1935976 w 3028217"/>
                  <a:gd name="connsiteY579" fmla="*/ 103368 h 2962327"/>
                  <a:gd name="connsiteX580" fmla="*/ 1949311 w 3028217"/>
                  <a:gd name="connsiteY580" fmla="*/ 161470 h 2962327"/>
                  <a:gd name="connsiteX581" fmla="*/ 1894066 w 3028217"/>
                  <a:gd name="connsiteY581" fmla="*/ 171948 h 2962327"/>
                  <a:gd name="connsiteX582" fmla="*/ 1913116 w 3028217"/>
                  <a:gd name="connsiteY582" fmla="*/ 183378 h 2962327"/>
                  <a:gd name="connsiteX583" fmla="*/ 1907401 w 3028217"/>
                  <a:gd name="connsiteY583" fmla="*/ 196713 h 2962327"/>
                  <a:gd name="connsiteX584" fmla="*/ 1873111 w 3028217"/>
                  <a:gd name="connsiteY584" fmla="*/ 245290 h 2962327"/>
                  <a:gd name="connsiteX585" fmla="*/ 1866443 w 3028217"/>
                  <a:gd name="connsiteY585" fmla="*/ 267198 h 2962327"/>
                  <a:gd name="connsiteX586" fmla="*/ 1851203 w 3028217"/>
                  <a:gd name="connsiteY586" fmla="*/ 270055 h 2962327"/>
                  <a:gd name="connsiteX587" fmla="*/ 1866443 w 3028217"/>
                  <a:gd name="connsiteY587" fmla="*/ 313870 h 2962327"/>
                  <a:gd name="connsiteX588" fmla="*/ 1843583 w 3028217"/>
                  <a:gd name="connsiteY588" fmla="*/ 319585 h 2962327"/>
                  <a:gd name="connsiteX589" fmla="*/ 1819771 w 3028217"/>
                  <a:gd name="connsiteY589" fmla="*/ 300535 h 2962327"/>
                  <a:gd name="connsiteX590" fmla="*/ 1788338 w 3028217"/>
                  <a:gd name="connsiteY590" fmla="*/ 313870 h 2962327"/>
                  <a:gd name="connsiteX591" fmla="*/ 1800721 w 3028217"/>
                  <a:gd name="connsiteY591" fmla="*/ 315775 h 2962327"/>
                  <a:gd name="connsiteX592" fmla="*/ 1823581 w 3028217"/>
                  <a:gd name="connsiteY592" fmla="*/ 314823 h 2962327"/>
                  <a:gd name="connsiteX593" fmla="*/ 1833106 w 3028217"/>
                  <a:gd name="connsiteY593" fmla="*/ 317680 h 2962327"/>
                  <a:gd name="connsiteX594" fmla="*/ 1838821 w 3028217"/>
                  <a:gd name="connsiteY594" fmla="*/ 334825 h 2962327"/>
                  <a:gd name="connsiteX595" fmla="*/ 1715948 w 3028217"/>
                  <a:gd name="connsiteY595" fmla="*/ 370068 h 2962327"/>
                  <a:gd name="connsiteX596" fmla="*/ 1691183 w 3028217"/>
                  <a:gd name="connsiteY596" fmla="*/ 379593 h 2962327"/>
                  <a:gd name="connsiteX597" fmla="*/ 1586408 w 3028217"/>
                  <a:gd name="connsiteY597" fmla="*/ 430075 h 2962327"/>
                  <a:gd name="connsiteX598" fmla="*/ 1542593 w 3028217"/>
                  <a:gd name="connsiteY598" fmla="*/ 468175 h 2962327"/>
                  <a:gd name="connsiteX599" fmla="*/ 1480681 w 3028217"/>
                  <a:gd name="connsiteY599" fmla="*/ 555805 h 2962327"/>
                  <a:gd name="connsiteX600" fmla="*/ 1462583 w 3028217"/>
                  <a:gd name="connsiteY600" fmla="*/ 562473 h 2962327"/>
                  <a:gd name="connsiteX601" fmla="*/ 1385431 w 3028217"/>
                  <a:gd name="connsiteY601" fmla="*/ 462460 h 2962327"/>
                  <a:gd name="connsiteX602" fmla="*/ 1379716 w 3028217"/>
                  <a:gd name="connsiteY602" fmla="*/ 398643 h 2962327"/>
                  <a:gd name="connsiteX603" fmla="*/ 1441628 w 3028217"/>
                  <a:gd name="connsiteY603" fmla="*/ 335778 h 2962327"/>
                  <a:gd name="connsiteX604" fmla="*/ 1449248 w 3028217"/>
                  <a:gd name="connsiteY604" fmla="*/ 321490 h 2962327"/>
                  <a:gd name="connsiteX605" fmla="*/ 1461631 w 3028217"/>
                  <a:gd name="connsiteY605" fmla="*/ 300535 h 2962327"/>
                  <a:gd name="connsiteX606" fmla="*/ 1412101 w 3028217"/>
                  <a:gd name="connsiteY606" fmla="*/ 280533 h 2962327"/>
                  <a:gd name="connsiteX607" fmla="*/ 1434961 w 3028217"/>
                  <a:gd name="connsiteY607" fmla="*/ 215763 h 2962327"/>
                  <a:gd name="connsiteX608" fmla="*/ 1371143 w 3028217"/>
                  <a:gd name="connsiteY608" fmla="*/ 160518 h 2962327"/>
                  <a:gd name="connsiteX609" fmla="*/ 1331138 w 3028217"/>
                  <a:gd name="connsiteY609" fmla="*/ 162423 h 2962327"/>
                  <a:gd name="connsiteX610" fmla="*/ 1303516 w 3028217"/>
                  <a:gd name="connsiteY610" fmla="*/ 150040 h 2962327"/>
                  <a:gd name="connsiteX611" fmla="*/ 1313993 w 3028217"/>
                  <a:gd name="connsiteY611" fmla="*/ 130038 h 2962327"/>
                  <a:gd name="connsiteX612" fmla="*/ 1313041 w 3028217"/>
                  <a:gd name="connsiteY612" fmla="*/ 121465 h 2962327"/>
                  <a:gd name="connsiteX613" fmla="*/ 1323518 w 3028217"/>
                  <a:gd name="connsiteY613" fmla="*/ 96700 h 2962327"/>
                  <a:gd name="connsiteX614" fmla="*/ 1387336 w 3028217"/>
                  <a:gd name="connsiteY614" fmla="*/ 88128 h 2962327"/>
                  <a:gd name="connsiteX615" fmla="*/ 1394003 w 3028217"/>
                  <a:gd name="connsiteY615" fmla="*/ 68125 h 2962327"/>
                  <a:gd name="connsiteX616" fmla="*/ 1445438 w 3028217"/>
                  <a:gd name="connsiteY616" fmla="*/ 41455 h 2962327"/>
                  <a:gd name="connsiteX617" fmla="*/ 1471104 w 3028217"/>
                  <a:gd name="connsiteY617" fmla="*/ 35589 h 2962327"/>
                  <a:gd name="connsiteX618" fmla="*/ 1469608 w 3028217"/>
                  <a:gd name="connsiteY618" fmla="*/ 35026 h 2962327"/>
                  <a:gd name="connsiteX619" fmla="*/ 1456869 w 3028217"/>
                  <a:gd name="connsiteY619" fmla="*/ 34788 h 2962327"/>
                  <a:gd name="connsiteX620" fmla="*/ 1365429 w 3028217"/>
                  <a:gd name="connsiteY620" fmla="*/ 60505 h 2962327"/>
                  <a:gd name="connsiteX621" fmla="*/ 1208266 w 3028217"/>
                  <a:gd name="connsiteY621" fmla="*/ 122418 h 2962327"/>
                  <a:gd name="connsiteX622" fmla="*/ 1175881 w 3028217"/>
                  <a:gd name="connsiteY622" fmla="*/ 122418 h 2962327"/>
                  <a:gd name="connsiteX623" fmla="*/ 1187311 w 3028217"/>
                  <a:gd name="connsiteY623" fmla="*/ 142420 h 2962327"/>
                  <a:gd name="connsiteX624" fmla="*/ 1180644 w 3028217"/>
                  <a:gd name="connsiteY624" fmla="*/ 149088 h 2962327"/>
                  <a:gd name="connsiteX625" fmla="*/ 1158647 w 3028217"/>
                  <a:gd name="connsiteY625" fmla="*/ 153642 h 2962327"/>
                  <a:gd name="connsiteX626" fmla="*/ 1143520 w 3028217"/>
                  <a:gd name="connsiteY626" fmla="*/ 152466 h 2962327"/>
                  <a:gd name="connsiteX627" fmla="*/ 1148259 w 3028217"/>
                  <a:gd name="connsiteY627" fmla="*/ 153731 h 2962327"/>
                  <a:gd name="connsiteX628" fmla="*/ 1152069 w 3028217"/>
                  <a:gd name="connsiteY628" fmla="*/ 175758 h 2962327"/>
                  <a:gd name="connsiteX629" fmla="*/ 1029196 w 3028217"/>
                  <a:gd name="connsiteY629" fmla="*/ 182425 h 2962327"/>
                  <a:gd name="connsiteX630" fmla="*/ 1006336 w 3028217"/>
                  <a:gd name="connsiteY630" fmla="*/ 148135 h 2962327"/>
                  <a:gd name="connsiteX631" fmla="*/ 995859 w 3028217"/>
                  <a:gd name="connsiteY631" fmla="*/ 134800 h 2962327"/>
                  <a:gd name="connsiteX632" fmla="*/ 987286 w 3028217"/>
                  <a:gd name="connsiteY632" fmla="*/ 114798 h 2962327"/>
                  <a:gd name="connsiteX633" fmla="*/ 1049199 w 3028217"/>
                  <a:gd name="connsiteY633" fmla="*/ 134800 h 2962327"/>
                  <a:gd name="connsiteX634" fmla="*/ 1064439 w 3028217"/>
                  <a:gd name="connsiteY634" fmla="*/ 149088 h 2962327"/>
                  <a:gd name="connsiteX635" fmla="*/ 1095871 w 3028217"/>
                  <a:gd name="connsiteY635" fmla="*/ 149326 h 2962327"/>
                  <a:gd name="connsiteX636" fmla="*/ 1106484 w 3028217"/>
                  <a:gd name="connsiteY636" fmla="*/ 148924 h 2962327"/>
                  <a:gd name="connsiteX637" fmla="*/ 1093014 w 3028217"/>
                  <a:gd name="connsiteY637" fmla="*/ 149088 h 2962327"/>
                  <a:gd name="connsiteX638" fmla="*/ 1062534 w 3028217"/>
                  <a:gd name="connsiteY638" fmla="*/ 131943 h 2962327"/>
                  <a:gd name="connsiteX639" fmla="*/ 1133971 w 3028217"/>
                  <a:gd name="connsiteY639" fmla="*/ 110988 h 2962327"/>
                  <a:gd name="connsiteX640" fmla="*/ 1158736 w 3028217"/>
                  <a:gd name="connsiteY640" fmla="*/ 88128 h 2962327"/>
                  <a:gd name="connsiteX641" fmla="*/ 1173024 w 3028217"/>
                  <a:gd name="connsiteY641" fmla="*/ 73840 h 2962327"/>
                  <a:gd name="connsiteX642" fmla="*/ 1214934 w 3028217"/>
                  <a:gd name="connsiteY642" fmla="*/ 54790 h 2962327"/>
                  <a:gd name="connsiteX643" fmla="*/ 1275894 w 3028217"/>
                  <a:gd name="connsiteY643" fmla="*/ 44313 h 2962327"/>
                  <a:gd name="connsiteX644" fmla="*/ 1211124 w 3028217"/>
                  <a:gd name="connsiteY644" fmla="*/ 51933 h 2962327"/>
                  <a:gd name="connsiteX645" fmla="*/ 1174929 w 3028217"/>
                  <a:gd name="connsiteY645" fmla="*/ 39550 h 2962327"/>
                  <a:gd name="connsiteX646" fmla="*/ 1174929 w 3028217"/>
                  <a:gd name="connsiteY646" fmla="*/ 26215 h 2962327"/>
                  <a:gd name="connsiteX647" fmla="*/ 1400760 w 3028217"/>
                  <a:gd name="connsiteY647" fmla="*/ 96 h 2962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</a:cxnLst>
                <a:rect l="l" t="t" r="r" b="b"/>
                <a:pathLst>
                  <a:path w="3028217" h="2962327">
                    <a:moveTo>
                      <a:pt x="2863236" y="2049564"/>
                    </a:moveTo>
                    <a:cubicBezTo>
                      <a:pt x="2854902" y="2049564"/>
                      <a:pt x="2847996" y="2053612"/>
                      <a:pt x="2844662" y="2065518"/>
                    </a:cubicBezTo>
                    <a:cubicBezTo>
                      <a:pt x="2840852" y="2080758"/>
                      <a:pt x="2821802" y="2104571"/>
                      <a:pt x="2847519" y="2116953"/>
                    </a:cubicBezTo>
                    <a:cubicBezTo>
                      <a:pt x="2878000" y="2131241"/>
                      <a:pt x="2877047" y="2098856"/>
                      <a:pt x="2887525" y="2084568"/>
                    </a:cubicBezTo>
                    <a:cubicBezTo>
                      <a:pt x="2888477" y="2083616"/>
                      <a:pt x="2889430" y="2080758"/>
                      <a:pt x="2890382" y="2078853"/>
                    </a:cubicBezTo>
                    <a:cubicBezTo>
                      <a:pt x="2895144" y="2071233"/>
                      <a:pt x="2896097" y="2064566"/>
                      <a:pt x="2890382" y="2057898"/>
                    </a:cubicBezTo>
                    <a:cubicBezTo>
                      <a:pt x="2881334" y="2053612"/>
                      <a:pt x="2871571" y="2049564"/>
                      <a:pt x="2863236" y="2049564"/>
                    </a:cubicBezTo>
                    <a:close/>
                    <a:moveTo>
                      <a:pt x="2453184" y="1703568"/>
                    </a:moveTo>
                    <a:cubicBezTo>
                      <a:pt x="2446516" y="1700711"/>
                      <a:pt x="2442706" y="1708331"/>
                      <a:pt x="2444611" y="1714046"/>
                    </a:cubicBezTo>
                    <a:cubicBezTo>
                      <a:pt x="2448421" y="1725476"/>
                      <a:pt x="2452231" y="1738811"/>
                      <a:pt x="2467471" y="1740716"/>
                    </a:cubicBezTo>
                    <a:cubicBezTo>
                      <a:pt x="2475091" y="1741668"/>
                      <a:pt x="2480806" y="1736906"/>
                      <a:pt x="2482711" y="1728333"/>
                    </a:cubicBezTo>
                    <a:cubicBezTo>
                      <a:pt x="2473186" y="1720713"/>
                      <a:pt x="2463661" y="1710236"/>
                      <a:pt x="2453184" y="1703568"/>
                    </a:cubicBezTo>
                    <a:close/>
                    <a:moveTo>
                      <a:pt x="802501" y="1583553"/>
                    </a:moveTo>
                    <a:cubicBezTo>
                      <a:pt x="805359" y="1585458"/>
                      <a:pt x="811074" y="1586410"/>
                      <a:pt x="812026" y="1589268"/>
                    </a:cubicBezTo>
                    <a:cubicBezTo>
                      <a:pt x="814884" y="1596888"/>
                      <a:pt x="807264" y="1597840"/>
                      <a:pt x="802501" y="1599745"/>
                    </a:cubicBezTo>
                    <a:cubicBezTo>
                      <a:pt x="797739" y="1601650"/>
                      <a:pt x="792976" y="1598793"/>
                      <a:pt x="792024" y="1594030"/>
                    </a:cubicBezTo>
                    <a:cubicBezTo>
                      <a:pt x="788214" y="1586410"/>
                      <a:pt x="794881" y="1585458"/>
                      <a:pt x="802501" y="1583553"/>
                    </a:cubicBezTo>
                    <a:close/>
                    <a:moveTo>
                      <a:pt x="573901" y="1577838"/>
                    </a:moveTo>
                    <a:cubicBezTo>
                      <a:pt x="581521" y="1579743"/>
                      <a:pt x="588189" y="1582600"/>
                      <a:pt x="592951" y="1589268"/>
                    </a:cubicBezTo>
                    <a:cubicBezTo>
                      <a:pt x="592951" y="1594982"/>
                      <a:pt x="589141" y="1596888"/>
                      <a:pt x="584379" y="1596888"/>
                    </a:cubicBezTo>
                    <a:cubicBezTo>
                      <a:pt x="575806" y="1597840"/>
                      <a:pt x="568186" y="1595935"/>
                      <a:pt x="565329" y="1587363"/>
                    </a:cubicBezTo>
                    <a:cubicBezTo>
                      <a:pt x="562471" y="1580695"/>
                      <a:pt x="568186" y="1576885"/>
                      <a:pt x="573901" y="1577838"/>
                    </a:cubicBezTo>
                    <a:close/>
                    <a:moveTo>
                      <a:pt x="698678" y="1550216"/>
                    </a:moveTo>
                    <a:cubicBezTo>
                      <a:pt x="729158" y="1545453"/>
                      <a:pt x="746303" y="1560693"/>
                      <a:pt x="763448" y="1592126"/>
                    </a:cubicBezTo>
                    <a:cubicBezTo>
                      <a:pt x="731063" y="1576886"/>
                      <a:pt x="706298" y="1611176"/>
                      <a:pt x="678676" y="1592126"/>
                    </a:cubicBezTo>
                    <a:cubicBezTo>
                      <a:pt x="675818" y="1573076"/>
                      <a:pt x="667246" y="1551168"/>
                      <a:pt x="698678" y="1550216"/>
                    </a:cubicBezTo>
                    <a:close/>
                    <a:moveTo>
                      <a:pt x="492939" y="1460681"/>
                    </a:moveTo>
                    <a:cubicBezTo>
                      <a:pt x="518656" y="1456871"/>
                      <a:pt x="541516" y="1464491"/>
                      <a:pt x="562471" y="1479731"/>
                    </a:cubicBezTo>
                    <a:cubicBezTo>
                      <a:pt x="590094" y="1499733"/>
                      <a:pt x="618669" y="1515926"/>
                      <a:pt x="646291" y="1537833"/>
                    </a:cubicBezTo>
                    <a:cubicBezTo>
                      <a:pt x="620574" y="1545453"/>
                      <a:pt x="593904" y="1560693"/>
                      <a:pt x="577711" y="1525451"/>
                    </a:cubicBezTo>
                    <a:cubicBezTo>
                      <a:pt x="567234" y="1503543"/>
                      <a:pt x="541516" y="1503543"/>
                      <a:pt x="527229" y="1487351"/>
                    </a:cubicBezTo>
                    <a:lnTo>
                      <a:pt x="525032" y="1486533"/>
                    </a:lnTo>
                    <a:lnTo>
                      <a:pt x="527229" y="1488303"/>
                    </a:lnTo>
                    <a:cubicBezTo>
                      <a:pt x="502464" y="1486398"/>
                      <a:pt x="475794" y="1465443"/>
                      <a:pt x="451029" y="1494971"/>
                    </a:cubicBezTo>
                    <a:cubicBezTo>
                      <a:pt x="453886" y="1467348"/>
                      <a:pt x="471984" y="1461633"/>
                      <a:pt x="492939" y="1460681"/>
                    </a:cubicBezTo>
                    <a:close/>
                    <a:moveTo>
                      <a:pt x="592475" y="1413889"/>
                    </a:moveTo>
                    <a:cubicBezTo>
                      <a:pt x="594380" y="1414008"/>
                      <a:pt x="596285" y="1414485"/>
                      <a:pt x="596761" y="1414961"/>
                    </a:cubicBezTo>
                    <a:cubicBezTo>
                      <a:pt x="605334" y="1423533"/>
                      <a:pt x="603428" y="1433058"/>
                      <a:pt x="595809" y="1447346"/>
                    </a:cubicBezTo>
                    <a:cubicBezTo>
                      <a:pt x="589141" y="1434011"/>
                      <a:pt x="579616" y="1426391"/>
                      <a:pt x="588189" y="1414961"/>
                    </a:cubicBezTo>
                    <a:cubicBezTo>
                      <a:pt x="588665" y="1414009"/>
                      <a:pt x="590570" y="1413770"/>
                      <a:pt x="592475" y="1413889"/>
                    </a:cubicBezTo>
                    <a:close/>
                    <a:moveTo>
                      <a:pt x="2633206" y="1174931"/>
                    </a:moveTo>
                    <a:cubicBezTo>
                      <a:pt x="2646541" y="1176836"/>
                      <a:pt x="2659876" y="1178741"/>
                      <a:pt x="2673211" y="1180646"/>
                    </a:cubicBezTo>
                    <a:cubicBezTo>
                      <a:pt x="2657018" y="1197791"/>
                      <a:pt x="2645588" y="1186361"/>
                      <a:pt x="2633206" y="1174931"/>
                    </a:cubicBezTo>
                    <a:close/>
                    <a:moveTo>
                      <a:pt x="2477948" y="1095873"/>
                    </a:moveTo>
                    <a:cubicBezTo>
                      <a:pt x="2477948" y="1101588"/>
                      <a:pt x="2478901" y="1106350"/>
                      <a:pt x="2484616" y="1110160"/>
                    </a:cubicBezTo>
                    <a:cubicBezTo>
                      <a:pt x="2478901" y="1119685"/>
                      <a:pt x="2464613" y="1121590"/>
                      <a:pt x="2464613" y="1135878"/>
                    </a:cubicBezTo>
                    <a:cubicBezTo>
                      <a:pt x="2464613" y="1153023"/>
                      <a:pt x="2454136" y="1151118"/>
                      <a:pt x="2444611" y="1144450"/>
                    </a:cubicBezTo>
                    <a:cubicBezTo>
                      <a:pt x="2434133" y="1136830"/>
                      <a:pt x="2413178" y="1133020"/>
                      <a:pt x="2415083" y="1119685"/>
                    </a:cubicBezTo>
                    <a:cubicBezTo>
                      <a:pt x="2417941" y="1101588"/>
                      <a:pt x="2436038" y="1116828"/>
                      <a:pt x="2446516" y="1114923"/>
                    </a:cubicBezTo>
                    <a:cubicBezTo>
                      <a:pt x="2458898" y="1112065"/>
                      <a:pt x="2470329" y="1106350"/>
                      <a:pt x="2477948" y="1095873"/>
                    </a:cubicBezTo>
                    <a:close/>
                    <a:moveTo>
                      <a:pt x="2344599" y="1039676"/>
                    </a:moveTo>
                    <a:cubicBezTo>
                      <a:pt x="2358886" y="1039676"/>
                      <a:pt x="2352219" y="1056821"/>
                      <a:pt x="2355076" y="1066346"/>
                    </a:cubicBezTo>
                    <a:cubicBezTo>
                      <a:pt x="2354124" y="1077776"/>
                      <a:pt x="2356981" y="1093016"/>
                      <a:pt x="2341741" y="1092063"/>
                    </a:cubicBezTo>
                    <a:cubicBezTo>
                      <a:pt x="2328406" y="1091111"/>
                      <a:pt x="2329359" y="1075871"/>
                      <a:pt x="2328406" y="1065393"/>
                    </a:cubicBezTo>
                    <a:cubicBezTo>
                      <a:pt x="2327454" y="1053011"/>
                      <a:pt x="2331264" y="1039676"/>
                      <a:pt x="2344599" y="1039676"/>
                    </a:cubicBezTo>
                    <a:close/>
                    <a:moveTo>
                      <a:pt x="699631" y="966334"/>
                    </a:moveTo>
                    <a:cubicBezTo>
                      <a:pt x="671056" y="960619"/>
                      <a:pt x="648196" y="971096"/>
                      <a:pt x="616764" y="992051"/>
                    </a:cubicBezTo>
                    <a:cubicBezTo>
                      <a:pt x="652959" y="990146"/>
                      <a:pt x="677724" y="983478"/>
                      <a:pt x="699631" y="966334"/>
                    </a:cubicBezTo>
                    <a:close/>
                    <a:moveTo>
                      <a:pt x="2786559" y="938711"/>
                    </a:moveTo>
                    <a:cubicBezTo>
                      <a:pt x="2796084" y="944426"/>
                      <a:pt x="2804656" y="939663"/>
                      <a:pt x="2814181" y="938711"/>
                    </a:cubicBezTo>
                    <a:cubicBezTo>
                      <a:pt x="2814181" y="940616"/>
                      <a:pt x="2814181" y="943473"/>
                      <a:pt x="2814181" y="945378"/>
                    </a:cubicBezTo>
                    <a:cubicBezTo>
                      <a:pt x="2803704" y="949188"/>
                      <a:pt x="2791321" y="959666"/>
                      <a:pt x="2786559" y="938711"/>
                    </a:cubicBezTo>
                    <a:close/>
                    <a:moveTo>
                      <a:pt x="737731" y="935019"/>
                    </a:moveTo>
                    <a:cubicBezTo>
                      <a:pt x="726540" y="936091"/>
                      <a:pt x="714872" y="940139"/>
                      <a:pt x="702489" y="951093"/>
                    </a:cubicBezTo>
                    <a:cubicBezTo>
                      <a:pt x="731064" y="951093"/>
                      <a:pt x="753924" y="958713"/>
                      <a:pt x="770116" y="936805"/>
                    </a:cubicBezTo>
                    <a:cubicBezTo>
                      <a:pt x="759639" y="935853"/>
                      <a:pt x="748923" y="933948"/>
                      <a:pt x="737731" y="935019"/>
                    </a:cubicBezTo>
                    <a:close/>
                    <a:moveTo>
                      <a:pt x="619383" y="880251"/>
                    </a:moveTo>
                    <a:cubicBezTo>
                      <a:pt x="616526" y="879417"/>
                      <a:pt x="612477" y="880608"/>
                      <a:pt x="608191" y="882513"/>
                    </a:cubicBezTo>
                    <a:cubicBezTo>
                      <a:pt x="589141" y="887276"/>
                      <a:pt x="539611" y="951093"/>
                      <a:pt x="541516" y="968238"/>
                    </a:cubicBezTo>
                    <a:cubicBezTo>
                      <a:pt x="543421" y="979668"/>
                      <a:pt x="550089" y="980621"/>
                      <a:pt x="558661" y="975858"/>
                    </a:cubicBezTo>
                    <a:cubicBezTo>
                      <a:pt x="569139" y="970143"/>
                      <a:pt x="576759" y="960618"/>
                      <a:pt x="578664" y="949188"/>
                    </a:cubicBezTo>
                    <a:cubicBezTo>
                      <a:pt x="582474" y="920613"/>
                      <a:pt x="601524" y="904421"/>
                      <a:pt x="623431" y="890133"/>
                    </a:cubicBezTo>
                    <a:cubicBezTo>
                      <a:pt x="623907" y="883942"/>
                      <a:pt x="622241" y="881084"/>
                      <a:pt x="619383" y="880251"/>
                    </a:cubicBezTo>
                    <a:close/>
                    <a:moveTo>
                      <a:pt x="659626" y="872036"/>
                    </a:moveTo>
                    <a:cubicBezTo>
                      <a:pt x="653911" y="870131"/>
                      <a:pt x="645339" y="876798"/>
                      <a:pt x="647244" y="879656"/>
                    </a:cubicBezTo>
                    <a:cubicBezTo>
                      <a:pt x="657721" y="901563"/>
                      <a:pt x="632956" y="928233"/>
                      <a:pt x="657721" y="950141"/>
                    </a:cubicBezTo>
                    <a:cubicBezTo>
                      <a:pt x="667246" y="936806"/>
                      <a:pt x="676771" y="926328"/>
                      <a:pt x="683439" y="913946"/>
                    </a:cubicBezTo>
                    <a:cubicBezTo>
                      <a:pt x="691059" y="897753"/>
                      <a:pt x="704394" y="924423"/>
                      <a:pt x="711061" y="910136"/>
                    </a:cubicBezTo>
                    <a:cubicBezTo>
                      <a:pt x="713919" y="903468"/>
                      <a:pt x="713919" y="896801"/>
                      <a:pt x="709156" y="891086"/>
                    </a:cubicBezTo>
                    <a:cubicBezTo>
                      <a:pt x="696774" y="875846"/>
                      <a:pt x="676771" y="876798"/>
                      <a:pt x="659626" y="872036"/>
                    </a:cubicBezTo>
                    <a:close/>
                    <a:moveTo>
                      <a:pt x="620410" y="803828"/>
                    </a:moveTo>
                    <a:cubicBezTo>
                      <a:pt x="614918" y="803575"/>
                      <a:pt x="609144" y="804646"/>
                      <a:pt x="603429" y="807266"/>
                    </a:cubicBezTo>
                    <a:cubicBezTo>
                      <a:pt x="579616" y="817743"/>
                      <a:pt x="555804" y="830126"/>
                      <a:pt x="532944" y="841556"/>
                    </a:cubicBezTo>
                    <a:cubicBezTo>
                      <a:pt x="530086" y="850128"/>
                      <a:pt x="536754" y="852033"/>
                      <a:pt x="541516" y="855843"/>
                    </a:cubicBezTo>
                    <a:cubicBezTo>
                      <a:pt x="561519" y="852986"/>
                      <a:pt x="579616" y="838698"/>
                      <a:pt x="602476" y="859653"/>
                    </a:cubicBezTo>
                    <a:cubicBezTo>
                      <a:pt x="617716" y="874893"/>
                      <a:pt x="654864" y="853938"/>
                      <a:pt x="652959" y="835841"/>
                    </a:cubicBezTo>
                    <a:cubicBezTo>
                      <a:pt x="650815" y="817267"/>
                      <a:pt x="636885" y="804587"/>
                      <a:pt x="620410" y="803828"/>
                    </a:cubicBezTo>
                    <a:close/>
                    <a:moveTo>
                      <a:pt x="2051228" y="690108"/>
                    </a:moveTo>
                    <a:cubicBezTo>
                      <a:pt x="2066468" y="695823"/>
                      <a:pt x="2079803" y="697728"/>
                      <a:pt x="2074088" y="722493"/>
                    </a:cubicBezTo>
                    <a:cubicBezTo>
                      <a:pt x="2066468" y="753925"/>
                      <a:pt x="2053133" y="773928"/>
                      <a:pt x="2021701" y="782500"/>
                    </a:cubicBezTo>
                    <a:cubicBezTo>
                      <a:pt x="2009318" y="785358"/>
                      <a:pt x="1997888" y="785358"/>
                      <a:pt x="2000746" y="772023"/>
                    </a:cubicBezTo>
                    <a:cubicBezTo>
                      <a:pt x="2006461" y="745353"/>
                      <a:pt x="2008366" y="714873"/>
                      <a:pt x="2036941" y="698680"/>
                    </a:cubicBezTo>
                    <a:cubicBezTo>
                      <a:pt x="2040751" y="694870"/>
                      <a:pt x="2045513" y="692965"/>
                      <a:pt x="2051228" y="690108"/>
                    </a:cubicBezTo>
                    <a:close/>
                    <a:moveTo>
                      <a:pt x="2111236" y="608669"/>
                    </a:moveTo>
                    <a:cubicBezTo>
                      <a:pt x="2115046" y="609621"/>
                      <a:pt x="2116951" y="613431"/>
                      <a:pt x="2113141" y="623433"/>
                    </a:cubicBezTo>
                    <a:cubicBezTo>
                      <a:pt x="2113141" y="624385"/>
                      <a:pt x="2112189" y="625338"/>
                      <a:pt x="2111236" y="626290"/>
                    </a:cubicBezTo>
                    <a:cubicBezTo>
                      <a:pt x="2147431" y="643435"/>
                      <a:pt x="2126476" y="692013"/>
                      <a:pt x="2159814" y="711063"/>
                    </a:cubicBezTo>
                    <a:cubicBezTo>
                      <a:pt x="2178864" y="721540"/>
                      <a:pt x="2174101" y="752020"/>
                      <a:pt x="2199819" y="758688"/>
                    </a:cubicBezTo>
                    <a:cubicBezTo>
                      <a:pt x="2206486" y="760593"/>
                      <a:pt x="2189341" y="798693"/>
                      <a:pt x="2176959" y="800598"/>
                    </a:cubicBezTo>
                    <a:cubicBezTo>
                      <a:pt x="2149336" y="805360"/>
                      <a:pt x="2120761" y="810123"/>
                      <a:pt x="2092186" y="814885"/>
                    </a:cubicBezTo>
                    <a:cubicBezTo>
                      <a:pt x="2089329" y="799645"/>
                      <a:pt x="2128381" y="789168"/>
                      <a:pt x="2092186" y="777738"/>
                    </a:cubicBezTo>
                    <a:cubicBezTo>
                      <a:pt x="2098854" y="765355"/>
                      <a:pt x="2098854" y="749163"/>
                      <a:pt x="2111236" y="740590"/>
                    </a:cubicBezTo>
                    <a:cubicBezTo>
                      <a:pt x="2127429" y="729160"/>
                      <a:pt x="2118856" y="712015"/>
                      <a:pt x="2110284" y="710110"/>
                    </a:cubicBezTo>
                    <a:cubicBezTo>
                      <a:pt x="2086471" y="705348"/>
                      <a:pt x="2087424" y="682488"/>
                      <a:pt x="2076946" y="669153"/>
                    </a:cubicBezTo>
                    <a:cubicBezTo>
                      <a:pt x="2062659" y="651055"/>
                      <a:pt x="2076946" y="617718"/>
                      <a:pt x="2097901" y="611050"/>
                    </a:cubicBezTo>
                    <a:cubicBezTo>
                      <a:pt x="2101711" y="609621"/>
                      <a:pt x="2107426" y="607716"/>
                      <a:pt x="2111236" y="608669"/>
                    </a:cubicBezTo>
                    <a:close/>
                    <a:moveTo>
                      <a:pt x="927279" y="479605"/>
                    </a:moveTo>
                    <a:cubicBezTo>
                      <a:pt x="932041" y="477700"/>
                      <a:pt x="935851" y="480558"/>
                      <a:pt x="933946" y="486273"/>
                    </a:cubicBezTo>
                    <a:cubicBezTo>
                      <a:pt x="932041" y="490083"/>
                      <a:pt x="929184" y="492941"/>
                      <a:pt x="929184" y="493893"/>
                    </a:cubicBezTo>
                    <a:cubicBezTo>
                      <a:pt x="919659" y="493893"/>
                      <a:pt x="917754" y="491035"/>
                      <a:pt x="919659" y="488178"/>
                    </a:cubicBezTo>
                    <a:cubicBezTo>
                      <a:pt x="921564" y="484368"/>
                      <a:pt x="924421" y="480558"/>
                      <a:pt x="927279" y="479605"/>
                    </a:cubicBezTo>
                    <a:close/>
                    <a:moveTo>
                      <a:pt x="1938089" y="417931"/>
                    </a:moveTo>
                    <a:cubicBezTo>
                      <a:pt x="1948537" y="420431"/>
                      <a:pt x="1955503" y="431504"/>
                      <a:pt x="1959789" y="441505"/>
                    </a:cubicBezTo>
                    <a:cubicBezTo>
                      <a:pt x="1967409" y="457698"/>
                      <a:pt x="1952169" y="461508"/>
                      <a:pt x="1940739" y="466270"/>
                    </a:cubicBezTo>
                    <a:cubicBezTo>
                      <a:pt x="1909306" y="478653"/>
                      <a:pt x="1880731" y="501513"/>
                      <a:pt x="1842631" y="480558"/>
                    </a:cubicBezTo>
                    <a:cubicBezTo>
                      <a:pt x="1829296" y="472938"/>
                      <a:pt x="1832154" y="467223"/>
                      <a:pt x="1832154" y="458650"/>
                    </a:cubicBezTo>
                    <a:cubicBezTo>
                      <a:pt x="1828344" y="450078"/>
                      <a:pt x="1835964" y="442458"/>
                      <a:pt x="1833106" y="431980"/>
                    </a:cubicBezTo>
                    <a:cubicBezTo>
                      <a:pt x="1828344" y="420550"/>
                      <a:pt x="1835011" y="416740"/>
                      <a:pt x="1845489" y="423408"/>
                    </a:cubicBezTo>
                    <a:cubicBezTo>
                      <a:pt x="1847394" y="430075"/>
                      <a:pt x="1849299" y="439600"/>
                      <a:pt x="1857871" y="432933"/>
                    </a:cubicBezTo>
                    <a:cubicBezTo>
                      <a:pt x="1878826" y="418645"/>
                      <a:pt x="1903591" y="426265"/>
                      <a:pt x="1926451" y="418645"/>
                    </a:cubicBezTo>
                    <a:cubicBezTo>
                      <a:pt x="1930737" y="417216"/>
                      <a:pt x="1934607" y="417097"/>
                      <a:pt x="1938089" y="417931"/>
                    </a:cubicBezTo>
                    <a:close/>
                    <a:moveTo>
                      <a:pt x="904419" y="389118"/>
                    </a:moveTo>
                    <a:cubicBezTo>
                      <a:pt x="915849" y="404358"/>
                      <a:pt x="928231" y="418646"/>
                      <a:pt x="938709" y="433886"/>
                    </a:cubicBezTo>
                    <a:cubicBezTo>
                      <a:pt x="940614" y="436743"/>
                      <a:pt x="940614" y="441505"/>
                      <a:pt x="942519" y="446268"/>
                    </a:cubicBezTo>
                    <a:cubicBezTo>
                      <a:pt x="938709" y="447221"/>
                      <a:pt x="932041" y="450078"/>
                      <a:pt x="931089" y="449125"/>
                    </a:cubicBezTo>
                    <a:cubicBezTo>
                      <a:pt x="912991" y="426266"/>
                      <a:pt x="896799" y="440553"/>
                      <a:pt x="878701" y="449125"/>
                    </a:cubicBezTo>
                    <a:cubicBezTo>
                      <a:pt x="871081" y="452936"/>
                      <a:pt x="863461" y="446268"/>
                      <a:pt x="856794" y="443411"/>
                    </a:cubicBezTo>
                    <a:cubicBezTo>
                      <a:pt x="835839" y="424361"/>
                      <a:pt x="864414" y="422455"/>
                      <a:pt x="867271" y="412930"/>
                    </a:cubicBezTo>
                    <a:cubicBezTo>
                      <a:pt x="878701" y="402453"/>
                      <a:pt x="887274" y="388166"/>
                      <a:pt x="904419" y="389118"/>
                    </a:cubicBezTo>
                    <a:close/>
                    <a:moveTo>
                      <a:pt x="1062534" y="340541"/>
                    </a:moveTo>
                    <a:cubicBezTo>
                      <a:pt x="1073011" y="340541"/>
                      <a:pt x="1082536" y="340541"/>
                      <a:pt x="1083489" y="353876"/>
                    </a:cubicBezTo>
                    <a:cubicBezTo>
                      <a:pt x="1073964" y="356733"/>
                      <a:pt x="1066344" y="373878"/>
                      <a:pt x="1053961" y="360543"/>
                    </a:cubicBezTo>
                    <a:cubicBezTo>
                      <a:pt x="1045389" y="351018"/>
                      <a:pt x="1054914" y="345303"/>
                      <a:pt x="1062534" y="340541"/>
                    </a:cubicBezTo>
                    <a:close/>
                    <a:moveTo>
                      <a:pt x="2471113" y="336025"/>
                    </a:moveTo>
                    <a:cubicBezTo>
                      <a:pt x="2489315" y="339763"/>
                      <a:pt x="2505689" y="355066"/>
                      <a:pt x="2521763" y="370068"/>
                    </a:cubicBezTo>
                    <a:cubicBezTo>
                      <a:pt x="2652256" y="491988"/>
                      <a:pt x="2764651" y="627243"/>
                      <a:pt x="2848471" y="785358"/>
                    </a:cubicBezTo>
                    <a:cubicBezTo>
                      <a:pt x="2875141" y="835841"/>
                      <a:pt x="2898953" y="887276"/>
                      <a:pt x="2920861" y="940616"/>
                    </a:cubicBezTo>
                    <a:cubicBezTo>
                      <a:pt x="2925623" y="952046"/>
                      <a:pt x="2938006" y="963476"/>
                      <a:pt x="2926576" y="977763"/>
                    </a:cubicBezTo>
                    <a:cubicBezTo>
                      <a:pt x="2893238" y="978716"/>
                      <a:pt x="2872283" y="955856"/>
                      <a:pt x="2847518" y="938711"/>
                    </a:cubicBezTo>
                    <a:cubicBezTo>
                      <a:pt x="2844661" y="919661"/>
                      <a:pt x="2858948" y="906326"/>
                      <a:pt x="2864663" y="890133"/>
                    </a:cubicBezTo>
                    <a:cubicBezTo>
                      <a:pt x="2846566" y="892991"/>
                      <a:pt x="2829421" y="903468"/>
                      <a:pt x="2810371" y="908231"/>
                    </a:cubicBezTo>
                    <a:cubicBezTo>
                      <a:pt x="2792273" y="911088"/>
                      <a:pt x="2774176" y="912041"/>
                      <a:pt x="2757031" y="904421"/>
                    </a:cubicBezTo>
                    <a:cubicBezTo>
                      <a:pt x="2741791" y="897753"/>
                      <a:pt x="2733218" y="902516"/>
                      <a:pt x="2728456" y="916803"/>
                    </a:cubicBezTo>
                    <a:cubicBezTo>
                      <a:pt x="2724646" y="935853"/>
                      <a:pt x="2713216" y="952998"/>
                      <a:pt x="2707501" y="971096"/>
                    </a:cubicBezTo>
                    <a:cubicBezTo>
                      <a:pt x="2702738" y="984431"/>
                      <a:pt x="2699881" y="997766"/>
                      <a:pt x="2706548" y="1011101"/>
                    </a:cubicBezTo>
                    <a:cubicBezTo>
                      <a:pt x="2712263" y="1021578"/>
                      <a:pt x="2722741" y="1031103"/>
                      <a:pt x="2712263" y="1044438"/>
                    </a:cubicBezTo>
                    <a:cubicBezTo>
                      <a:pt x="2722979" y="1032294"/>
                      <a:pt x="2735302" y="1023900"/>
                      <a:pt x="2750438" y="1026892"/>
                    </a:cubicBezTo>
                    <a:lnTo>
                      <a:pt x="2757317" y="1029909"/>
                    </a:lnTo>
                    <a:lnTo>
                      <a:pt x="2760842" y="1028246"/>
                    </a:lnTo>
                    <a:cubicBezTo>
                      <a:pt x="2768462" y="1021578"/>
                      <a:pt x="2775130" y="1013006"/>
                      <a:pt x="2785607" y="1010148"/>
                    </a:cubicBezTo>
                    <a:cubicBezTo>
                      <a:pt x="2791798" y="1008243"/>
                      <a:pt x="2798228" y="1006814"/>
                      <a:pt x="2804538" y="1006457"/>
                    </a:cubicBezTo>
                    <a:cubicBezTo>
                      <a:pt x="2810848" y="1006100"/>
                      <a:pt x="2817040" y="1006814"/>
                      <a:pt x="2822755" y="1009196"/>
                    </a:cubicBezTo>
                    <a:cubicBezTo>
                      <a:pt x="2859902" y="1023483"/>
                      <a:pt x="2898955" y="1027293"/>
                      <a:pt x="2938959" y="1031103"/>
                    </a:cubicBezTo>
                    <a:cubicBezTo>
                      <a:pt x="2955152" y="1033008"/>
                      <a:pt x="2957057" y="1047296"/>
                      <a:pt x="2959915" y="1058726"/>
                    </a:cubicBezTo>
                    <a:cubicBezTo>
                      <a:pt x="2990394" y="1159691"/>
                      <a:pt x="3010397" y="1262561"/>
                      <a:pt x="3021827" y="1368288"/>
                    </a:cubicBezTo>
                    <a:cubicBezTo>
                      <a:pt x="3029447" y="1433058"/>
                      <a:pt x="3025637" y="1497828"/>
                      <a:pt x="3027542" y="1562598"/>
                    </a:cubicBezTo>
                    <a:cubicBezTo>
                      <a:pt x="3027542" y="1573076"/>
                      <a:pt x="3031352" y="1585458"/>
                      <a:pt x="3020874" y="1594983"/>
                    </a:cubicBezTo>
                    <a:cubicBezTo>
                      <a:pt x="2992299" y="1573076"/>
                      <a:pt x="2963724" y="1551168"/>
                      <a:pt x="2958009" y="1512116"/>
                    </a:cubicBezTo>
                    <a:cubicBezTo>
                      <a:pt x="2954199" y="1483541"/>
                      <a:pt x="2933244" y="1467348"/>
                      <a:pt x="2918005" y="1446393"/>
                    </a:cubicBezTo>
                    <a:cubicBezTo>
                      <a:pt x="2898955" y="1421628"/>
                      <a:pt x="2888477" y="1390196"/>
                      <a:pt x="2860855" y="1371146"/>
                    </a:cubicBezTo>
                    <a:cubicBezTo>
                      <a:pt x="2846567" y="1368288"/>
                      <a:pt x="2836089" y="1359716"/>
                      <a:pt x="2831327" y="1343523"/>
                    </a:cubicBezTo>
                    <a:cubicBezTo>
                      <a:pt x="2835137" y="1360668"/>
                      <a:pt x="2849424" y="1368288"/>
                      <a:pt x="2856092" y="1380671"/>
                    </a:cubicBezTo>
                    <a:cubicBezTo>
                      <a:pt x="2882762" y="1424486"/>
                      <a:pt x="2896097" y="1474968"/>
                      <a:pt x="2930387" y="1514021"/>
                    </a:cubicBezTo>
                    <a:cubicBezTo>
                      <a:pt x="2938007" y="1522593"/>
                      <a:pt x="2938959" y="1534976"/>
                      <a:pt x="2939912" y="1546406"/>
                    </a:cubicBezTo>
                    <a:cubicBezTo>
                      <a:pt x="2941817" y="1566408"/>
                      <a:pt x="2950390" y="1582601"/>
                      <a:pt x="2962772" y="1597841"/>
                    </a:cubicBezTo>
                    <a:cubicBezTo>
                      <a:pt x="2983727" y="1622606"/>
                      <a:pt x="2993252" y="1652133"/>
                      <a:pt x="2999919" y="1683566"/>
                    </a:cubicBezTo>
                    <a:cubicBezTo>
                      <a:pt x="3023732" y="1698806"/>
                      <a:pt x="3015159" y="1721666"/>
                      <a:pt x="3012302" y="1740716"/>
                    </a:cubicBezTo>
                    <a:cubicBezTo>
                      <a:pt x="2988490" y="1885496"/>
                      <a:pt x="2951342" y="2026466"/>
                      <a:pt x="2886572" y="2158864"/>
                    </a:cubicBezTo>
                    <a:cubicBezTo>
                      <a:pt x="2872284" y="2188391"/>
                      <a:pt x="2858949" y="2218871"/>
                      <a:pt x="2841805" y="2246493"/>
                    </a:cubicBezTo>
                    <a:cubicBezTo>
                      <a:pt x="2837042" y="2255066"/>
                      <a:pt x="2835137" y="2266496"/>
                      <a:pt x="2821802" y="2266496"/>
                    </a:cubicBezTo>
                    <a:cubicBezTo>
                      <a:pt x="2812277" y="2260781"/>
                      <a:pt x="2812277" y="2249351"/>
                      <a:pt x="2808467" y="2240778"/>
                    </a:cubicBezTo>
                    <a:cubicBezTo>
                      <a:pt x="2794180" y="2222681"/>
                      <a:pt x="2796084" y="2198868"/>
                      <a:pt x="2785607" y="2172198"/>
                    </a:cubicBezTo>
                    <a:cubicBezTo>
                      <a:pt x="2795132" y="2196011"/>
                      <a:pt x="2791322" y="2217918"/>
                      <a:pt x="2805609" y="2234111"/>
                    </a:cubicBezTo>
                    <a:cubicBezTo>
                      <a:pt x="2812277" y="2246493"/>
                      <a:pt x="2811324" y="2261733"/>
                      <a:pt x="2821802" y="2273164"/>
                    </a:cubicBezTo>
                    <a:cubicBezTo>
                      <a:pt x="2795132" y="2339839"/>
                      <a:pt x="2750364" y="2394131"/>
                      <a:pt x="2708455" y="2451281"/>
                    </a:cubicBezTo>
                    <a:cubicBezTo>
                      <a:pt x="2661782" y="2514146"/>
                      <a:pt x="2606537" y="2568439"/>
                      <a:pt x="2551292" y="2622731"/>
                    </a:cubicBezTo>
                    <a:cubicBezTo>
                      <a:pt x="2527480" y="2646543"/>
                      <a:pt x="2502714" y="2666546"/>
                      <a:pt x="2476997" y="2687501"/>
                    </a:cubicBezTo>
                    <a:cubicBezTo>
                      <a:pt x="2465567" y="2677976"/>
                      <a:pt x="2476997" y="2661783"/>
                      <a:pt x="2463662" y="2655116"/>
                    </a:cubicBezTo>
                    <a:cubicBezTo>
                      <a:pt x="2469377" y="2608443"/>
                      <a:pt x="2446517" y="2570343"/>
                      <a:pt x="2425562" y="2533196"/>
                    </a:cubicBezTo>
                    <a:cubicBezTo>
                      <a:pt x="2392224" y="2475093"/>
                      <a:pt x="2414132" y="2424611"/>
                      <a:pt x="2439849" y="2375081"/>
                    </a:cubicBezTo>
                    <a:cubicBezTo>
                      <a:pt x="2453184" y="2349364"/>
                      <a:pt x="2458899" y="2330314"/>
                      <a:pt x="2449374" y="2301739"/>
                    </a:cubicBezTo>
                    <a:cubicBezTo>
                      <a:pt x="2439849" y="2272211"/>
                      <a:pt x="2442707" y="2240778"/>
                      <a:pt x="2430324" y="2210298"/>
                    </a:cubicBezTo>
                    <a:cubicBezTo>
                      <a:pt x="2420799" y="2187439"/>
                      <a:pt x="2416989" y="2160768"/>
                      <a:pt x="2396987" y="2144576"/>
                    </a:cubicBezTo>
                    <a:cubicBezTo>
                      <a:pt x="2352219" y="2107428"/>
                      <a:pt x="2357934" y="2060756"/>
                      <a:pt x="2370317" y="2012178"/>
                    </a:cubicBezTo>
                    <a:cubicBezTo>
                      <a:pt x="2372222" y="2005511"/>
                      <a:pt x="2374127" y="1998843"/>
                      <a:pt x="2374127" y="1992176"/>
                    </a:cubicBezTo>
                    <a:cubicBezTo>
                      <a:pt x="2376984" y="1954076"/>
                      <a:pt x="2356982" y="1935978"/>
                      <a:pt x="2319834" y="1944551"/>
                    </a:cubicBezTo>
                    <a:cubicBezTo>
                      <a:pt x="2303642" y="1948361"/>
                      <a:pt x="2292212" y="1948361"/>
                      <a:pt x="2282687" y="1931216"/>
                    </a:cubicBezTo>
                    <a:cubicBezTo>
                      <a:pt x="2263637" y="1897878"/>
                      <a:pt x="2235062" y="1889306"/>
                      <a:pt x="2200772" y="1905498"/>
                    </a:cubicBezTo>
                    <a:cubicBezTo>
                      <a:pt x="2186484" y="1912166"/>
                      <a:pt x="2171244" y="1918833"/>
                      <a:pt x="2157909" y="1926453"/>
                    </a:cubicBezTo>
                    <a:cubicBezTo>
                      <a:pt x="2140764" y="1935978"/>
                      <a:pt x="2124572" y="1938836"/>
                      <a:pt x="2106474" y="1931216"/>
                    </a:cubicBezTo>
                    <a:cubicBezTo>
                      <a:pt x="2083614" y="1921691"/>
                      <a:pt x="2059802" y="1925501"/>
                      <a:pt x="2040752" y="1937883"/>
                    </a:cubicBezTo>
                    <a:cubicBezTo>
                      <a:pt x="2012177" y="1956933"/>
                      <a:pt x="1991222" y="1941693"/>
                      <a:pt x="1974077" y="1924548"/>
                    </a:cubicBezTo>
                    <a:cubicBezTo>
                      <a:pt x="1956932" y="1907403"/>
                      <a:pt x="1938834" y="1892163"/>
                      <a:pt x="1919784" y="1877876"/>
                    </a:cubicBezTo>
                    <a:cubicBezTo>
                      <a:pt x="1909307" y="1870256"/>
                      <a:pt x="1899782" y="1861683"/>
                      <a:pt x="1896924" y="1849301"/>
                    </a:cubicBezTo>
                    <a:cubicBezTo>
                      <a:pt x="1889304" y="1812153"/>
                      <a:pt x="1862634" y="1789293"/>
                      <a:pt x="1839774" y="1762623"/>
                    </a:cubicBezTo>
                    <a:cubicBezTo>
                      <a:pt x="1827392" y="1748336"/>
                      <a:pt x="1815962" y="1694043"/>
                      <a:pt x="1822629" y="1676898"/>
                    </a:cubicBezTo>
                    <a:cubicBezTo>
                      <a:pt x="1840727" y="1632131"/>
                      <a:pt x="1846442" y="1585458"/>
                      <a:pt x="1829297" y="1537833"/>
                    </a:cubicBezTo>
                    <a:cubicBezTo>
                      <a:pt x="1826439" y="1530213"/>
                      <a:pt x="1823582" y="1522593"/>
                      <a:pt x="1828344" y="1514973"/>
                    </a:cubicBezTo>
                    <a:cubicBezTo>
                      <a:pt x="1854062" y="1466396"/>
                      <a:pt x="1875017" y="1416866"/>
                      <a:pt x="1909307" y="1373051"/>
                    </a:cubicBezTo>
                    <a:cubicBezTo>
                      <a:pt x="1915022" y="1366383"/>
                      <a:pt x="1923594" y="1365431"/>
                      <a:pt x="1929309" y="1361621"/>
                    </a:cubicBezTo>
                    <a:cubicBezTo>
                      <a:pt x="1954074" y="1345428"/>
                      <a:pt x="1976934" y="1330188"/>
                      <a:pt x="1977887" y="1293041"/>
                    </a:cubicBezTo>
                    <a:cubicBezTo>
                      <a:pt x="1978839" y="1267323"/>
                      <a:pt x="1992174" y="1239701"/>
                      <a:pt x="2019797" y="1227318"/>
                    </a:cubicBezTo>
                    <a:cubicBezTo>
                      <a:pt x="2040752" y="1217793"/>
                      <a:pt x="2050277" y="1201601"/>
                      <a:pt x="2051229" y="1178741"/>
                    </a:cubicBezTo>
                    <a:cubicBezTo>
                      <a:pt x="2058849" y="1162548"/>
                      <a:pt x="2071232" y="1167311"/>
                      <a:pt x="2083614" y="1172073"/>
                    </a:cubicBezTo>
                    <a:cubicBezTo>
                      <a:pt x="2111237" y="1181598"/>
                      <a:pt x="2136002" y="1178741"/>
                      <a:pt x="2161719" y="1162548"/>
                    </a:cubicBezTo>
                    <a:cubicBezTo>
                      <a:pt x="2193152" y="1142546"/>
                      <a:pt x="2229347" y="1134926"/>
                      <a:pt x="2266494" y="1136831"/>
                    </a:cubicBezTo>
                    <a:cubicBezTo>
                      <a:pt x="2288402" y="1137783"/>
                      <a:pt x="2310309" y="1137783"/>
                      <a:pt x="2331264" y="1133021"/>
                    </a:cubicBezTo>
                    <a:cubicBezTo>
                      <a:pt x="2370317" y="1123496"/>
                      <a:pt x="2397939" y="1138736"/>
                      <a:pt x="2387462" y="1197791"/>
                    </a:cubicBezTo>
                    <a:cubicBezTo>
                      <a:pt x="2384604" y="1213983"/>
                      <a:pt x="2384604" y="1228271"/>
                      <a:pt x="2400797" y="1229223"/>
                    </a:cubicBezTo>
                    <a:cubicBezTo>
                      <a:pt x="2447469" y="1231128"/>
                      <a:pt x="2477949" y="1266371"/>
                      <a:pt x="2517002" y="1283516"/>
                    </a:cubicBezTo>
                    <a:cubicBezTo>
                      <a:pt x="2538909" y="1293041"/>
                      <a:pt x="2550339" y="1296851"/>
                      <a:pt x="2556055" y="1266371"/>
                    </a:cubicBezTo>
                    <a:cubicBezTo>
                      <a:pt x="2561769" y="1236843"/>
                      <a:pt x="2589392" y="1227318"/>
                      <a:pt x="2617967" y="1241606"/>
                    </a:cubicBezTo>
                    <a:cubicBezTo>
                      <a:pt x="2644637" y="1254941"/>
                      <a:pt x="2673212" y="1262561"/>
                      <a:pt x="2701787" y="1271133"/>
                    </a:cubicBezTo>
                    <a:cubicBezTo>
                      <a:pt x="2743697" y="1283516"/>
                      <a:pt x="2782749" y="1259703"/>
                      <a:pt x="2823707" y="1270181"/>
                    </a:cubicBezTo>
                    <a:cubicBezTo>
                      <a:pt x="2833232" y="1272086"/>
                      <a:pt x="2840852" y="1262561"/>
                      <a:pt x="2842757" y="1253988"/>
                    </a:cubicBezTo>
                    <a:cubicBezTo>
                      <a:pt x="2847519" y="1233033"/>
                      <a:pt x="2856092" y="1212078"/>
                      <a:pt x="2857997" y="1191123"/>
                    </a:cubicBezTo>
                    <a:cubicBezTo>
                      <a:pt x="2861807" y="1157786"/>
                      <a:pt x="2857044" y="1154928"/>
                      <a:pt x="2824659" y="1163501"/>
                    </a:cubicBezTo>
                    <a:cubicBezTo>
                      <a:pt x="2807514" y="1168263"/>
                      <a:pt x="2793227" y="1167311"/>
                      <a:pt x="2781797" y="1153023"/>
                    </a:cubicBezTo>
                    <a:lnTo>
                      <a:pt x="2778142" y="1149005"/>
                    </a:lnTo>
                    <a:lnTo>
                      <a:pt x="2758579" y="1157637"/>
                    </a:lnTo>
                    <a:cubicBezTo>
                      <a:pt x="2730182" y="1164691"/>
                      <a:pt x="2706072" y="1153261"/>
                      <a:pt x="2684641" y="1122543"/>
                    </a:cubicBezTo>
                    <a:cubicBezTo>
                      <a:pt x="2676068" y="1110161"/>
                      <a:pt x="2672258" y="1095873"/>
                      <a:pt x="2664638" y="1083491"/>
                    </a:cubicBezTo>
                    <a:cubicBezTo>
                      <a:pt x="2658923" y="1073966"/>
                      <a:pt x="2664638" y="1054916"/>
                      <a:pt x="2646541" y="1054916"/>
                    </a:cubicBezTo>
                    <a:cubicBezTo>
                      <a:pt x="2631301" y="1055868"/>
                      <a:pt x="2616061" y="1061583"/>
                      <a:pt x="2610346" y="1080633"/>
                    </a:cubicBezTo>
                    <a:lnTo>
                      <a:pt x="2609202" y="1082346"/>
                    </a:lnTo>
                    <a:lnTo>
                      <a:pt x="2613204" y="1086348"/>
                    </a:lnTo>
                    <a:cubicBezTo>
                      <a:pt x="2619871" y="1093968"/>
                      <a:pt x="2626539" y="1101588"/>
                      <a:pt x="2632254" y="1108255"/>
                    </a:cubicBezTo>
                    <a:cubicBezTo>
                      <a:pt x="2619871" y="1117780"/>
                      <a:pt x="2617014" y="1133020"/>
                      <a:pt x="2609394" y="1145403"/>
                    </a:cubicBezTo>
                    <a:cubicBezTo>
                      <a:pt x="2602726" y="1154928"/>
                      <a:pt x="2586534" y="1142545"/>
                      <a:pt x="2584629" y="1132068"/>
                    </a:cubicBezTo>
                    <a:cubicBezTo>
                      <a:pt x="2581771" y="1117780"/>
                      <a:pt x="2574151" y="1106350"/>
                      <a:pt x="2566055" y="1095397"/>
                    </a:cubicBezTo>
                    <a:lnTo>
                      <a:pt x="2558490" y="1083461"/>
                    </a:lnTo>
                    <a:lnTo>
                      <a:pt x="2545576" y="1071108"/>
                    </a:lnTo>
                    <a:cubicBezTo>
                      <a:pt x="2541766" y="1068251"/>
                      <a:pt x="2537003" y="1065393"/>
                      <a:pt x="2536051" y="1061583"/>
                    </a:cubicBezTo>
                    <a:cubicBezTo>
                      <a:pt x="2522716" y="1003481"/>
                      <a:pt x="2462708" y="991098"/>
                      <a:pt x="2429371" y="952046"/>
                    </a:cubicBezTo>
                    <a:cubicBezTo>
                      <a:pt x="2426513" y="949188"/>
                      <a:pt x="2421751" y="947283"/>
                      <a:pt x="2417941" y="944426"/>
                    </a:cubicBezTo>
                    <a:cubicBezTo>
                      <a:pt x="2416036" y="943473"/>
                      <a:pt x="2413178" y="943473"/>
                      <a:pt x="2407463" y="947283"/>
                    </a:cubicBezTo>
                    <a:cubicBezTo>
                      <a:pt x="2425561" y="973001"/>
                      <a:pt x="2440801" y="998718"/>
                      <a:pt x="2469376" y="1014911"/>
                    </a:cubicBezTo>
                    <a:cubicBezTo>
                      <a:pt x="2483663" y="1023483"/>
                      <a:pt x="2500808" y="1028246"/>
                      <a:pt x="2509381" y="1044438"/>
                    </a:cubicBezTo>
                    <a:cubicBezTo>
                      <a:pt x="2510333" y="1049201"/>
                      <a:pt x="2508428" y="1053963"/>
                      <a:pt x="2504618" y="1057773"/>
                    </a:cubicBezTo>
                    <a:cubicBezTo>
                      <a:pt x="2500808" y="1066346"/>
                      <a:pt x="2479853" y="1059678"/>
                      <a:pt x="2488426" y="1077776"/>
                    </a:cubicBezTo>
                    <a:cubicBezTo>
                      <a:pt x="2485568" y="1082538"/>
                      <a:pt x="2481758" y="1084443"/>
                      <a:pt x="2476996" y="1084443"/>
                    </a:cubicBezTo>
                    <a:cubicBezTo>
                      <a:pt x="2437943" y="1050153"/>
                      <a:pt x="2385556" y="1032056"/>
                      <a:pt x="2356028" y="985383"/>
                    </a:cubicBezTo>
                    <a:cubicBezTo>
                      <a:pt x="2346503" y="970143"/>
                      <a:pt x="2333168" y="968238"/>
                      <a:pt x="2317928" y="978716"/>
                    </a:cubicBezTo>
                    <a:cubicBezTo>
                      <a:pt x="2310308" y="984431"/>
                      <a:pt x="2301736" y="994908"/>
                      <a:pt x="2295068" y="993003"/>
                    </a:cubicBezTo>
                    <a:cubicBezTo>
                      <a:pt x="2237918" y="978716"/>
                      <a:pt x="2232203" y="1040628"/>
                      <a:pt x="2196008" y="1057773"/>
                    </a:cubicBezTo>
                    <a:cubicBezTo>
                      <a:pt x="2185531" y="1062536"/>
                      <a:pt x="2183626" y="1075871"/>
                      <a:pt x="2181721" y="1087301"/>
                    </a:cubicBezTo>
                    <a:cubicBezTo>
                      <a:pt x="2172196" y="1130163"/>
                      <a:pt x="2149336" y="1152071"/>
                      <a:pt x="2105521" y="1157786"/>
                    </a:cubicBezTo>
                    <a:cubicBezTo>
                      <a:pt x="2088376" y="1159691"/>
                      <a:pt x="2069326" y="1179693"/>
                      <a:pt x="2053133" y="1155881"/>
                    </a:cubicBezTo>
                    <a:cubicBezTo>
                      <a:pt x="2052181" y="1145403"/>
                      <a:pt x="2048371" y="1137783"/>
                      <a:pt x="2036941" y="1136831"/>
                    </a:cubicBezTo>
                    <a:cubicBezTo>
                      <a:pt x="2026463" y="1135878"/>
                      <a:pt x="2010271" y="1148261"/>
                      <a:pt x="2008366" y="1131116"/>
                    </a:cubicBezTo>
                    <a:cubicBezTo>
                      <a:pt x="2005508" y="1113018"/>
                      <a:pt x="1993126" y="1094921"/>
                      <a:pt x="2001698" y="1074918"/>
                    </a:cubicBezTo>
                    <a:cubicBezTo>
                      <a:pt x="2011223" y="1051106"/>
                      <a:pt x="2015986" y="1027293"/>
                      <a:pt x="2008366" y="1001576"/>
                    </a:cubicBezTo>
                    <a:cubicBezTo>
                      <a:pt x="2002651" y="979668"/>
                      <a:pt x="2021701" y="978716"/>
                      <a:pt x="2035988" y="977763"/>
                    </a:cubicBezTo>
                    <a:cubicBezTo>
                      <a:pt x="2059801" y="974906"/>
                      <a:pt x="2083613" y="981573"/>
                      <a:pt x="2107426" y="983478"/>
                    </a:cubicBezTo>
                    <a:cubicBezTo>
                      <a:pt x="2120761" y="984431"/>
                      <a:pt x="2139811" y="992051"/>
                      <a:pt x="2148383" y="975858"/>
                    </a:cubicBezTo>
                    <a:cubicBezTo>
                      <a:pt x="2157908" y="956808"/>
                      <a:pt x="2162671" y="934901"/>
                      <a:pt x="2150288" y="913946"/>
                    </a:cubicBezTo>
                    <a:cubicBezTo>
                      <a:pt x="2140763" y="897753"/>
                      <a:pt x="2131238" y="882513"/>
                      <a:pt x="2112188" y="876798"/>
                    </a:cubicBezTo>
                    <a:cubicBezTo>
                      <a:pt x="2105521" y="874893"/>
                      <a:pt x="2094091" y="873941"/>
                      <a:pt x="2096948" y="862511"/>
                    </a:cubicBezTo>
                    <a:cubicBezTo>
                      <a:pt x="2098853" y="852033"/>
                      <a:pt x="2109331" y="852033"/>
                      <a:pt x="2118856" y="849176"/>
                    </a:cubicBezTo>
                    <a:cubicBezTo>
                      <a:pt x="2149336" y="838698"/>
                      <a:pt x="2177911" y="830126"/>
                      <a:pt x="2206486" y="810123"/>
                    </a:cubicBezTo>
                    <a:cubicBezTo>
                      <a:pt x="2241728" y="785358"/>
                      <a:pt x="2258873" y="735828"/>
                      <a:pt x="2308403" y="731066"/>
                    </a:cubicBezTo>
                    <a:cubicBezTo>
                      <a:pt x="2322691" y="729161"/>
                      <a:pt x="2323643" y="718683"/>
                      <a:pt x="2321738" y="708206"/>
                    </a:cubicBezTo>
                    <a:cubicBezTo>
                      <a:pt x="2319833" y="698681"/>
                      <a:pt x="2314118" y="689156"/>
                      <a:pt x="2311261" y="679631"/>
                    </a:cubicBezTo>
                    <a:cubicBezTo>
                      <a:pt x="2307451" y="666296"/>
                      <a:pt x="2305546" y="652008"/>
                      <a:pt x="2320786" y="643436"/>
                    </a:cubicBezTo>
                    <a:cubicBezTo>
                      <a:pt x="2326501" y="640578"/>
                      <a:pt x="2334121" y="632958"/>
                      <a:pt x="2338883" y="638673"/>
                    </a:cubicBezTo>
                    <a:cubicBezTo>
                      <a:pt x="2346503" y="649151"/>
                      <a:pt x="2353171" y="662486"/>
                      <a:pt x="2343646" y="675821"/>
                    </a:cubicBezTo>
                    <a:cubicBezTo>
                      <a:pt x="2337931" y="685346"/>
                      <a:pt x="2342693" y="692966"/>
                      <a:pt x="2348408" y="699633"/>
                    </a:cubicBezTo>
                    <a:cubicBezTo>
                      <a:pt x="2356028" y="708206"/>
                      <a:pt x="2364601" y="711063"/>
                      <a:pt x="2376031" y="706301"/>
                    </a:cubicBezTo>
                    <a:cubicBezTo>
                      <a:pt x="2378888" y="705348"/>
                      <a:pt x="2381746" y="704396"/>
                      <a:pt x="2385556" y="704396"/>
                    </a:cubicBezTo>
                    <a:cubicBezTo>
                      <a:pt x="2409368" y="712968"/>
                      <a:pt x="2432228" y="712016"/>
                      <a:pt x="2454136" y="698681"/>
                    </a:cubicBezTo>
                    <a:cubicBezTo>
                      <a:pt x="2460803" y="694871"/>
                      <a:pt x="2469376" y="692966"/>
                      <a:pt x="2476996" y="692013"/>
                    </a:cubicBezTo>
                    <a:cubicBezTo>
                      <a:pt x="2517001" y="689156"/>
                      <a:pt x="2517001" y="689156"/>
                      <a:pt x="2517953" y="648198"/>
                    </a:cubicBezTo>
                    <a:cubicBezTo>
                      <a:pt x="2525573" y="626291"/>
                      <a:pt x="2540813" y="618671"/>
                      <a:pt x="2563673" y="626291"/>
                    </a:cubicBezTo>
                    <a:cubicBezTo>
                      <a:pt x="2558911" y="610098"/>
                      <a:pt x="2545576" y="599621"/>
                      <a:pt x="2554148" y="585333"/>
                    </a:cubicBezTo>
                    <a:lnTo>
                      <a:pt x="2572928" y="573708"/>
                    </a:lnTo>
                    <a:lnTo>
                      <a:pt x="2586098" y="571735"/>
                    </a:lnTo>
                    <a:lnTo>
                      <a:pt x="2586726" y="571671"/>
                    </a:lnTo>
                    <a:cubicBezTo>
                      <a:pt x="2599630" y="572653"/>
                      <a:pt x="2613203" y="578189"/>
                      <a:pt x="2624633" y="568188"/>
                    </a:cubicBezTo>
                    <a:cubicBezTo>
                      <a:pt x="2626538" y="566283"/>
                      <a:pt x="2628443" y="565331"/>
                      <a:pt x="2630348" y="563426"/>
                    </a:cubicBezTo>
                    <a:cubicBezTo>
                      <a:pt x="2634158" y="561521"/>
                      <a:pt x="2634158" y="568188"/>
                      <a:pt x="2633206" y="563426"/>
                    </a:cubicBezTo>
                    <a:cubicBezTo>
                      <a:pt x="2632253" y="557711"/>
                      <a:pt x="2629396" y="564378"/>
                      <a:pt x="2626538" y="563426"/>
                    </a:cubicBezTo>
                    <a:cubicBezTo>
                      <a:pt x="2615584" y="567236"/>
                      <a:pt x="2604392" y="569141"/>
                      <a:pt x="2593082" y="570689"/>
                    </a:cubicBezTo>
                    <a:lnTo>
                      <a:pt x="2586098" y="571735"/>
                    </a:lnTo>
                    <a:lnTo>
                      <a:pt x="2574151" y="572951"/>
                    </a:lnTo>
                    <a:lnTo>
                      <a:pt x="2572928" y="573708"/>
                    </a:lnTo>
                    <a:lnTo>
                      <a:pt x="2558911" y="575808"/>
                    </a:lnTo>
                    <a:cubicBezTo>
                      <a:pt x="2533193" y="580571"/>
                      <a:pt x="2516048" y="563426"/>
                      <a:pt x="2506523" y="541518"/>
                    </a:cubicBezTo>
                    <a:cubicBezTo>
                      <a:pt x="2496998" y="519611"/>
                      <a:pt x="2487473" y="498656"/>
                      <a:pt x="2512238" y="480558"/>
                    </a:cubicBezTo>
                    <a:cubicBezTo>
                      <a:pt x="2520811" y="474843"/>
                      <a:pt x="2527478" y="467223"/>
                      <a:pt x="2533193" y="458651"/>
                    </a:cubicBezTo>
                    <a:cubicBezTo>
                      <a:pt x="2537003" y="452936"/>
                      <a:pt x="2541766" y="446268"/>
                      <a:pt x="2534146" y="440553"/>
                    </a:cubicBezTo>
                    <a:cubicBezTo>
                      <a:pt x="2526526" y="434838"/>
                      <a:pt x="2515096" y="437696"/>
                      <a:pt x="2513191" y="445316"/>
                    </a:cubicBezTo>
                    <a:cubicBezTo>
                      <a:pt x="2506523" y="474843"/>
                      <a:pt x="2482711" y="489131"/>
                      <a:pt x="2464613" y="509133"/>
                    </a:cubicBezTo>
                    <a:cubicBezTo>
                      <a:pt x="2452231" y="523421"/>
                      <a:pt x="2455088" y="538661"/>
                      <a:pt x="2467471" y="551996"/>
                    </a:cubicBezTo>
                    <a:cubicBezTo>
                      <a:pt x="2481758" y="567236"/>
                      <a:pt x="2481758" y="582476"/>
                      <a:pt x="2468423" y="597716"/>
                    </a:cubicBezTo>
                    <a:cubicBezTo>
                      <a:pt x="2457946" y="610098"/>
                      <a:pt x="2455088" y="623433"/>
                      <a:pt x="2453183" y="638673"/>
                    </a:cubicBezTo>
                    <a:cubicBezTo>
                      <a:pt x="2451278" y="657723"/>
                      <a:pt x="2442706" y="671058"/>
                      <a:pt x="2423656" y="676773"/>
                    </a:cubicBezTo>
                    <a:cubicBezTo>
                      <a:pt x="2413178" y="682488"/>
                      <a:pt x="2402701" y="690108"/>
                      <a:pt x="2389366" y="683441"/>
                    </a:cubicBezTo>
                    <a:cubicBezTo>
                      <a:pt x="2381746" y="676773"/>
                      <a:pt x="2376983" y="670106"/>
                      <a:pt x="2383651" y="659628"/>
                    </a:cubicBezTo>
                    <a:cubicBezTo>
                      <a:pt x="2377936" y="649151"/>
                      <a:pt x="2372221" y="638673"/>
                      <a:pt x="2367458" y="627243"/>
                    </a:cubicBezTo>
                    <a:cubicBezTo>
                      <a:pt x="2348408" y="585333"/>
                      <a:pt x="2348408" y="584381"/>
                      <a:pt x="2308403" y="612003"/>
                    </a:cubicBezTo>
                    <a:cubicBezTo>
                      <a:pt x="2273161" y="616766"/>
                      <a:pt x="2265541" y="608193"/>
                      <a:pt x="2270303" y="571046"/>
                    </a:cubicBezTo>
                    <a:cubicBezTo>
                      <a:pt x="2271256" y="560568"/>
                      <a:pt x="2287448" y="545328"/>
                      <a:pt x="2260778" y="543423"/>
                    </a:cubicBezTo>
                    <a:cubicBezTo>
                      <a:pt x="2255063" y="542471"/>
                      <a:pt x="2255063" y="530088"/>
                      <a:pt x="2259826" y="522468"/>
                    </a:cubicBezTo>
                    <a:cubicBezTo>
                      <a:pt x="2313166" y="486273"/>
                      <a:pt x="2361743" y="445316"/>
                      <a:pt x="2390318" y="385308"/>
                    </a:cubicBezTo>
                    <a:cubicBezTo>
                      <a:pt x="2396986" y="372926"/>
                      <a:pt x="2403653" y="362448"/>
                      <a:pt x="2416988" y="357686"/>
                    </a:cubicBezTo>
                    <a:cubicBezTo>
                      <a:pt x="2416988" y="355781"/>
                      <a:pt x="2416988" y="353876"/>
                      <a:pt x="2417941" y="351971"/>
                    </a:cubicBezTo>
                    <a:cubicBezTo>
                      <a:pt x="2419846" y="352923"/>
                      <a:pt x="2423656" y="354828"/>
                      <a:pt x="2424608" y="353876"/>
                    </a:cubicBezTo>
                    <a:cubicBezTo>
                      <a:pt x="2434371" y="344351"/>
                      <a:pt x="2443539" y="338934"/>
                      <a:pt x="2452245" y="336582"/>
                    </a:cubicBezTo>
                    <a:cubicBezTo>
                      <a:pt x="2458775" y="334818"/>
                      <a:pt x="2465045" y="334779"/>
                      <a:pt x="2471113" y="336025"/>
                    </a:cubicBezTo>
                    <a:close/>
                    <a:moveTo>
                      <a:pt x="761544" y="194808"/>
                    </a:moveTo>
                    <a:cubicBezTo>
                      <a:pt x="773926" y="196713"/>
                      <a:pt x="774879" y="206238"/>
                      <a:pt x="773926" y="216716"/>
                    </a:cubicBezTo>
                    <a:cubicBezTo>
                      <a:pt x="755829" y="237671"/>
                      <a:pt x="760591" y="257673"/>
                      <a:pt x="773926" y="278628"/>
                    </a:cubicBezTo>
                    <a:cubicBezTo>
                      <a:pt x="748209" y="302441"/>
                      <a:pt x="720586" y="315776"/>
                      <a:pt x="687249" y="293868"/>
                    </a:cubicBezTo>
                    <a:cubicBezTo>
                      <a:pt x="682486" y="291011"/>
                      <a:pt x="675819" y="292916"/>
                      <a:pt x="671056" y="292916"/>
                    </a:cubicBezTo>
                    <a:cubicBezTo>
                      <a:pt x="660579" y="294821"/>
                      <a:pt x="650101" y="296726"/>
                      <a:pt x="640576" y="298631"/>
                    </a:cubicBezTo>
                    <a:cubicBezTo>
                      <a:pt x="627241" y="300536"/>
                      <a:pt x="613906" y="302441"/>
                      <a:pt x="603429" y="291011"/>
                    </a:cubicBezTo>
                    <a:cubicBezTo>
                      <a:pt x="636766" y="258626"/>
                      <a:pt x="678676" y="239576"/>
                      <a:pt x="715824" y="211953"/>
                    </a:cubicBezTo>
                    <a:cubicBezTo>
                      <a:pt x="719634" y="209096"/>
                      <a:pt x="724396" y="211953"/>
                      <a:pt x="727254" y="215763"/>
                    </a:cubicBezTo>
                    <a:cubicBezTo>
                      <a:pt x="746304" y="220526"/>
                      <a:pt x="741541" y="187188"/>
                      <a:pt x="761544" y="194808"/>
                    </a:cubicBezTo>
                    <a:close/>
                    <a:moveTo>
                      <a:pt x="873343" y="184331"/>
                    </a:moveTo>
                    <a:cubicBezTo>
                      <a:pt x="879653" y="185283"/>
                      <a:pt x="886320" y="188617"/>
                      <a:pt x="891083" y="191951"/>
                    </a:cubicBezTo>
                    <a:cubicBezTo>
                      <a:pt x="904418" y="200523"/>
                      <a:pt x="892988" y="209096"/>
                      <a:pt x="888226" y="217668"/>
                    </a:cubicBezTo>
                    <a:lnTo>
                      <a:pt x="879241" y="234820"/>
                    </a:lnTo>
                    <a:lnTo>
                      <a:pt x="895370" y="235036"/>
                    </a:lnTo>
                    <a:cubicBezTo>
                      <a:pt x="907514" y="238206"/>
                      <a:pt x="906800" y="249815"/>
                      <a:pt x="899656" y="266246"/>
                    </a:cubicBezTo>
                    <a:cubicBezTo>
                      <a:pt x="894893" y="277676"/>
                      <a:pt x="884416" y="289106"/>
                      <a:pt x="892988" y="303393"/>
                    </a:cubicBezTo>
                    <a:cubicBezTo>
                      <a:pt x="897751" y="310061"/>
                      <a:pt x="901561" y="309108"/>
                      <a:pt x="905371" y="303393"/>
                    </a:cubicBezTo>
                    <a:cubicBezTo>
                      <a:pt x="923468" y="307203"/>
                      <a:pt x="923468" y="307203"/>
                      <a:pt x="915848" y="337683"/>
                    </a:cubicBezTo>
                    <a:cubicBezTo>
                      <a:pt x="926326" y="330063"/>
                      <a:pt x="936803" y="329111"/>
                      <a:pt x="946328" y="324348"/>
                    </a:cubicBezTo>
                    <a:lnTo>
                      <a:pt x="973409" y="303804"/>
                    </a:lnTo>
                    <a:lnTo>
                      <a:pt x="975260" y="292796"/>
                    </a:lnTo>
                    <a:cubicBezTo>
                      <a:pt x="974903" y="288629"/>
                      <a:pt x="972522" y="284819"/>
                      <a:pt x="965378" y="281485"/>
                    </a:cubicBezTo>
                    <a:cubicBezTo>
                      <a:pt x="944423" y="270055"/>
                      <a:pt x="942518" y="249100"/>
                      <a:pt x="962521" y="233860"/>
                    </a:cubicBezTo>
                    <a:cubicBezTo>
                      <a:pt x="977761" y="221478"/>
                      <a:pt x="993953" y="208143"/>
                      <a:pt x="1013956" y="203380"/>
                    </a:cubicBezTo>
                    <a:cubicBezTo>
                      <a:pt x="1018718" y="201475"/>
                      <a:pt x="1023481" y="200046"/>
                      <a:pt x="1028243" y="200165"/>
                    </a:cubicBezTo>
                    <a:cubicBezTo>
                      <a:pt x="1033006" y="200284"/>
                      <a:pt x="1037768" y="201951"/>
                      <a:pt x="1042531" y="206238"/>
                    </a:cubicBezTo>
                    <a:cubicBezTo>
                      <a:pt x="1037768" y="220525"/>
                      <a:pt x="1018718" y="221478"/>
                      <a:pt x="1016813" y="234813"/>
                    </a:cubicBezTo>
                    <a:cubicBezTo>
                      <a:pt x="1029196" y="212905"/>
                      <a:pt x="1052056" y="208143"/>
                      <a:pt x="1075868" y="204333"/>
                    </a:cubicBezTo>
                    <a:cubicBezTo>
                      <a:pt x="1082536" y="204333"/>
                      <a:pt x="1089203" y="204333"/>
                      <a:pt x="1095871" y="204333"/>
                    </a:cubicBezTo>
                    <a:cubicBezTo>
                      <a:pt x="1106348" y="211953"/>
                      <a:pt x="1099681" y="223383"/>
                      <a:pt x="1099681" y="232908"/>
                    </a:cubicBezTo>
                    <a:cubicBezTo>
                      <a:pt x="1112063" y="235765"/>
                      <a:pt x="1123493" y="229098"/>
                      <a:pt x="1133971" y="231003"/>
                    </a:cubicBezTo>
                    <a:cubicBezTo>
                      <a:pt x="1140638" y="231003"/>
                      <a:pt x="1146353" y="233860"/>
                      <a:pt x="1151116" y="238623"/>
                    </a:cubicBezTo>
                    <a:cubicBezTo>
                      <a:pt x="1162546" y="262435"/>
                      <a:pt x="1192073" y="265293"/>
                      <a:pt x="1205408" y="287200"/>
                    </a:cubicBezTo>
                    <a:cubicBezTo>
                      <a:pt x="1219696" y="305298"/>
                      <a:pt x="1210171" y="320538"/>
                      <a:pt x="1198741" y="334825"/>
                    </a:cubicBezTo>
                    <a:cubicBezTo>
                      <a:pt x="1205408" y="359590"/>
                      <a:pt x="1234936" y="358638"/>
                      <a:pt x="1248271" y="377688"/>
                    </a:cubicBezTo>
                    <a:cubicBezTo>
                      <a:pt x="1257796" y="391023"/>
                      <a:pt x="1257796" y="393880"/>
                      <a:pt x="1246366" y="402453"/>
                    </a:cubicBezTo>
                    <a:cubicBezTo>
                      <a:pt x="1226363" y="415788"/>
                      <a:pt x="1207313" y="445315"/>
                      <a:pt x="1187311" y="402453"/>
                    </a:cubicBezTo>
                    <a:cubicBezTo>
                      <a:pt x="1184453" y="396738"/>
                      <a:pt x="1176833" y="390070"/>
                      <a:pt x="1171118" y="396738"/>
                    </a:cubicBezTo>
                    <a:cubicBezTo>
                      <a:pt x="1161593" y="407215"/>
                      <a:pt x="1163498" y="418645"/>
                      <a:pt x="1171118" y="431028"/>
                    </a:cubicBezTo>
                    <a:cubicBezTo>
                      <a:pt x="1186358" y="457698"/>
                      <a:pt x="1180643" y="471033"/>
                      <a:pt x="1151116" y="479605"/>
                    </a:cubicBezTo>
                    <a:cubicBezTo>
                      <a:pt x="1147306" y="475795"/>
                      <a:pt x="1141591" y="474843"/>
                      <a:pt x="1136828" y="476748"/>
                    </a:cubicBezTo>
                    <a:cubicBezTo>
                      <a:pt x="1132066" y="478653"/>
                      <a:pt x="1134923" y="483415"/>
                      <a:pt x="1136828" y="487225"/>
                    </a:cubicBezTo>
                    <a:cubicBezTo>
                      <a:pt x="1135876" y="500560"/>
                      <a:pt x="1128256" y="503418"/>
                      <a:pt x="1118731" y="497703"/>
                    </a:cubicBezTo>
                    <a:cubicBezTo>
                      <a:pt x="1098728" y="487225"/>
                      <a:pt x="1074916" y="482463"/>
                      <a:pt x="1066343" y="455793"/>
                    </a:cubicBezTo>
                    <a:cubicBezTo>
                      <a:pt x="1058723" y="432933"/>
                      <a:pt x="1039673" y="427218"/>
                      <a:pt x="1016813" y="433885"/>
                    </a:cubicBezTo>
                    <a:cubicBezTo>
                      <a:pt x="1008241" y="436743"/>
                      <a:pt x="999668" y="438648"/>
                      <a:pt x="996811" y="428170"/>
                    </a:cubicBezTo>
                    <a:cubicBezTo>
                      <a:pt x="993001" y="415788"/>
                      <a:pt x="1007288" y="411025"/>
                      <a:pt x="1013003" y="411978"/>
                    </a:cubicBezTo>
                    <a:cubicBezTo>
                      <a:pt x="1055866" y="420550"/>
                      <a:pt x="1078726" y="386260"/>
                      <a:pt x="1109206" y="369115"/>
                    </a:cubicBezTo>
                    <a:cubicBezTo>
                      <a:pt x="1117778" y="343398"/>
                      <a:pt x="1089203" y="330063"/>
                      <a:pt x="1089203" y="307203"/>
                    </a:cubicBezTo>
                    <a:cubicBezTo>
                      <a:pt x="1085393" y="301488"/>
                      <a:pt x="1081583" y="296725"/>
                      <a:pt x="1077773" y="291010"/>
                    </a:cubicBezTo>
                    <a:cubicBezTo>
                      <a:pt x="1057771" y="307203"/>
                      <a:pt x="1036816" y="290058"/>
                      <a:pt x="1016813" y="292915"/>
                    </a:cubicBezTo>
                    <a:cubicBezTo>
                      <a:pt x="1012050" y="293391"/>
                      <a:pt x="1008717" y="294106"/>
                      <a:pt x="1007169" y="296011"/>
                    </a:cubicBezTo>
                    <a:lnTo>
                      <a:pt x="1007866" y="302667"/>
                    </a:lnTo>
                    <a:lnTo>
                      <a:pt x="1009193" y="303393"/>
                    </a:lnTo>
                    <a:cubicBezTo>
                      <a:pt x="1013003" y="324348"/>
                      <a:pt x="986333" y="363401"/>
                      <a:pt x="962521" y="370068"/>
                    </a:cubicBezTo>
                    <a:cubicBezTo>
                      <a:pt x="943471" y="375783"/>
                      <a:pt x="924421" y="377688"/>
                      <a:pt x="905371" y="371973"/>
                    </a:cubicBezTo>
                    <a:cubicBezTo>
                      <a:pt x="896798" y="389118"/>
                      <a:pt x="879653" y="396738"/>
                      <a:pt x="868223" y="410073"/>
                    </a:cubicBezTo>
                    <a:cubicBezTo>
                      <a:pt x="859651" y="419598"/>
                      <a:pt x="849173" y="424361"/>
                      <a:pt x="836791" y="426266"/>
                    </a:cubicBezTo>
                    <a:cubicBezTo>
                      <a:pt x="830123" y="425313"/>
                      <a:pt x="820598" y="421503"/>
                      <a:pt x="816788" y="424361"/>
                    </a:cubicBezTo>
                    <a:cubicBezTo>
                      <a:pt x="772973" y="455793"/>
                      <a:pt x="714871" y="464366"/>
                      <a:pt x="677723" y="507228"/>
                    </a:cubicBezTo>
                    <a:cubicBezTo>
                      <a:pt x="667246" y="519611"/>
                      <a:pt x="646291" y="531993"/>
                      <a:pt x="668198" y="553901"/>
                    </a:cubicBezTo>
                    <a:cubicBezTo>
                      <a:pt x="672961" y="558663"/>
                      <a:pt x="665341" y="574856"/>
                      <a:pt x="662483" y="586286"/>
                    </a:cubicBezTo>
                    <a:cubicBezTo>
                      <a:pt x="685343" y="585333"/>
                      <a:pt x="702488" y="596763"/>
                      <a:pt x="716776" y="612956"/>
                    </a:cubicBezTo>
                    <a:cubicBezTo>
                      <a:pt x="731063" y="630101"/>
                      <a:pt x="747256" y="644388"/>
                      <a:pt x="771068" y="645341"/>
                    </a:cubicBezTo>
                    <a:cubicBezTo>
                      <a:pt x="789166" y="646293"/>
                      <a:pt x="788213" y="653913"/>
                      <a:pt x="782498" y="667248"/>
                    </a:cubicBezTo>
                    <a:cubicBezTo>
                      <a:pt x="774878" y="685346"/>
                      <a:pt x="766306" y="702491"/>
                      <a:pt x="772973" y="726303"/>
                    </a:cubicBezTo>
                    <a:cubicBezTo>
                      <a:pt x="779641" y="752973"/>
                      <a:pt x="789166" y="747258"/>
                      <a:pt x="805358" y="736781"/>
                    </a:cubicBezTo>
                    <a:cubicBezTo>
                      <a:pt x="823456" y="725351"/>
                      <a:pt x="826313" y="706301"/>
                      <a:pt x="828218" y="689156"/>
                    </a:cubicBezTo>
                    <a:cubicBezTo>
                      <a:pt x="831076" y="669153"/>
                      <a:pt x="841553" y="660581"/>
                      <a:pt x="858698" y="652961"/>
                    </a:cubicBezTo>
                    <a:cubicBezTo>
                      <a:pt x="901561" y="638673"/>
                      <a:pt x="911086" y="619623"/>
                      <a:pt x="901561" y="573903"/>
                    </a:cubicBezTo>
                    <a:cubicBezTo>
                      <a:pt x="900608" y="569141"/>
                      <a:pt x="899656" y="563426"/>
                      <a:pt x="904418" y="561521"/>
                    </a:cubicBezTo>
                    <a:cubicBezTo>
                      <a:pt x="937756" y="550091"/>
                      <a:pt x="937756" y="514848"/>
                      <a:pt x="953948" y="491988"/>
                    </a:cubicBezTo>
                    <a:cubicBezTo>
                      <a:pt x="957758" y="486273"/>
                      <a:pt x="961568" y="480558"/>
                      <a:pt x="968236" y="478653"/>
                    </a:cubicBezTo>
                    <a:cubicBezTo>
                      <a:pt x="991096" y="471986"/>
                      <a:pt x="1037768" y="491036"/>
                      <a:pt x="1049198" y="512943"/>
                    </a:cubicBezTo>
                    <a:cubicBezTo>
                      <a:pt x="1061581" y="517706"/>
                      <a:pt x="1074916" y="522468"/>
                      <a:pt x="1063486" y="539613"/>
                    </a:cubicBezTo>
                    <a:cubicBezTo>
                      <a:pt x="1048246" y="555806"/>
                      <a:pt x="1052056" y="572951"/>
                      <a:pt x="1067296" y="583428"/>
                    </a:cubicBezTo>
                    <a:cubicBezTo>
                      <a:pt x="1084441" y="593906"/>
                      <a:pt x="1099681" y="578666"/>
                      <a:pt x="1112063" y="568188"/>
                    </a:cubicBezTo>
                    <a:cubicBezTo>
                      <a:pt x="1139686" y="545328"/>
                      <a:pt x="1138733" y="544376"/>
                      <a:pt x="1146353" y="580571"/>
                    </a:cubicBezTo>
                    <a:cubicBezTo>
                      <a:pt x="1149211" y="592953"/>
                      <a:pt x="1154926" y="606288"/>
                      <a:pt x="1151116" y="616766"/>
                    </a:cubicBezTo>
                    <a:cubicBezTo>
                      <a:pt x="1138733" y="656771"/>
                      <a:pt x="1163498" y="672011"/>
                      <a:pt x="1193026" y="684393"/>
                    </a:cubicBezTo>
                    <a:cubicBezTo>
                      <a:pt x="1193026" y="693918"/>
                      <a:pt x="1188501" y="696537"/>
                      <a:pt x="1182905" y="697847"/>
                    </a:cubicBezTo>
                    <a:lnTo>
                      <a:pt x="1179024" y="699159"/>
                    </a:lnTo>
                    <a:lnTo>
                      <a:pt x="1177845" y="699023"/>
                    </a:lnTo>
                    <a:cubicBezTo>
                      <a:pt x="1174214" y="699455"/>
                      <a:pt x="1170404" y="700824"/>
                      <a:pt x="1166356" y="703443"/>
                    </a:cubicBezTo>
                    <a:lnTo>
                      <a:pt x="1179024" y="699159"/>
                    </a:lnTo>
                    <a:lnTo>
                      <a:pt x="1188263" y="700229"/>
                    </a:lnTo>
                    <a:cubicBezTo>
                      <a:pt x="1194931" y="702491"/>
                      <a:pt x="1201122" y="707253"/>
                      <a:pt x="1207313" y="712016"/>
                    </a:cubicBezTo>
                    <a:cubicBezTo>
                      <a:pt x="1210647" y="727732"/>
                      <a:pt x="1209694" y="741781"/>
                      <a:pt x="1205051" y="754402"/>
                    </a:cubicBezTo>
                    <a:lnTo>
                      <a:pt x="1180854" y="787924"/>
                    </a:lnTo>
                    <a:lnTo>
                      <a:pt x="1187073" y="807504"/>
                    </a:lnTo>
                    <a:cubicBezTo>
                      <a:pt x="1190883" y="812504"/>
                      <a:pt x="1196836" y="815362"/>
                      <a:pt x="1206361" y="814886"/>
                    </a:cubicBezTo>
                    <a:cubicBezTo>
                      <a:pt x="1214934" y="814886"/>
                      <a:pt x="1223506" y="816791"/>
                      <a:pt x="1213981" y="828221"/>
                    </a:cubicBezTo>
                    <a:cubicBezTo>
                      <a:pt x="1208266" y="850128"/>
                      <a:pt x="1205409" y="874893"/>
                      <a:pt x="1172071" y="862511"/>
                    </a:cubicBezTo>
                    <a:cubicBezTo>
                      <a:pt x="1153021" y="859653"/>
                      <a:pt x="1123494" y="872036"/>
                      <a:pt x="1115874" y="854891"/>
                    </a:cubicBezTo>
                    <a:cubicBezTo>
                      <a:pt x="1109206" y="839651"/>
                      <a:pt x="1133971" y="821553"/>
                      <a:pt x="1148259" y="807266"/>
                    </a:cubicBezTo>
                    <a:cubicBezTo>
                      <a:pt x="1157784" y="799646"/>
                      <a:pt x="1159689" y="785358"/>
                      <a:pt x="1173024" y="780596"/>
                    </a:cubicBezTo>
                    <a:lnTo>
                      <a:pt x="1173125" y="780684"/>
                    </a:lnTo>
                    <a:lnTo>
                      <a:pt x="1174333" y="770475"/>
                    </a:lnTo>
                    <a:cubicBezTo>
                      <a:pt x="1173023" y="767975"/>
                      <a:pt x="1169689" y="766784"/>
                      <a:pt x="1163498" y="767261"/>
                    </a:cubicBezTo>
                    <a:cubicBezTo>
                      <a:pt x="1147306" y="769166"/>
                      <a:pt x="1137781" y="780596"/>
                      <a:pt x="1124446" y="787263"/>
                    </a:cubicBezTo>
                    <a:cubicBezTo>
                      <a:pt x="1097776" y="793931"/>
                      <a:pt x="1070153" y="791073"/>
                      <a:pt x="1043483" y="789168"/>
                    </a:cubicBezTo>
                    <a:cubicBezTo>
                      <a:pt x="1026338" y="788216"/>
                      <a:pt x="1010146" y="786311"/>
                      <a:pt x="993953" y="794883"/>
                    </a:cubicBezTo>
                    <a:cubicBezTo>
                      <a:pt x="987286" y="810123"/>
                      <a:pt x="971093" y="808218"/>
                      <a:pt x="959663" y="814886"/>
                    </a:cubicBezTo>
                    <a:cubicBezTo>
                      <a:pt x="951091" y="825363"/>
                      <a:pt x="939661" y="831078"/>
                      <a:pt x="929183" y="839651"/>
                    </a:cubicBezTo>
                    <a:lnTo>
                      <a:pt x="925100" y="843462"/>
                    </a:lnTo>
                    <a:lnTo>
                      <a:pt x="915848" y="851081"/>
                    </a:lnTo>
                    <a:cubicBezTo>
                      <a:pt x="915848" y="851081"/>
                      <a:pt x="912991" y="851081"/>
                      <a:pt x="912991" y="851081"/>
                    </a:cubicBezTo>
                    <a:cubicBezTo>
                      <a:pt x="912991" y="851081"/>
                      <a:pt x="914896" y="852986"/>
                      <a:pt x="914896" y="852986"/>
                    </a:cubicBezTo>
                    <a:lnTo>
                      <a:pt x="925100" y="843462"/>
                    </a:lnTo>
                    <a:lnTo>
                      <a:pt x="932041" y="837746"/>
                    </a:lnTo>
                    <a:cubicBezTo>
                      <a:pt x="942518" y="824411"/>
                      <a:pt x="959663" y="826316"/>
                      <a:pt x="972998" y="820601"/>
                    </a:cubicBezTo>
                    <a:cubicBezTo>
                      <a:pt x="979666" y="818696"/>
                      <a:pt x="986333" y="814886"/>
                      <a:pt x="992048" y="814886"/>
                    </a:cubicBezTo>
                    <a:cubicBezTo>
                      <a:pt x="1003478" y="813933"/>
                      <a:pt x="1017766" y="809171"/>
                      <a:pt x="1023481" y="819648"/>
                    </a:cubicBezTo>
                    <a:cubicBezTo>
                      <a:pt x="1032053" y="834888"/>
                      <a:pt x="1013003" y="835841"/>
                      <a:pt x="1005383" y="842508"/>
                    </a:cubicBezTo>
                    <a:cubicBezTo>
                      <a:pt x="1003478" y="844413"/>
                      <a:pt x="1005383" y="851081"/>
                      <a:pt x="1006336" y="854891"/>
                    </a:cubicBezTo>
                    <a:cubicBezTo>
                      <a:pt x="997763" y="866321"/>
                      <a:pt x="1011098" y="877751"/>
                      <a:pt x="1005383" y="889181"/>
                    </a:cubicBezTo>
                    <a:cubicBezTo>
                      <a:pt x="1001573" y="899658"/>
                      <a:pt x="992048" y="903468"/>
                      <a:pt x="984428" y="910136"/>
                    </a:cubicBezTo>
                    <a:cubicBezTo>
                      <a:pt x="974903" y="918708"/>
                      <a:pt x="961568" y="909183"/>
                      <a:pt x="952043" y="916803"/>
                    </a:cubicBezTo>
                    <a:cubicBezTo>
                      <a:pt x="937756" y="931091"/>
                      <a:pt x="916801" y="932043"/>
                      <a:pt x="899656" y="938711"/>
                    </a:cubicBezTo>
                    <a:cubicBezTo>
                      <a:pt x="876796" y="947283"/>
                      <a:pt x="858698" y="959666"/>
                      <a:pt x="855841" y="985383"/>
                    </a:cubicBezTo>
                    <a:cubicBezTo>
                      <a:pt x="853936" y="1001576"/>
                      <a:pt x="839648" y="1003481"/>
                      <a:pt x="831076" y="1003481"/>
                    </a:cubicBezTo>
                    <a:cubicBezTo>
                      <a:pt x="779641" y="1006338"/>
                      <a:pt x="763448" y="1048248"/>
                      <a:pt x="738683" y="1081586"/>
                    </a:cubicBezTo>
                    <a:cubicBezTo>
                      <a:pt x="708203" y="1076823"/>
                      <a:pt x="712013" y="1097778"/>
                      <a:pt x="711061" y="1115876"/>
                    </a:cubicBezTo>
                    <a:cubicBezTo>
                      <a:pt x="707251" y="1144451"/>
                      <a:pt x="692011" y="1163501"/>
                      <a:pt x="666293" y="1175883"/>
                    </a:cubicBezTo>
                    <a:cubicBezTo>
                      <a:pt x="636766" y="1191123"/>
                      <a:pt x="610096" y="1209221"/>
                      <a:pt x="585331" y="1230176"/>
                    </a:cubicBezTo>
                    <a:cubicBezTo>
                      <a:pt x="565328" y="1247320"/>
                      <a:pt x="557708" y="1270181"/>
                      <a:pt x="559613" y="1297803"/>
                    </a:cubicBezTo>
                    <a:cubicBezTo>
                      <a:pt x="561518" y="1327331"/>
                      <a:pt x="564376" y="1356858"/>
                      <a:pt x="557708" y="1386386"/>
                    </a:cubicBezTo>
                    <a:cubicBezTo>
                      <a:pt x="555803" y="1394958"/>
                      <a:pt x="551993" y="1406388"/>
                      <a:pt x="542468" y="1407341"/>
                    </a:cubicBezTo>
                    <a:cubicBezTo>
                      <a:pt x="530086" y="1409246"/>
                      <a:pt x="531038" y="1394958"/>
                      <a:pt x="528181" y="1387338"/>
                    </a:cubicBezTo>
                    <a:cubicBezTo>
                      <a:pt x="522466" y="1365431"/>
                      <a:pt x="516751" y="1344476"/>
                      <a:pt x="519608" y="1320663"/>
                    </a:cubicBezTo>
                    <a:cubicBezTo>
                      <a:pt x="521513" y="1300661"/>
                      <a:pt x="522466" y="1280658"/>
                      <a:pt x="488176" y="1283516"/>
                    </a:cubicBezTo>
                    <a:cubicBezTo>
                      <a:pt x="470078" y="1285421"/>
                      <a:pt x="452933" y="1262561"/>
                      <a:pt x="429121" y="1267323"/>
                    </a:cubicBezTo>
                    <a:cubicBezTo>
                      <a:pt x="422453" y="1268276"/>
                      <a:pt x="411023" y="1265418"/>
                      <a:pt x="409118" y="1268276"/>
                    </a:cubicBezTo>
                    <a:cubicBezTo>
                      <a:pt x="391973" y="1307328"/>
                      <a:pt x="364351" y="1288278"/>
                      <a:pt x="336728" y="1284468"/>
                    </a:cubicBezTo>
                    <a:cubicBezTo>
                      <a:pt x="279578" y="1275896"/>
                      <a:pt x="228143" y="1315901"/>
                      <a:pt x="215761" y="1373051"/>
                    </a:cubicBezTo>
                    <a:cubicBezTo>
                      <a:pt x="210998" y="1396863"/>
                      <a:pt x="193853" y="1415913"/>
                      <a:pt x="189091" y="1441631"/>
                    </a:cubicBezTo>
                    <a:cubicBezTo>
                      <a:pt x="182423" y="1476873"/>
                      <a:pt x="183376" y="1511163"/>
                      <a:pt x="196711" y="1544501"/>
                    </a:cubicBezTo>
                    <a:cubicBezTo>
                      <a:pt x="204331" y="1564503"/>
                      <a:pt x="219571" y="1574028"/>
                      <a:pt x="244336" y="1573076"/>
                    </a:cubicBezTo>
                    <a:cubicBezTo>
                      <a:pt x="284341" y="1571171"/>
                      <a:pt x="310058" y="1555931"/>
                      <a:pt x="320536" y="1514973"/>
                    </a:cubicBezTo>
                    <a:cubicBezTo>
                      <a:pt x="324346" y="1500686"/>
                      <a:pt x="374828" y="1487351"/>
                      <a:pt x="387211" y="1494971"/>
                    </a:cubicBezTo>
                    <a:cubicBezTo>
                      <a:pt x="396736" y="1500686"/>
                      <a:pt x="392926" y="1507353"/>
                      <a:pt x="389116" y="1515926"/>
                    </a:cubicBezTo>
                    <a:cubicBezTo>
                      <a:pt x="372923" y="1552121"/>
                      <a:pt x="358636" y="1589268"/>
                      <a:pt x="340538" y="1624511"/>
                    </a:cubicBezTo>
                    <a:cubicBezTo>
                      <a:pt x="329108" y="1646418"/>
                      <a:pt x="340538" y="1644513"/>
                      <a:pt x="354826" y="1644513"/>
                    </a:cubicBezTo>
                    <a:cubicBezTo>
                      <a:pt x="372923" y="1644513"/>
                      <a:pt x="391973" y="1642608"/>
                      <a:pt x="410071" y="1645466"/>
                    </a:cubicBezTo>
                    <a:cubicBezTo>
                      <a:pt x="432931" y="1649276"/>
                      <a:pt x="449123" y="1658801"/>
                      <a:pt x="439598" y="1687376"/>
                    </a:cubicBezTo>
                    <a:cubicBezTo>
                      <a:pt x="433883" y="1705473"/>
                      <a:pt x="432931" y="1725476"/>
                      <a:pt x="426263" y="1743573"/>
                    </a:cubicBezTo>
                    <a:cubicBezTo>
                      <a:pt x="414833" y="1774053"/>
                      <a:pt x="432931" y="1793103"/>
                      <a:pt x="450076" y="1813106"/>
                    </a:cubicBezTo>
                    <a:cubicBezTo>
                      <a:pt x="466268" y="1832156"/>
                      <a:pt x="483413" y="1819773"/>
                      <a:pt x="499606" y="1812153"/>
                    </a:cubicBezTo>
                    <a:cubicBezTo>
                      <a:pt x="512941" y="1806438"/>
                      <a:pt x="528181" y="1806438"/>
                      <a:pt x="536753" y="1818821"/>
                    </a:cubicBezTo>
                    <a:cubicBezTo>
                      <a:pt x="554851" y="1843586"/>
                      <a:pt x="571996" y="1829298"/>
                      <a:pt x="577711" y="1813106"/>
                    </a:cubicBezTo>
                    <a:cubicBezTo>
                      <a:pt x="591998" y="1771196"/>
                      <a:pt x="630098" y="1768338"/>
                      <a:pt x="661531" y="1754051"/>
                    </a:cubicBezTo>
                    <a:cubicBezTo>
                      <a:pt x="671056" y="1754051"/>
                      <a:pt x="673913" y="1755956"/>
                      <a:pt x="672008" y="1763576"/>
                    </a:cubicBezTo>
                    <a:cubicBezTo>
                      <a:pt x="676771" y="1783578"/>
                      <a:pt x="689153" y="1777863"/>
                      <a:pt x="695821" y="1768338"/>
                    </a:cubicBezTo>
                    <a:cubicBezTo>
                      <a:pt x="713918" y="1745478"/>
                      <a:pt x="729158" y="1761671"/>
                      <a:pt x="741541" y="1772148"/>
                    </a:cubicBezTo>
                    <a:cubicBezTo>
                      <a:pt x="769163" y="1795008"/>
                      <a:pt x="799643" y="1798818"/>
                      <a:pt x="832028" y="1788341"/>
                    </a:cubicBezTo>
                    <a:cubicBezTo>
                      <a:pt x="845363" y="1783578"/>
                      <a:pt x="854888" y="1779768"/>
                      <a:pt x="865366" y="1796913"/>
                    </a:cubicBezTo>
                    <a:cubicBezTo>
                      <a:pt x="875843" y="1814058"/>
                      <a:pt x="896798" y="1823583"/>
                      <a:pt x="910133" y="1838823"/>
                    </a:cubicBezTo>
                    <a:cubicBezTo>
                      <a:pt x="947281" y="1881686"/>
                      <a:pt x="990143" y="1906451"/>
                      <a:pt x="1047293" y="1918833"/>
                    </a:cubicBezTo>
                    <a:cubicBezTo>
                      <a:pt x="1093966" y="1928358"/>
                      <a:pt x="1124446" y="1995986"/>
                      <a:pt x="1116826" y="2036943"/>
                    </a:cubicBezTo>
                    <a:cubicBezTo>
                      <a:pt x="1113968" y="2044563"/>
                      <a:pt x="1111111" y="2051231"/>
                      <a:pt x="1106348" y="2056946"/>
                    </a:cubicBezTo>
                    <a:cubicBezTo>
                      <a:pt x="1092061" y="2071233"/>
                      <a:pt x="1112063" y="2086473"/>
                      <a:pt x="1104443" y="2099808"/>
                    </a:cubicBezTo>
                    <a:cubicBezTo>
                      <a:pt x="1110158" y="2107428"/>
                      <a:pt x="1117778" y="2102666"/>
                      <a:pt x="1124446" y="2102666"/>
                    </a:cubicBezTo>
                    <a:cubicBezTo>
                      <a:pt x="1147306" y="2095046"/>
                      <a:pt x="1161593" y="2062661"/>
                      <a:pt x="1193026" y="2077901"/>
                    </a:cubicBezTo>
                    <a:cubicBezTo>
                      <a:pt x="1225411" y="2087426"/>
                      <a:pt x="1244461" y="2125526"/>
                      <a:pt x="1280656" y="2123621"/>
                    </a:cubicBezTo>
                    <a:cubicBezTo>
                      <a:pt x="1325423" y="2121716"/>
                      <a:pt x="1360666" y="2136956"/>
                      <a:pt x="1387336" y="2172198"/>
                    </a:cubicBezTo>
                    <a:cubicBezTo>
                      <a:pt x="1398766" y="2187438"/>
                      <a:pt x="1427341" y="2172198"/>
                      <a:pt x="1434008" y="2199821"/>
                    </a:cubicBezTo>
                    <a:cubicBezTo>
                      <a:pt x="1440676" y="2228396"/>
                      <a:pt x="1444486" y="2256018"/>
                      <a:pt x="1430198" y="2282688"/>
                    </a:cubicBezTo>
                    <a:cubicBezTo>
                      <a:pt x="1413053" y="2315073"/>
                      <a:pt x="1388288" y="2341743"/>
                      <a:pt x="1370191" y="2373176"/>
                    </a:cubicBezTo>
                    <a:cubicBezTo>
                      <a:pt x="1359713" y="2391273"/>
                      <a:pt x="1356856" y="2406513"/>
                      <a:pt x="1358761" y="2423658"/>
                    </a:cubicBezTo>
                    <a:cubicBezTo>
                      <a:pt x="1366381" y="2486523"/>
                      <a:pt x="1352093" y="2544626"/>
                      <a:pt x="1327328" y="2600823"/>
                    </a:cubicBezTo>
                    <a:cubicBezTo>
                      <a:pt x="1321613" y="2612253"/>
                      <a:pt x="1313041" y="2629398"/>
                      <a:pt x="1293991" y="2626541"/>
                    </a:cubicBezTo>
                    <a:cubicBezTo>
                      <a:pt x="1261606" y="2622731"/>
                      <a:pt x="1241603" y="2647496"/>
                      <a:pt x="1218743" y="2661783"/>
                    </a:cubicBezTo>
                    <a:cubicBezTo>
                      <a:pt x="1203503" y="2671308"/>
                      <a:pt x="1187311" y="2690358"/>
                      <a:pt x="1193026" y="2710361"/>
                    </a:cubicBezTo>
                    <a:cubicBezTo>
                      <a:pt x="1205408" y="2757033"/>
                      <a:pt x="1178738" y="2793228"/>
                      <a:pt x="1164451" y="2832281"/>
                    </a:cubicBezTo>
                    <a:cubicBezTo>
                      <a:pt x="1154926" y="2859903"/>
                      <a:pt x="1136828" y="2884668"/>
                      <a:pt x="1122541" y="2910386"/>
                    </a:cubicBezTo>
                    <a:cubicBezTo>
                      <a:pt x="1116826" y="2920863"/>
                      <a:pt x="1109206" y="2929436"/>
                      <a:pt x="1095871" y="2929436"/>
                    </a:cubicBezTo>
                    <a:cubicBezTo>
                      <a:pt x="1085393" y="2920863"/>
                      <a:pt x="1072058" y="2930388"/>
                      <a:pt x="1061581" y="2922768"/>
                    </a:cubicBezTo>
                    <a:cubicBezTo>
                      <a:pt x="1053961" y="2919911"/>
                      <a:pt x="1044436" y="2911338"/>
                      <a:pt x="1047293" y="2929436"/>
                    </a:cubicBezTo>
                    <a:cubicBezTo>
                      <a:pt x="1052056" y="2938961"/>
                      <a:pt x="1062533" y="2944676"/>
                      <a:pt x="1061581" y="2956106"/>
                    </a:cubicBezTo>
                    <a:cubicBezTo>
                      <a:pt x="1055866" y="2964678"/>
                      <a:pt x="1048246" y="2962773"/>
                      <a:pt x="1040626" y="2959916"/>
                    </a:cubicBezTo>
                    <a:cubicBezTo>
                      <a:pt x="952043" y="2929436"/>
                      <a:pt x="865366" y="2895146"/>
                      <a:pt x="783451" y="2850378"/>
                    </a:cubicBezTo>
                    <a:cubicBezTo>
                      <a:pt x="762496" y="2838948"/>
                      <a:pt x="762496" y="2820851"/>
                      <a:pt x="752971" y="2805611"/>
                    </a:cubicBezTo>
                    <a:cubicBezTo>
                      <a:pt x="730111" y="2799896"/>
                      <a:pt x="738683" y="2779893"/>
                      <a:pt x="737731" y="2765606"/>
                    </a:cubicBezTo>
                    <a:cubicBezTo>
                      <a:pt x="736778" y="2697978"/>
                      <a:pt x="732968" y="2631303"/>
                      <a:pt x="721538" y="2564628"/>
                    </a:cubicBezTo>
                    <a:cubicBezTo>
                      <a:pt x="715823" y="2532243"/>
                      <a:pt x="700583" y="2503668"/>
                      <a:pt x="670103" y="2492238"/>
                    </a:cubicBezTo>
                    <a:cubicBezTo>
                      <a:pt x="596761" y="2464616"/>
                      <a:pt x="568186" y="2400798"/>
                      <a:pt x="539611" y="2337933"/>
                    </a:cubicBezTo>
                    <a:cubicBezTo>
                      <a:pt x="520561" y="2296976"/>
                      <a:pt x="502463" y="2256971"/>
                      <a:pt x="473888" y="2221728"/>
                    </a:cubicBezTo>
                    <a:cubicBezTo>
                      <a:pt x="456743" y="2200773"/>
                      <a:pt x="450076" y="2174103"/>
                      <a:pt x="468173" y="2148386"/>
                    </a:cubicBezTo>
                    <a:cubicBezTo>
                      <a:pt x="473888" y="2140766"/>
                      <a:pt x="477698" y="2133146"/>
                      <a:pt x="471983" y="2122668"/>
                    </a:cubicBezTo>
                    <a:cubicBezTo>
                      <a:pt x="452933" y="2083616"/>
                      <a:pt x="471983" y="2052183"/>
                      <a:pt x="493891" y="2021703"/>
                    </a:cubicBezTo>
                    <a:cubicBezTo>
                      <a:pt x="518656" y="1987413"/>
                      <a:pt x="546278" y="1955028"/>
                      <a:pt x="538658" y="1907403"/>
                    </a:cubicBezTo>
                    <a:cubicBezTo>
                      <a:pt x="535801" y="1889306"/>
                      <a:pt x="531991" y="1871208"/>
                      <a:pt x="524371" y="1854063"/>
                    </a:cubicBezTo>
                    <a:cubicBezTo>
                      <a:pt x="517703" y="1837871"/>
                      <a:pt x="507226" y="1834061"/>
                      <a:pt x="499606" y="1853111"/>
                    </a:cubicBezTo>
                    <a:cubicBezTo>
                      <a:pt x="489128" y="1876923"/>
                      <a:pt x="475793" y="1875018"/>
                      <a:pt x="459601" y="1860731"/>
                    </a:cubicBezTo>
                    <a:cubicBezTo>
                      <a:pt x="443408" y="1847396"/>
                      <a:pt x="425311" y="1838823"/>
                      <a:pt x="408166" y="1827393"/>
                    </a:cubicBezTo>
                    <a:cubicBezTo>
                      <a:pt x="375781" y="1806438"/>
                      <a:pt x="371971" y="1771196"/>
                      <a:pt x="354826" y="1742621"/>
                    </a:cubicBezTo>
                    <a:cubicBezTo>
                      <a:pt x="346253" y="1729286"/>
                      <a:pt x="337681" y="1720713"/>
                      <a:pt x="322441" y="1715951"/>
                    </a:cubicBezTo>
                    <a:cubicBezTo>
                      <a:pt x="289103" y="1705473"/>
                      <a:pt x="255766" y="1691186"/>
                      <a:pt x="234811" y="1658801"/>
                    </a:cubicBezTo>
                    <a:cubicBezTo>
                      <a:pt x="228143" y="1649276"/>
                      <a:pt x="218618" y="1639751"/>
                      <a:pt x="206236" y="1644513"/>
                    </a:cubicBezTo>
                    <a:cubicBezTo>
                      <a:pt x="170993" y="1656896"/>
                      <a:pt x="143371" y="1639751"/>
                      <a:pt x="116701" y="1622606"/>
                    </a:cubicBezTo>
                    <a:cubicBezTo>
                      <a:pt x="85268" y="1603556"/>
                      <a:pt x="54788" y="1583553"/>
                      <a:pt x="28118" y="1557836"/>
                    </a:cubicBezTo>
                    <a:cubicBezTo>
                      <a:pt x="11926" y="1541643"/>
                      <a:pt x="1448" y="1523546"/>
                      <a:pt x="12878" y="1499733"/>
                    </a:cubicBezTo>
                    <a:cubicBezTo>
                      <a:pt x="20498" y="1482588"/>
                      <a:pt x="16688" y="1463538"/>
                      <a:pt x="10021" y="1446393"/>
                    </a:cubicBezTo>
                    <a:cubicBezTo>
                      <a:pt x="6211" y="1434963"/>
                      <a:pt x="-1409" y="1423533"/>
                      <a:pt x="5258" y="1410198"/>
                    </a:cubicBezTo>
                    <a:cubicBezTo>
                      <a:pt x="-12839" y="1304471"/>
                      <a:pt x="19546" y="1205411"/>
                      <a:pt x="45263" y="1105398"/>
                    </a:cubicBezTo>
                    <a:cubicBezTo>
                      <a:pt x="94793" y="912993"/>
                      <a:pt x="185281" y="739638"/>
                      <a:pt x="304343" y="581523"/>
                    </a:cubicBezTo>
                    <a:cubicBezTo>
                      <a:pt x="374828" y="487226"/>
                      <a:pt x="458648" y="405311"/>
                      <a:pt x="548183" y="329111"/>
                    </a:cubicBezTo>
                    <a:cubicBezTo>
                      <a:pt x="568186" y="311966"/>
                      <a:pt x="591046" y="303393"/>
                      <a:pt x="617716" y="317681"/>
                    </a:cubicBezTo>
                    <a:cubicBezTo>
                      <a:pt x="628193" y="324348"/>
                      <a:pt x="628193" y="314823"/>
                      <a:pt x="631051" y="309108"/>
                    </a:cubicBezTo>
                    <a:cubicBezTo>
                      <a:pt x="652006" y="308156"/>
                      <a:pt x="669151" y="289106"/>
                      <a:pt x="692011" y="299583"/>
                    </a:cubicBezTo>
                    <a:cubicBezTo>
                      <a:pt x="712013" y="311966"/>
                      <a:pt x="732968" y="317681"/>
                      <a:pt x="756781" y="316728"/>
                    </a:cubicBezTo>
                    <a:cubicBezTo>
                      <a:pt x="764401" y="317681"/>
                      <a:pt x="772973" y="320538"/>
                      <a:pt x="780593" y="315776"/>
                    </a:cubicBezTo>
                    <a:cubicBezTo>
                      <a:pt x="786308" y="312918"/>
                      <a:pt x="792023" y="311966"/>
                      <a:pt x="797738" y="314823"/>
                    </a:cubicBezTo>
                    <a:cubicBezTo>
                      <a:pt x="808216" y="327206"/>
                      <a:pt x="819646" y="321491"/>
                      <a:pt x="831076" y="316728"/>
                    </a:cubicBezTo>
                    <a:cubicBezTo>
                      <a:pt x="837743" y="304346"/>
                      <a:pt x="858698" y="297678"/>
                      <a:pt x="841553" y="277676"/>
                    </a:cubicBezTo>
                    <a:cubicBezTo>
                      <a:pt x="834886" y="270056"/>
                      <a:pt x="846316" y="263388"/>
                      <a:pt x="852031" y="259578"/>
                    </a:cubicBezTo>
                    <a:cubicBezTo>
                      <a:pt x="857269" y="255768"/>
                      <a:pt x="862508" y="252434"/>
                      <a:pt x="867152" y="248624"/>
                    </a:cubicBezTo>
                    <a:lnTo>
                      <a:pt x="876026" y="238011"/>
                    </a:lnTo>
                    <a:lnTo>
                      <a:pt x="858921" y="241392"/>
                    </a:lnTo>
                    <a:cubicBezTo>
                      <a:pt x="840303" y="244874"/>
                      <a:pt x="823694" y="244338"/>
                      <a:pt x="821551" y="210048"/>
                    </a:cubicBezTo>
                    <a:cubicBezTo>
                      <a:pt x="833933" y="208143"/>
                      <a:pt x="848221" y="208143"/>
                      <a:pt x="857746" y="190998"/>
                    </a:cubicBezTo>
                    <a:cubicBezTo>
                      <a:pt x="861079" y="184807"/>
                      <a:pt x="867032" y="183378"/>
                      <a:pt x="873343" y="184331"/>
                    </a:cubicBezTo>
                    <a:close/>
                    <a:moveTo>
                      <a:pt x="798215" y="181949"/>
                    </a:moveTo>
                    <a:cubicBezTo>
                      <a:pt x="801310" y="182187"/>
                      <a:pt x="803930" y="183378"/>
                      <a:pt x="805359" y="187188"/>
                    </a:cubicBezTo>
                    <a:cubicBezTo>
                      <a:pt x="808216" y="194808"/>
                      <a:pt x="800596" y="194808"/>
                      <a:pt x="795834" y="196713"/>
                    </a:cubicBezTo>
                    <a:cubicBezTo>
                      <a:pt x="790119" y="193856"/>
                      <a:pt x="788214" y="189093"/>
                      <a:pt x="788214" y="182426"/>
                    </a:cubicBezTo>
                    <a:cubicBezTo>
                      <a:pt x="791547" y="182426"/>
                      <a:pt x="795119" y="181711"/>
                      <a:pt x="798215" y="181949"/>
                    </a:cubicBezTo>
                    <a:close/>
                    <a:moveTo>
                      <a:pt x="938708" y="121466"/>
                    </a:moveTo>
                    <a:cubicBezTo>
                      <a:pt x="943471" y="128133"/>
                      <a:pt x="953948" y="130038"/>
                      <a:pt x="952043" y="141468"/>
                    </a:cubicBezTo>
                    <a:lnTo>
                      <a:pt x="951037" y="142501"/>
                    </a:lnTo>
                    <a:lnTo>
                      <a:pt x="953949" y="140516"/>
                    </a:lnTo>
                    <a:cubicBezTo>
                      <a:pt x="952996" y="143373"/>
                      <a:pt x="952996" y="146231"/>
                      <a:pt x="952996" y="148136"/>
                    </a:cubicBezTo>
                    <a:cubicBezTo>
                      <a:pt x="952996" y="154803"/>
                      <a:pt x="952996" y="161471"/>
                      <a:pt x="952996" y="169091"/>
                    </a:cubicBezTo>
                    <a:cubicBezTo>
                      <a:pt x="949662" y="166709"/>
                      <a:pt x="947281" y="162899"/>
                      <a:pt x="944424" y="159804"/>
                    </a:cubicBezTo>
                    <a:lnTo>
                      <a:pt x="933131" y="154863"/>
                    </a:lnTo>
                    <a:lnTo>
                      <a:pt x="931088" y="155756"/>
                    </a:lnTo>
                    <a:cubicBezTo>
                      <a:pt x="931088" y="155756"/>
                      <a:pt x="930136" y="155756"/>
                      <a:pt x="930136" y="155756"/>
                    </a:cubicBezTo>
                    <a:cubicBezTo>
                      <a:pt x="925373" y="152898"/>
                      <a:pt x="906323" y="162423"/>
                      <a:pt x="918706" y="144326"/>
                    </a:cubicBezTo>
                    <a:cubicBezTo>
                      <a:pt x="923468" y="137658"/>
                      <a:pt x="931088" y="131943"/>
                      <a:pt x="931088" y="122418"/>
                    </a:cubicBezTo>
                    <a:cubicBezTo>
                      <a:pt x="934898" y="118608"/>
                      <a:pt x="936803" y="118608"/>
                      <a:pt x="938708" y="121466"/>
                    </a:cubicBezTo>
                    <a:close/>
                    <a:moveTo>
                      <a:pt x="925373" y="107178"/>
                    </a:moveTo>
                    <a:cubicBezTo>
                      <a:pt x="930136" y="111940"/>
                      <a:pt x="934898" y="116703"/>
                      <a:pt x="938708" y="121465"/>
                    </a:cubicBezTo>
                    <a:lnTo>
                      <a:pt x="935851" y="121465"/>
                    </a:lnTo>
                    <a:cubicBezTo>
                      <a:pt x="935851" y="121465"/>
                      <a:pt x="932993" y="121465"/>
                      <a:pt x="932993" y="121465"/>
                    </a:cubicBezTo>
                    <a:cubicBezTo>
                      <a:pt x="923468" y="125275"/>
                      <a:pt x="912991" y="131943"/>
                      <a:pt x="901561" y="123370"/>
                    </a:cubicBezTo>
                    <a:cubicBezTo>
                      <a:pt x="904418" y="109083"/>
                      <a:pt x="915848" y="109083"/>
                      <a:pt x="925373" y="107178"/>
                    </a:cubicBezTo>
                    <a:close/>
                    <a:moveTo>
                      <a:pt x="1021576" y="71936"/>
                    </a:moveTo>
                    <a:cubicBezTo>
                      <a:pt x="1037768" y="75746"/>
                      <a:pt x="1038721" y="87176"/>
                      <a:pt x="1031101" y="97653"/>
                    </a:cubicBezTo>
                    <a:cubicBezTo>
                      <a:pt x="1019671" y="115751"/>
                      <a:pt x="1011098" y="95748"/>
                      <a:pt x="1000621" y="92891"/>
                    </a:cubicBezTo>
                    <a:cubicBezTo>
                      <a:pt x="1002526" y="88128"/>
                      <a:pt x="1005383" y="83366"/>
                      <a:pt x="1007288" y="79556"/>
                    </a:cubicBezTo>
                    <a:cubicBezTo>
                      <a:pt x="1012051" y="76698"/>
                      <a:pt x="1016813" y="74793"/>
                      <a:pt x="1021576" y="71936"/>
                    </a:cubicBezTo>
                    <a:close/>
                    <a:moveTo>
                      <a:pt x="1113849" y="40265"/>
                    </a:moveTo>
                    <a:cubicBezTo>
                      <a:pt x="1128732" y="39074"/>
                      <a:pt x="1143972" y="42885"/>
                      <a:pt x="1159689" y="51933"/>
                    </a:cubicBezTo>
                    <a:cubicBezTo>
                      <a:pt x="1175881" y="68126"/>
                      <a:pt x="1166356" y="76698"/>
                      <a:pt x="1151116" y="84318"/>
                    </a:cubicBezTo>
                    <a:cubicBezTo>
                      <a:pt x="1137781" y="90986"/>
                      <a:pt x="1123494" y="86223"/>
                      <a:pt x="1111111" y="92891"/>
                    </a:cubicBezTo>
                    <a:cubicBezTo>
                      <a:pt x="1083489" y="98606"/>
                      <a:pt x="1067296" y="90033"/>
                      <a:pt x="1070153" y="58601"/>
                    </a:cubicBezTo>
                    <a:cubicBezTo>
                      <a:pt x="1084441" y="47647"/>
                      <a:pt x="1098967" y="41456"/>
                      <a:pt x="1113849" y="40265"/>
                    </a:cubicBezTo>
                    <a:close/>
                    <a:moveTo>
                      <a:pt x="1400760" y="96"/>
                    </a:moveTo>
                    <a:cubicBezTo>
                      <a:pt x="1426031" y="498"/>
                      <a:pt x="1451392" y="2164"/>
                      <a:pt x="1476871" y="5260"/>
                    </a:cubicBezTo>
                    <a:cubicBezTo>
                      <a:pt x="1521639" y="13833"/>
                      <a:pt x="1566406" y="14785"/>
                      <a:pt x="1611174" y="9070"/>
                    </a:cubicBezTo>
                    <a:cubicBezTo>
                      <a:pt x="1614984" y="7165"/>
                      <a:pt x="1619746" y="9070"/>
                      <a:pt x="1619746" y="17643"/>
                    </a:cubicBezTo>
                    <a:cubicBezTo>
                      <a:pt x="1631176" y="13833"/>
                      <a:pt x="1639748" y="20500"/>
                      <a:pt x="1646416" y="28120"/>
                    </a:cubicBezTo>
                    <a:cubicBezTo>
                      <a:pt x="1652131" y="36693"/>
                      <a:pt x="1659751" y="35740"/>
                      <a:pt x="1667371" y="31930"/>
                    </a:cubicBezTo>
                    <a:cubicBezTo>
                      <a:pt x="1693088" y="18119"/>
                      <a:pt x="1717377" y="11690"/>
                      <a:pt x="1742261" y="11690"/>
                    </a:cubicBezTo>
                    <a:cubicBezTo>
                      <a:pt x="1767145" y="11690"/>
                      <a:pt x="1792624" y="18119"/>
                      <a:pt x="1820723" y="30025"/>
                    </a:cubicBezTo>
                    <a:cubicBezTo>
                      <a:pt x="1845488" y="40503"/>
                      <a:pt x="1874063" y="40503"/>
                      <a:pt x="1901686" y="45265"/>
                    </a:cubicBezTo>
                    <a:cubicBezTo>
                      <a:pt x="1905496" y="54790"/>
                      <a:pt x="1888351" y="56695"/>
                      <a:pt x="1894066" y="69078"/>
                    </a:cubicBezTo>
                    <a:cubicBezTo>
                      <a:pt x="1913116" y="57648"/>
                      <a:pt x="1934071" y="52885"/>
                      <a:pt x="1955978" y="55743"/>
                    </a:cubicBezTo>
                    <a:cubicBezTo>
                      <a:pt x="1961693" y="62410"/>
                      <a:pt x="1959788" y="69078"/>
                      <a:pt x="1954073" y="71935"/>
                    </a:cubicBezTo>
                    <a:cubicBezTo>
                      <a:pt x="1939786" y="78603"/>
                      <a:pt x="1939786" y="91938"/>
                      <a:pt x="1935976" y="103368"/>
                    </a:cubicBezTo>
                    <a:cubicBezTo>
                      <a:pt x="1904543" y="124323"/>
                      <a:pt x="1914068" y="142420"/>
                      <a:pt x="1949311" y="161470"/>
                    </a:cubicBezTo>
                    <a:cubicBezTo>
                      <a:pt x="1923593" y="162423"/>
                      <a:pt x="1905496" y="153850"/>
                      <a:pt x="1894066" y="171948"/>
                    </a:cubicBezTo>
                    <a:cubicBezTo>
                      <a:pt x="1899781" y="177663"/>
                      <a:pt x="1909306" y="175758"/>
                      <a:pt x="1913116" y="183378"/>
                    </a:cubicBezTo>
                    <a:cubicBezTo>
                      <a:pt x="1917878" y="187188"/>
                      <a:pt x="1922641" y="195760"/>
                      <a:pt x="1907401" y="196713"/>
                    </a:cubicBezTo>
                    <a:cubicBezTo>
                      <a:pt x="1907401" y="221478"/>
                      <a:pt x="1903591" y="242433"/>
                      <a:pt x="1873111" y="245290"/>
                    </a:cubicBezTo>
                    <a:cubicBezTo>
                      <a:pt x="1842631" y="244338"/>
                      <a:pt x="1879778" y="263388"/>
                      <a:pt x="1866443" y="267198"/>
                    </a:cubicBezTo>
                    <a:cubicBezTo>
                      <a:pt x="1860728" y="271008"/>
                      <a:pt x="1855013" y="271960"/>
                      <a:pt x="1851203" y="270055"/>
                    </a:cubicBezTo>
                    <a:cubicBezTo>
                      <a:pt x="1860728" y="280533"/>
                      <a:pt x="1876921" y="291963"/>
                      <a:pt x="1866443" y="313870"/>
                    </a:cubicBezTo>
                    <a:cubicBezTo>
                      <a:pt x="1859776" y="319585"/>
                      <a:pt x="1852156" y="321490"/>
                      <a:pt x="1843583" y="319585"/>
                    </a:cubicBezTo>
                    <a:cubicBezTo>
                      <a:pt x="1833106" y="315775"/>
                      <a:pt x="1827391" y="307203"/>
                      <a:pt x="1819771" y="300535"/>
                    </a:cubicBezTo>
                    <a:cubicBezTo>
                      <a:pt x="1811198" y="310060"/>
                      <a:pt x="1800721" y="314823"/>
                      <a:pt x="1788338" y="313870"/>
                    </a:cubicBezTo>
                    <a:cubicBezTo>
                      <a:pt x="1791196" y="322443"/>
                      <a:pt x="1796911" y="313870"/>
                      <a:pt x="1800721" y="315775"/>
                    </a:cubicBezTo>
                    <a:cubicBezTo>
                      <a:pt x="1808341" y="314823"/>
                      <a:pt x="1815961" y="312918"/>
                      <a:pt x="1823581" y="314823"/>
                    </a:cubicBezTo>
                    <a:cubicBezTo>
                      <a:pt x="1826438" y="315775"/>
                      <a:pt x="1830248" y="316728"/>
                      <a:pt x="1833106" y="317680"/>
                    </a:cubicBezTo>
                    <a:cubicBezTo>
                      <a:pt x="1838821" y="322443"/>
                      <a:pt x="1842631" y="327205"/>
                      <a:pt x="1838821" y="334825"/>
                    </a:cubicBezTo>
                    <a:cubicBezTo>
                      <a:pt x="1800721" y="354828"/>
                      <a:pt x="1760716" y="371020"/>
                      <a:pt x="1715948" y="370068"/>
                    </a:cubicBezTo>
                    <a:cubicBezTo>
                      <a:pt x="1707376" y="370068"/>
                      <a:pt x="1695946" y="372925"/>
                      <a:pt x="1691183" y="379593"/>
                    </a:cubicBezTo>
                    <a:cubicBezTo>
                      <a:pt x="1662608" y="411025"/>
                      <a:pt x="1627366" y="425313"/>
                      <a:pt x="1586408" y="430075"/>
                    </a:cubicBezTo>
                    <a:cubicBezTo>
                      <a:pt x="1564501" y="432933"/>
                      <a:pt x="1554976" y="450078"/>
                      <a:pt x="1542593" y="468175"/>
                    </a:cubicBezTo>
                    <a:cubicBezTo>
                      <a:pt x="1522591" y="497703"/>
                      <a:pt x="1501636" y="527230"/>
                      <a:pt x="1480681" y="555805"/>
                    </a:cubicBezTo>
                    <a:cubicBezTo>
                      <a:pt x="1475918" y="562473"/>
                      <a:pt x="1469251" y="562473"/>
                      <a:pt x="1462583" y="562473"/>
                    </a:cubicBezTo>
                    <a:cubicBezTo>
                      <a:pt x="1419721" y="558663"/>
                      <a:pt x="1380668" y="507228"/>
                      <a:pt x="1385431" y="462460"/>
                    </a:cubicBezTo>
                    <a:cubicBezTo>
                      <a:pt x="1388288" y="441505"/>
                      <a:pt x="1374001" y="421503"/>
                      <a:pt x="1379716" y="398643"/>
                    </a:cubicBezTo>
                    <a:cubicBezTo>
                      <a:pt x="1387336" y="363400"/>
                      <a:pt x="1418768" y="354828"/>
                      <a:pt x="1441628" y="335778"/>
                    </a:cubicBezTo>
                    <a:cubicBezTo>
                      <a:pt x="1443533" y="331015"/>
                      <a:pt x="1445438" y="325300"/>
                      <a:pt x="1449248" y="321490"/>
                    </a:cubicBezTo>
                    <a:cubicBezTo>
                      <a:pt x="1454011" y="314823"/>
                      <a:pt x="1454963" y="306250"/>
                      <a:pt x="1461631" y="300535"/>
                    </a:cubicBezTo>
                    <a:cubicBezTo>
                      <a:pt x="1451153" y="280533"/>
                      <a:pt x="1439723" y="265293"/>
                      <a:pt x="1412101" y="280533"/>
                    </a:cubicBezTo>
                    <a:cubicBezTo>
                      <a:pt x="1425436" y="259578"/>
                      <a:pt x="1438771" y="241480"/>
                      <a:pt x="1434961" y="215763"/>
                    </a:cubicBezTo>
                    <a:cubicBezTo>
                      <a:pt x="1430198" y="178615"/>
                      <a:pt x="1409243" y="158613"/>
                      <a:pt x="1371143" y="160518"/>
                    </a:cubicBezTo>
                    <a:cubicBezTo>
                      <a:pt x="1357808" y="161470"/>
                      <a:pt x="1343521" y="159565"/>
                      <a:pt x="1331138" y="162423"/>
                    </a:cubicBezTo>
                    <a:cubicBezTo>
                      <a:pt x="1317803" y="165280"/>
                      <a:pt x="1310183" y="161470"/>
                      <a:pt x="1303516" y="150040"/>
                    </a:cubicBezTo>
                    <a:cubicBezTo>
                      <a:pt x="1296848" y="136705"/>
                      <a:pt x="1300658" y="131943"/>
                      <a:pt x="1313993" y="130038"/>
                    </a:cubicBezTo>
                    <a:cubicBezTo>
                      <a:pt x="1321613" y="129085"/>
                      <a:pt x="1316851" y="124323"/>
                      <a:pt x="1313041" y="121465"/>
                    </a:cubicBezTo>
                    <a:cubicBezTo>
                      <a:pt x="1283513" y="99558"/>
                      <a:pt x="1311136" y="99558"/>
                      <a:pt x="1323518" y="96700"/>
                    </a:cubicBezTo>
                    <a:cubicBezTo>
                      <a:pt x="1344473" y="92890"/>
                      <a:pt x="1365428" y="88128"/>
                      <a:pt x="1387336" y="88128"/>
                    </a:cubicBezTo>
                    <a:cubicBezTo>
                      <a:pt x="1399718" y="88128"/>
                      <a:pt x="1414006" y="81460"/>
                      <a:pt x="1394003" y="68125"/>
                    </a:cubicBezTo>
                    <a:cubicBezTo>
                      <a:pt x="1402576" y="42408"/>
                      <a:pt x="1427341" y="49075"/>
                      <a:pt x="1445438" y="41455"/>
                    </a:cubicBezTo>
                    <a:lnTo>
                      <a:pt x="1471104" y="35589"/>
                    </a:lnTo>
                    <a:lnTo>
                      <a:pt x="1469608" y="35026"/>
                    </a:lnTo>
                    <a:cubicBezTo>
                      <a:pt x="1465441" y="34550"/>
                      <a:pt x="1461155" y="34788"/>
                      <a:pt x="1456869" y="34788"/>
                    </a:cubicBezTo>
                    <a:cubicBezTo>
                      <a:pt x="1424484" y="38598"/>
                      <a:pt x="1396861" y="56695"/>
                      <a:pt x="1365429" y="60505"/>
                    </a:cubicBezTo>
                    <a:cubicBezTo>
                      <a:pt x="1307326" y="66220"/>
                      <a:pt x="1264464" y="112893"/>
                      <a:pt x="1208266" y="122418"/>
                    </a:cubicBezTo>
                    <a:cubicBezTo>
                      <a:pt x="1196836" y="130038"/>
                      <a:pt x="1186359" y="129085"/>
                      <a:pt x="1175881" y="122418"/>
                    </a:cubicBezTo>
                    <a:cubicBezTo>
                      <a:pt x="1178739" y="129085"/>
                      <a:pt x="1197789" y="127180"/>
                      <a:pt x="1187311" y="142420"/>
                    </a:cubicBezTo>
                    <a:cubicBezTo>
                      <a:pt x="1185406" y="144325"/>
                      <a:pt x="1182549" y="146230"/>
                      <a:pt x="1180644" y="149088"/>
                    </a:cubicBezTo>
                    <a:cubicBezTo>
                      <a:pt x="1173262" y="152183"/>
                      <a:pt x="1165939" y="153434"/>
                      <a:pt x="1158647" y="153642"/>
                    </a:cubicBezTo>
                    <a:lnTo>
                      <a:pt x="1143520" y="152466"/>
                    </a:lnTo>
                    <a:lnTo>
                      <a:pt x="1148259" y="153731"/>
                    </a:lnTo>
                    <a:cubicBezTo>
                      <a:pt x="1153498" y="157422"/>
                      <a:pt x="1155879" y="163851"/>
                      <a:pt x="1152069" y="175758"/>
                    </a:cubicBezTo>
                    <a:cubicBezTo>
                      <a:pt x="1112064" y="198618"/>
                      <a:pt x="1069201" y="175758"/>
                      <a:pt x="1029196" y="182425"/>
                    </a:cubicBezTo>
                    <a:cubicBezTo>
                      <a:pt x="1020624" y="171948"/>
                      <a:pt x="980619" y="182425"/>
                      <a:pt x="1006336" y="148135"/>
                    </a:cubicBezTo>
                    <a:cubicBezTo>
                      <a:pt x="1011099" y="141468"/>
                      <a:pt x="1003479" y="136705"/>
                      <a:pt x="995859" y="134800"/>
                    </a:cubicBezTo>
                    <a:cubicBezTo>
                      <a:pt x="984429" y="131943"/>
                      <a:pt x="981571" y="125275"/>
                      <a:pt x="987286" y="114798"/>
                    </a:cubicBezTo>
                    <a:cubicBezTo>
                      <a:pt x="1010146" y="115750"/>
                      <a:pt x="1027291" y="130990"/>
                      <a:pt x="1049199" y="134800"/>
                    </a:cubicBezTo>
                    <a:cubicBezTo>
                      <a:pt x="1053009" y="140515"/>
                      <a:pt x="1055866" y="147183"/>
                      <a:pt x="1064439" y="149088"/>
                    </a:cubicBezTo>
                    <a:cubicBezTo>
                      <a:pt x="1074916" y="150993"/>
                      <a:pt x="1085394" y="150278"/>
                      <a:pt x="1095871" y="149326"/>
                    </a:cubicBezTo>
                    <a:lnTo>
                      <a:pt x="1106484" y="148924"/>
                    </a:lnTo>
                    <a:lnTo>
                      <a:pt x="1093014" y="149088"/>
                    </a:lnTo>
                    <a:cubicBezTo>
                      <a:pt x="1081584" y="144325"/>
                      <a:pt x="1067296" y="146230"/>
                      <a:pt x="1062534" y="131943"/>
                    </a:cubicBezTo>
                    <a:cubicBezTo>
                      <a:pt x="1083489" y="115750"/>
                      <a:pt x="1102539" y="93843"/>
                      <a:pt x="1133971" y="110988"/>
                    </a:cubicBezTo>
                    <a:cubicBezTo>
                      <a:pt x="1150164" y="112893"/>
                      <a:pt x="1147306" y="91938"/>
                      <a:pt x="1158736" y="88128"/>
                    </a:cubicBezTo>
                    <a:cubicBezTo>
                      <a:pt x="1164451" y="84318"/>
                      <a:pt x="1172071" y="81460"/>
                      <a:pt x="1173024" y="73840"/>
                    </a:cubicBezTo>
                    <a:cubicBezTo>
                      <a:pt x="1176834" y="44313"/>
                      <a:pt x="1193979" y="46218"/>
                      <a:pt x="1214934" y="54790"/>
                    </a:cubicBezTo>
                    <a:cubicBezTo>
                      <a:pt x="1234936" y="51933"/>
                      <a:pt x="1254939" y="44313"/>
                      <a:pt x="1275894" y="44313"/>
                    </a:cubicBezTo>
                    <a:cubicBezTo>
                      <a:pt x="1253986" y="44313"/>
                      <a:pt x="1233031" y="51933"/>
                      <a:pt x="1211124" y="51933"/>
                    </a:cubicBezTo>
                    <a:cubicBezTo>
                      <a:pt x="1199694" y="46218"/>
                      <a:pt x="1184454" y="50028"/>
                      <a:pt x="1174929" y="39550"/>
                    </a:cubicBezTo>
                    <a:cubicBezTo>
                      <a:pt x="1174929" y="34788"/>
                      <a:pt x="1174929" y="30978"/>
                      <a:pt x="1174929" y="26215"/>
                    </a:cubicBezTo>
                    <a:cubicBezTo>
                      <a:pt x="1249938" y="9070"/>
                      <a:pt x="1324947" y="-1110"/>
                      <a:pt x="1400760" y="96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 dirty="0"/>
              </a:p>
            </p:txBody>
          </p:sp>
        </p:grpSp>
        <p:grpSp>
          <p:nvGrpSpPr>
            <p:cNvPr id="13" name="Groupe 12">
              <a:extLst>
                <a:ext uri="{FF2B5EF4-FFF2-40B4-BE49-F238E27FC236}">
                  <a16:creationId xmlns:a16="http://schemas.microsoft.com/office/drawing/2014/main" id="{9A8D581A-1B15-4A2D-A74C-E8E0EFA72511}"/>
                </a:ext>
              </a:extLst>
            </p:cNvPr>
            <p:cNvGrpSpPr/>
            <p:nvPr/>
          </p:nvGrpSpPr>
          <p:grpSpPr>
            <a:xfrm>
              <a:off x="3283166" y="3423430"/>
              <a:ext cx="3058263" cy="3328100"/>
              <a:chOff x="13888276" y="-1266420"/>
              <a:chExt cx="6130925" cy="6540501"/>
            </a:xfrm>
            <a:noFill/>
          </p:grpSpPr>
          <p:sp>
            <p:nvSpPr>
              <p:cNvPr id="90" name="Freeform 5">
                <a:extLst>
                  <a:ext uri="{FF2B5EF4-FFF2-40B4-BE49-F238E27FC236}">
                    <a16:creationId xmlns:a16="http://schemas.microsoft.com/office/drawing/2014/main" id="{D7A8E04F-48BA-43A4-B426-8889872686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20126" y="2199093"/>
                <a:ext cx="2374899" cy="1628775"/>
              </a:xfrm>
              <a:custGeom>
                <a:avLst/>
                <a:gdLst>
                  <a:gd name="T0" fmla="*/ 150 w 5981"/>
                  <a:gd name="T1" fmla="*/ 3775 h 4103"/>
                  <a:gd name="T2" fmla="*/ 242 w 5981"/>
                  <a:gd name="T3" fmla="*/ 3922 h 4103"/>
                  <a:gd name="T4" fmla="*/ 317 w 5981"/>
                  <a:gd name="T5" fmla="*/ 3975 h 4103"/>
                  <a:gd name="T6" fmla="*/ 402 w 5981"/>
                  <a:gd name="T7" fmla="*/ 3907 h 4103"/>
                  <a:gd name="T8" fmla="*/ 490 w 5981"/>
                  <a:gd name="T9" fmla="*/ 3945 h 4103"/>
                  <a:gd name="T10" fmla="*/ 564 w 5981"/>
                  <a:gd name="T11" fmla="*/ 3930 h 4103"/>
                  <a:gd name="T12" fmla="*/ 689 w 5981"/>
                  <a:gd name="T13" fmla="*/ 3895 h 4103"/>
                  <a:gd name="T14" fmla="*/ 804 w 5981"/>
                  <a:gd name="T15" fmla="*/ 3896 h 4103"/>
                  <a:gd name="T16" fmla="*/ 993 w 5981"/>
                  <a:gd name="T17" fmla="*/ 3979 h 4103"/>
                  <a:gd name="T18" fmla="*/ 1185 w 5981"/>
                  <a:gd name="T19" fmla="*/ 4058 h 4103"/>
                  <a:gd name="T20" fmla="*/ 1273 w 5981"/>
                  <a:gd name="T21" fmla="*/ 4038 h 4103"/>
                  <a:gd name="T22" fmla="*/ 1443 w 5981"/>
                  <a:gd name="T23" fmla="*/ 3910 h 4103"/>
                  <a:gd name="T24" fmla="*/ 1760 w 5981"/>
                  <a:gd name="T25" fmla="*/ 3950 h 4103"/>
                  <a:gd name="T26" fmla="*/ 2004 w 5981"/>
                  <a:gd name="T27" fmla="*/ 3988 h 4103"/>
                  <a:gd name="T28" fmla="*/ 2276 w 5981"/>
                  <a:gd name="T29" fmla="*/ 4102 h 4103"/>
                  <a:gd name="T30" fmla="*/ 2516 w 5981"/>
                  <a:gd name="T31" fmla="*/ 4040 h 4103"/>
                  <a:gd name="T32" fmla="*/ 2714 w 5981"/>
                  <a:gd name="T33" fmla="*/ 4065 h 4103"/>
                  <a:gd name="T34" fmla="*/ 5837 w 5981"/>
                  <a:gd name="T35" fmla="*/ 1511 h 4103"/>
                  <a:gd name="T36" fmla="*/ 5337 w 5981"/>
                  <a:gd name="T37" fmla="*/ 936 h 4103"/>
                  <a:gd name="T38" fmla="*/ 5189 w 5981"/>
                  <a:gd name="T39" fmla="*/ 987 h 4103"/>
                  <a:gd name="T40" fmla="*/ 5015 w 5981"/>
                  <a:gd name="T41" fmla="*/ 966 h 4103"/>
                  <a:gd name="T42" fmla="*/ 4854 w 5981"/>
                  <a:gd name="T43" fmla="*/ 845 h 4103"/>
                  <a:gd name="T44" fmla="*/ 4750 w 5981"/>
                  <a:gd name="T45" fmla="*/ 694 h 4103"/>
                  <a:gd name="T46" fmla="*/ 4694 w 5981"/>
                  <a:gd name="T47" fmla="*/ 702 h 4103"/>
                  <a:gd name="T48" fmla="*/ 4585 w 5981"/>
                  <a:gd name="T49" fmla="*/ 720 h 4103"/>
                  <a:gd name="T50" fmla="*/ 4482 w 5981"/>
                  <a:gd name="T51" fmla="*/ 647 h 4103"/>
                  <a:gd name="T52" fmla="*/ 4350 w 5981"/>
                  <a:gd name="T53" fmla="*/ 518 h 4103"/>
                  <a:gd name="T54" fmla="*/ 4130 w 5981"/>
                  <a:gd name="T55" fmla="*/ 545 h 4103"/>
                  <a:gd name="T56" fmla="*/ 4028 w 5981"/>
                  <a:gd name="T57" fmla="*/ 511 h 4103"/>
                  <a:gd name="T58" fmla="*/ 3601 w 5981"/>
                  <a:gd name="T59" fmla="*/ 501 h 4103"/>
                  <a:gd name="T60" fmla="*/ 3485 w 5981"/>
                  <a:gd name="T61" fmla="*/ 529 h 4103"/>
                  <a:gd name="T62" fmla="*/ 3417 w 5981"/>
                  <a:gd name="T63" fmla="*/ 547 h 4103"/>
                  <a:gd name="T64" fmla="*/ 3261 w 5981"/>
                  <a:gd name="T65" fmla="*/ 463 h 4103"/>
                  <a:gd name="T66" fmla="*/ 3088 w 5981"/>
                  <a:gd name="T67" fmla="*/ 452 h 4103"/>
                  <a:gd name="T68" fmla="*/ 3018 w 5981"/>
                  <a:gd name="T69" fmla="*/ 336 h 4103"/>
                  <a:gd name="T70" fmla="*/ 2932 w 5981"/>
                  <a:gd name="T71" fmla="*/ 150 h 4103"/>
                  <a:gd name="T72" fmla="*/ 2841 w 5981"/>
                  <a:gd name="T73" fmla="*/ 15 h 4103"/>
                  <a:gd name="T74" fmla="*/ 2616 w 5981"/>
                  <a:gd name="T75" fmla="*/ 126 h 4103"/>
                  <a:gd name="T76" fmla="*/ 2078 w 5981"/>
                  <a:gd name="T77" fmla="*/ 207 h 4103"/>
                  <a:gd name="T78" fmla="*/ 1867 w 5981"/>
                  <a:gd name="T79" fmla="*/ 289 h 4103"/>
                  <a:gd name="T80" fmla="*/ 1741 w 5981"/>
                  <a:gd name="T81" fmla="*/ 486 h 4103"/>
                  <a:gd name="T82" fmla="*/ 1649 w 5981"/>
                  <a:gd name="T83" fmla="*/ 570 h 4103"/>
                  <a:gd name="T84" fmla="*/ 1517 w 5981"/>
                  <a:gd name="T85" fmla="*/ 946 h 4103"/>
                  <a:gd name="T86" fmla="*/ 1365 w 5981"/>
                  <a:gd name="T87" fmla="*/ 1352 h 4103"/>
                  <a:gd name="T88" fmla="*/ 1274 w 5981"/>
                  <a:gd name="T89" fmla="*/ 1554 h 4103"/>
                  <a:gd name="T90" fmla="*/ 881 w 5981"/>
                  <a:gd name="T91" fmla="*/ 1849 h 4103"/>
                  <a:gd name="T92" fmla="*/ 740 w 5981"/>
                  <a:gd name="T93" fmla="*/ 1889 h 4103"/>
                  <a:gd name="T94" fmla="*/ 673 w 5981"/>
                  <a:gd name="T95" fmla="*/ 1910 h 4103"/>
                  <a:gd name="T96" fmla="*/ 615 w 5981"/>
                  <a:gd name="T97" fmla="*/ 2002 h 4103"/>
                  <a:gd name="T98" fmla="*/ 471 w 5981"/>
                  <a:gd name="T99" fmla="*/ 2082 h 4103"/>
                  <a:gd name="T100" fmla="*/ 381 w 5981"/>
                  <a:gd name="T101" fmla="*/ 2196 h 4103"/>
                  <a:gd name="T102" fmla="*/ 369 w 5981"/>
                  <a:gd name="T103" fmla="*/ 2323 h 4103"/>
                  <a:gd name="T104" fmla="*/ 299 w 5981"/>
                  <a:gd name="T105" fmla="*/ 2527 h 4103"/>
                  <a:gd name="T106" fmla="*/ 163 w 5981"/>
                  <a:gd name="T107" fmla="*/ 2874 h 4103"/>
                  <a:gd name="T108" fmla="*/ 69 w 5981"/>
                  <a:gd name="T109" fmla="*/ 3060 h 4103"/>
                  <a:gd name="T110" fmla="*/ 59 w 5981"/>
                  <a:gd name="T111" fmla="*/ 3265 h 4103"/>
                  <a:gd name="T112" fmla="*/ 71 w 5981"/>
                  <a:gd name="T113" fmla="*/ 3455 h 4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981" h="4103">
                    <a:moveTo>
                      <a:pt x="0" y="3728"/>
                    </a:moveTo>
                    <a:lnTo>
                      <a:pt x="86" y="3771"/>
                    </a:lnTo>
                    <a:lnTo>
                      <a:pt x="95" y="3770"/>
                    </a:lnTo>
                    <a:lnTo>
                      <a:pt x="105" y="3769"/>
                    </a:lnTo>
                    <a:lnTo>
                      <a:pt x="114" y="3768"/>
                    </a:lnTo>
                    <a:lnTo>
                      <a:pt x="121" y="3769"/>
                    </a:lnTo>
                    <a:lnTo>
                      <a:pt x="130" y="3769"/>
                    </a:lnTo>
                    <a:lnTo>
                      <a:pt x="136" y="3771"/>
                    </a:lnTo>
                    <a:lnTo>
                      <a:pt x="144" y="3773"/>
                    </a:lnTo>
                    <a:lnTo>
                      <a:pt x="150" y="3775"/>
                    </a:lnTo>
                    <a:lnTo>
                      <a:pt x="162" y="3782"/>
                    </a:lnTo>
                    <a:lnTo>
                      <a:pt x="173" y="3789"/>
                    </a:lnTo>
                    <a:lnTo>
                      <a:pt x="183" y="3799"/>
                    </a:lnTo>
                    <a:lnTo>
                      <a:pt x="190" y="3810"/>
                    </a:lnTo>
                    <a:lnTo>
                      <a:pt x="199" y="3822"/>
                    </a:lnTo>
                    <a:lnTo>
                      <a:pt x="206" y="3835"/>
                    </a:lnTo>
                    <a:lnTo>
                      <a:pt x="212" y="3849"/>
                    </a:lnTo>
                    <a:lnTo>
                      <a:pt x="219" y="3863"/>
                    </a:lnTo>
                    <a:lnTo>
                      <a:pt x="231" y="3893"/>
                    </a:lnTo>
                    <a:lnTo>
                      <a:pt x="242" y="3922"/>
                    </a:lnTo>
                    <a:lnTo>
                      <a:pt x="251" y="3940"/>
                    </a:lnTo>
                    <a:lnTo>
                      <a:pt x="259" y="3954"/>
                    </a:lnTo>
                    <a:lnTo>
                      <a:pt x="266" y="3964"/>
                    </a:lnTo>
                    <a:lnTo>
                      <a:pt x="273" y="3973"/>
                    </a:lnTo>
                    <a:lnTo>
                      <a:pt x="280" y="3978"/>
                    </a:lnTo>
                    <a:lnTo>
                      <a:pt x="288" y="3982"/>
                    </a:lnTo>
                    <a:lnTo>
                      <a:pt x="295" y="3983"/>
                    </a:lnTo>
                    <a:lnTo>
                      <a:pt x="302" y="3983"/>
                    </a:lnTo>
                    <a:lnTo>
                      <a:pt x="310" y="3979"/>
                    </a:lnTo>
                    <a:lnTo>
                      <a:pt x="317" y="3975"/>
                    </a:lnTo>
                    <a:lnTo>
                      <a:pt x="326" y="3970"/>
                    </a:lnTo>
                    <a:lnTo>
                      <a:pt x="335" y="3962"/>
                    </a:lnTo>
                    <a:lnTo>
                      <a:pt x="353" y="3945"/>
                    </a:lnTo>
                    <a:lnTo>
                      <a:pt x="374" y="3923"/>
                    </a:lnTo>
                    <a:lnTo>
                      <a:pt x="379" y="3919"/>
                    </a:lnTo>
                    <a:lnTo>
                      <a:pt x="384" y="3915"/>
                    </a:lnTo>
                    <a:lnTo>
                      <a:pt x="389" y="3913"/>
                    </a:lnTo>
                    <a:lnTo>
                      <a:pt x="393" y="3909"/>
                    </a:lnTo>
                    <a:lnTo>
                      <a:pt x="397" y="3908"/>
                    </a:lnTo>
                    <a:lnTo>
                      <a:pt x="402" y="3907"/>
                    </a:lnTo>
                    <a:lnTo>
                      <a:pt x="406" y="3907"/>
                    </a:lnTo>
                    <a:lnTo>
                      <a:pt x="410" y="3907"/>
                    </a:lnTo>
                    <a:lnTo>
                      <a:pt x="419" y="3908"/>
                    </a:lnTo>
                    <a:lnTo>
                      <a:pt x="427" y="3911"/>
                    </a:lnTo>
                    <a:lnTo>
                      <a:pt x="434" y="3916"/>
                    </a:lnTo>
                    <a:lnTo>
                      <a:pt x="442" y="3921"/>
                    </a:lnTo>
                    <a:lnTo>
                      <a:pt x="457" y="3932"/>
                    </a:lnTo>
                    <a:lnTo>
                      <a:pt x="473" y="3942"/>
                    </a:lnTo>
                    <a:lnTo>
                      <a:pt x="481" y="3944"/>
                    </a:lnTo>
                    <a:lnTo>
                      <a:pt x="490" y="3945"/>
                    </a:lnTo>
                    <a:lnTo>
                      <a:pt x="494" y="3945"/>
                    </a:lnTo>
                    <a:lnTo>
                      <a:pt x="498" y="3945"/>
                    </a:lnTo>
                    <a:lnTo>
                      <a:pt x="504" y="3944"/>
                    </a:lnTo>
                    <a:lnTo>
                      <a:pt x="508" y="3942"/>
                    </a:lnTo>
                    <a:lnTo>
                      <a:pt x="518" y="3937"/>
                    </a:lnTo>
                    <a:lnTo>
                      <a:pt x="526" y="3934"/>
                    </a:lnTo>
                    <a:lnTo>
                      <a:pt x="534" y="3931"/>
                    </a:lnTo>
                    <a:lnTo>
                      <a:pt x="542" y="3930"/>
                    </a:lnTo>
                    <a:lnTo>
                      <a:pt x="554" y="3929"/>
                    </a:lnTo>
                    <a:lnTo>
                      <a:pt x="564" y="3930"/>
                    </a:lnTo>
                    <a:lnTo>
                      <a:pt x="574" y="3931"/>
                    </a:lnTo>
                    <a:lnTo>
                      <a:pt x="585" y="3932"/>
                    </a:lnTo>
                    <a:lnTo>
                      <a:pt x="598" y="3932"/>
                    </a:lnTo>
                    <a:lnTo>
                      <a:pt x="613" y="3930"/>
                    </a:lnTo>
                    <a:lnTo>
                      <a:pt x="627" y="3927"/>
                    </a:lnTo>
                    <a:lnTo>
                      <a:pt x="639" y="3922"/>
                    </a:lnTo>
                    <a:lnTo>
                      <a:pt x="650" y="3918"/>
                    </a:lnTo>
                    <a:lnTo>
                      <a:pt x="659" y="3914"/>
                    </a:lnTo>
                    <a:lnTo>
                      <a:pt x="675" y="3904"/>
                    </a:lnTo>
                    <a:lnTo>
                      <a:pt x="689" y="3895"/>
                    </a:lnTo>
                    <a:lnTo>
                      <a:pt x="697" y="3891"/>
                    </a:lnTo>
                    <a:lnTo>
                      <a:pt x="704" y="3888"/>
                    </a:lnTo>
                    <a:lnTo>
                      <a:pt x="712" y="3886"/>
                    </a:lnTo>
                    <a:lnTo>
                      <a:pt x="721" y="3883"/>
                    </a:lnTo>
                    <a:lnTo>
                      <a:pt x="732" y="3883"/>
                    </a:lnTo>
                    <a:lnTo>
                      <a:pt x="745" y="3883"/>
                    </a:lnTo>
                    <a:lnTo>
                      <a:pt x="759" y="3886"/>
                    </a:lnTo>
                    <a:lnTo>
                      <a:pt x="777" y="3889"/>
                    </a:lnTo>
                    <a:lnTo>
                      <a:pt x="790" y="3892"/>
                    </a:lnTo>
                    <a:lnTo>
                      <a:pt x="804" y="3896"/>
                    </a:lnTo>
                    <a:lnTo>
                      <a:pt x="817" y="3902"/>
                    </a:lnTo>
                    <a:lnTo>
                      <a:pt x="831" y="3908"/>
                    </a:lnTo>
                    <a:lnTo>
                      <a:pt x="857" y="3922"/>
                    </a:lnTo>
                    <a:lnTo>
                      <a:pt x="884" y="3936"/>
                    </a:lnTo>
                    <a:lnTo>
                      <a:pt x="910" y="3951"/>
                    </a:lnTo>
                    <a:lnTo>
                      <a:pt x="937" y="3963"/>
                    </a:lnTo>
                    <a:lnTo>
                      <a:pt x="951" y="3969"/>
                    </a:lnTo>
                    <a:lnTo>
                      <a:pt x="965" y="3974"/>
                    </a:lnTo>
                    <a:lnTo>
                      <a:pt x="979" y="3977"/>
                    </a:lnTo>
                    <a:lnTo>
                      <a:pt x="993" y="3979"/>
                    </a:lnTo>
                    <a:lnTo>
                      <a:pt x="1012" y="3983"/>
                    </a:lnTo>
                    <a:lnTo>
                      <a:pt x="1029" y="3988"/>
                    </a:lnTo>
                    <a:lnTo>
                      <a:pt x="1047" y="3996"/>
                    </a:lnTo>
                    <a:lnTo>
                      <a:pt x="1064" y="4003"/>
                    </a:lnTo>
                    <a:lnTo>
                      <a:pt x="1099" y="4022"/>
                    </a:lnTo>
                    <a:lnTo>
                      <a:pt x="1133" y="4040"/>
                    </a:lnTo>
                    <a:lnTo>
                      <a:pt x="1151" y="4048"/>
                    </a:lnTo>
                    <a:lnTo>
                      <a:pt x="1168" y="4054"/>
                    </a:lnTo>
                    <a:lnTo>
                      <a:pt x="1177" y="4056"/>
                    </a:lnTo>
                    <a:lnTo>
                      <a:pt x="1185" y="4058"/>
                    </a:lnTo>
                    <a:lnTo>
                      <a:pt x="1194" y="4059"/>
                    </a:lnTo>
                    <a:lnTo>
                      <a:pt x="1203" y="4060"/>
                    </a:lnTo>
                    <a:lnTo>
                      <a:pt x="1211" y="4060"/>
                    </a:lnTo>
                    <a:lnTo>
                      <a:pt x="1220" y="4060"/>
                    </a:lnTo>
                    <a:lnTo>
                      <a:pt x="1229" y="4058"/>
                    </a:lnTo>
                    <a:lnTo>
                      <a:pt x="1237" y="4056"/>
                    </a:lnTo>
                    <a:lnTo>
                      <a:pt x="1247" y="4053"/>
                    </a:lnTo>
                    <a:lnTo>
                      <a:pt x="1256" y="4050"/>
                    </a:lnTo>
                    <a:lnTo>
                      <a:pt x="1264" y="4044"/>
                    </a:lnTo>
                    <a:lnTo>
                      <a:pt x="1273" y="4038"/>
                    </a:lnTo>
                    <a:lnTo>
                      <a:pt x="1295" y="4021"/>
                    </a:lnTo>
                    <a:lnTo>
                      <a:pt x="1316" y="3999"/>
                    </a:lnTo>
                    <a:lnTo>
                      <a:pt x="1339" y="3976"/>
                    </a:lnTo>
                    <a:lnTo>
                      <a:pt x="1363" y="3954"/>
                    </a:lnTo>
                    <a:lnTo>
                      <a:pt x="1376" y="3944"/>
                    </a:lnTo>
                    <a:lnTo>
                      <a:pt x="1389" y="3934"/>
                    </a:lnTo>
                    <a:lnTo>
                      <a:pt x="1402" y="3925"/>
                    </a:lnTo>
                    <a:lnTo>
                      <a:pt x="1415" y="3919"/>
                    </a:lnTo>
                    <a:lnTo>
                      <a:pt x="1429" y="3914"/>
                    </a:lnTo>
                    <a:lnTo>
                      <a:pt x="1443" y="3910"/>
                    </a:lnTo>
                    <a:lnTo>
                      <a:pt x="1450" y="3910"/>
                    </a:lnTo>
                    <a:lnTo>
                      <a:pt x="1457" y="3909"/>
                    </a:lnTo>
                    <a:lnTo>
                      <a:pt x="1465" y="3910"/>
                    </a:lnTo>
                    <a:lnTo>
                      <a:pt x="1472" y="3911"/>
                    </a:lnTo>
                    <a:lnTo>
                      <a:pt x="1523" y="3921"/>
                    </a:lnTo>
                    <a:lnTo>
                      <a:pt x="1572" y="3929"/>
                    </a:lnTo>
                    <a:lnTo>
                      <a:pt x="1619" y="3936"/>
                    </a:lnTo>
                    <a:lnTo>
                      <a:pt x="1665" y="3942"/>
                    </a:lnTo>
                    <a:lnTo>
                      <a:pt x="1712" y="3947"/>
                    </a:lnTo>
                    <a:lnTo>
                      <a:pt x="1760" y="3950"/>
                    </a:lnTo>
                    <a:lnTo>
                      <a:pt x="1811" y="3952"/>
                    </a:lnTo>
                    <a:lnTo>
                      <a:pt x="1864" y="3952"/>
                    </a:lnTo>
                    <a:lnTo>
                      <a:pt x="1876" y="3954"/>
                    </a:lnTo>
                    <a:lnTo>
                      <a:pt x="1886" y="3954"/>
                    </a:lnTo>
                    <a:lnTo>
                      <a:pt x="1897" y="3956"/>
                    </a:lnTo>
                    <a:lnTo>
                      <a:pt x="1909" y="3958"/>
                    </a:lnTo>
                    <a:lnTo>
                      <a:pt x="1932" y="3963"/>
                    </a:lnTo>
                    <a:lnTo>
                      <a:pt x="1956" y="3970"/>
                    </a:lnTo>
                    <a:lnTo>
                      <a:pt x="1980" y="3978"/>
                    </a:lnTo>
                    <a:lnTo>
                      <a:pt x="2004" y="3988"/>
                    </a:lnTo>
                    <a:lnTo>
                      <a:pt x="2027" y="3999"/>
                    </a:lnTo>
                    <a:lnTo>
                      <a:pt x="2051" y="4010"/>
                    </a:lnTo>
                    <a:lnTo>
                      <a:pt x="2100" y="4033"/>
                    </a:lnTo>
                    <a:lnTo>
                      <a:pt x="2148" y="4057"/>
                    </a:lnTo>
                    <a:lnTo>
                      <a:pt x="2170" y="4068"/>
                    </a:lnTo>
                    <a:lnTo>
                      <a:pt x="2193" y="4078"/>
                    </a:lnTo>
                    <a:lnTo>
                      <a:pt x="2216" y="4086"/>
                    </a:lnTo>
                    <a:lnTo>
                      <a:pt x="2238" y="4094"/>
                    </a:lnTo>
                    <a:lnTo>
                      <a:pt x="2257" y="4098"/>
                    </a:lnTo>
                    <a:lnTo>
                      <a:pt x="2276" y="4102"/>
                    </a:lnTo>
                    <a:lnTo>
                      <a:pt x="2293" y="4103"/>
                    </a:lnTo>
                    <a:lnTo>
                      <a:pt x="2311" y="4102"/>
                    </a:lnTo>
                    <a:lnTo>
                      <a:pt x="2328" y="4100"/>
                    </a:lnTo>
                    <a:lnTo>
                      <a:pt x="2345" y="4097"/>
                    </a:lnTo>
                    <a:lnTo>
                      <a:pt x="2362" y="4094"/>
                    </a:lnTo>
                    <a:lnTo>
                      <a:pt x="2378" y="4089"/>
                    </a:lnTo>
                    <a:lnTo>
                      <a:pt x="2411" y="4078"/>
                    </a:lnTo>
                    <a:lnTo>
                      <a:pt x="2445" y="4065"/>
                    </a:lnTo>
                    <a:lnTo>
                      <a:pt x="2479" y="4052"/>
                    </a:lnTo>
                    <a:lnTo>
                      <a:pt x="2516" y="4040"/>
                    </a:lnTo>
                    <a:lnTo>
                      <a:pt x="2533" y="4036"/>
                    </a:lnTo>
                    <a:lnTo>
                      <a:pt x="2550" y="4033"/>
                    </a:lnTo>
                    <a:lnTo>
                      <a:pt x="2567" y="4033"/>
                    </a:lnTo>
                    <a:lnTo>
                      <a:pt x="2583" y="4035"/>
                    </a:lnTo>
                    <a:lnTo>
                      <a:pt x="2600" y="4037"/>
                    </a:lnTo>
                    <a:lnTo>
                      <a:pt x="2617" y="4039"/>
                    </a:lnTo>
                    <a:lnTo>
                      <a:pt x="2633" y="4043"/>
                    </a:lnTo>
                    <a:lnTo>
                      <a:pt x="2649" y="4048"/>
                    </a:lnTo>
                    <a:lnTo>
                      <a:pt x="2682" y="4056"/>
                    </a:lnTo>
                    <a:lnTo>
                      <a:pt x="2714" y="4065"/>
                    </a:lnTo>
                    <a:lnTo>
                      <a:pt x="2731" y="4069"/>
                    </a:lnTo>
                    <a:lnTo>
                      <a:pt x="2747" y="4071"/>
                    </a:lnTo>
                    <a:lnTo>
                      <a:pt x="2763" y="4073"/>
                    </a:lnTo>
                    <a:lnTo>
                      <a:pt x="2779" y="4075"/>
                    </a:lnTo>
                    <a:lnTo>
                      <a:pt x="2779" y="4075"/>
                    </a:lnTo>
                    <a:lnTo>
                      <a:pt x="2778" y="2357"/>
                    </a:lnTo>
                    <a:lnTo>
                      <a:pt x="5981" y="2357"/>
                    </a:lnTo>
                    <a:lnTo>
                      <a:pt x="5981" y="1516"/>
                    </a:lnTo>
                    <a:lnTo>
                      <a:pt x="5981" y="1516"/>
                    </a:lnTo>
                    <a:lnTo>
                      <a:pt x="5837" y="1511"/>
                    </a:lnTo>
                    <a:lnTo>
                      <a:pt x="5687" y="1446"/>
                    </a:lnTo>
                    <a:lnTo>
                      <a:pt x="5384" y="972"/>
                    </a:lnTo>
                    <a:lnTo>
                      <a:pt x="5379" y="964"/>
                    </a:lnTo>
                    <a:lnTo>
                      <a:pt x="5374" y="957"/>
                    </a:lnTo>
                    <a:lnTo>
                      <a:pt x="5368" y="951"/>
                    </a:lnTo>
                    <a:lnTo>
                      <a:pt x="5363" y="946"/>
                    </a:lnTo>
                    <a:lnTo>
                      <a:pt x="5356" y="941"/>
                    </a:lnTo>
                    <a:lnTo>
                      <a:pt x="5350" y="939"/>
                    </a:lnTo>
                    <a:lnTo>
                      <a:pt x="5343" y="937"/>
                    </a:lnTo>
                    <a:lnTo>
                      <a:pt x="5337" y="936"/>
                    </a:lnTo>
                    <a:lnTo>
                      <a:pt x="5329" y="935"/>
                    </a:lnTo>
                    <a:lnTo>
                      <a:pt x="5322" y="935"/>
                    </a:lnTo>
                    <a:lnTo>
                      <a:pt x="5314" y="936"/>
                    </a:lnTo>
                    <a:lnTo>
                      <a:pt x="5307" y="937"/>
                    </a:lnTo>
                    <a:lnTo>
                      <a:pt x="5291" y="941"/>
                    </a:lnTo>
                    <a:lnTo>
                      <a:pt x="5275" y="948"/>
                    </a:lnTo>
                    <a:lnTo>
                      <a:pt x="5244" y="962"/>
                    </a:lnTo>
                    <a:lnTo>
                      <a:pt x="5215" y="976"/>
                    </a:lnTo>
                    <a:lnTo>
                      <a:pt x="5200" y="982"/>
                    </a:lnTo>
                    <a:lnTo>
                      <a:pt x="5189" y="987"/>
                    </a:lnTo>
                    <a:lnTo>
                      <a:pt x="5182" y="989"/>
                    </a:lnTo>
                    <a:lnTo>
                      <a:pt x="5177" y="990"/>
                    </a:lnTo>
                    <a:lnTo>
                      <a:pt x="5172" y="990"/>
                    </a:lnTo>
                    <a:lnTo>
                      <a:pt x="5168" y="990"/>
                    </a:lnTo>
                    <a:lnTo>
                      <a:pt x="5131" y="986"/>
                    </a:lnTo>
                    <a:lnTo>
                      <a:pt x="5092" y="981"/>
                    </a:lnTo>
                    <a:lnTo>
                      <a:pt x="5073" y="978"/>
                    </a:lnTo>
                    <a:lnTo>
                      <a:pt x="5053" y="975"/>
                    </a:lnTo>
                    <a:lnTo>
                      <a:pt x="5034" y="972"/>
                    </a:lnTo>
                    <a:lnTo>
                      <a:pt x="5015" y="966"/>
                    </a:lnTo>
                    <a:lnTo>
                      <a:pt x="4996" y="961"/>
                    </a:lnTo>
                    <a:lnTo>
                      <a:pt x="4977" y="955"/>
                    </a:lnTo>
                    <a:lnTo>
                      <a:pt x="4960" y="948"/>
                    </a:lnTo>
                    <a:lnTo>
                      <a:pt x="4943" y="939"/>
                    </a:lnTo>
                    <a:lnTo>
                      <a:pt x="4926" y="930"/>
                    </a:lnTo>
                    <a:lnTo>
                      <a:pt x="4911" y="919"/>
                    </a:lnTo>
                    <a:lnTo>
                      <a:pt x="4897" y="906"/>
                    </a:lnTo>
                    <a:lnTo>
                      <a:pt x="4885" y="891"/>
                    </a:lnTo>
                    <a:lnTo>
                      <a:pt x="4869" y="869"/>
                    </a:lnTo>
                    <a:lnTo>
                      <a:pt x="4854" y="845"/>
                    </a:lnTo>
                    <a:lnTo>
                      <a:pt x="4840" y="818"/>
                    </a:lnTo>
                    <a:lnTo>
                      <a:pt x="4824" y="792"/>
                    </a:lnTo>
                    <a:lnTo>
                      <a:pt x="4809" y="765"/>
                    </a:lnTo>
                    <a:lnTo>
                      <a:pt x="4793" y="742"/>
                    </a:lnTo>
                    <a:lnTo>
                      <a:pt x="4785" y="730"/>
                    </a:lnTo>
                    <a:lnTo>
                      <a:pt x="4777" y="720"/>
                    </a:lnTo>
                    <a:lnTo>
                      <a:pt x="4769" y="710"/>
                    </a:lnTo>
                    <a:lnTo>
                      <a:pt x="4759" y="702"/>
                    </a:lnTo>
                    <a:lnTo>
                      <a:pt x="4754" y="697"/>
                    </a:lnTo>
                    <a:lnTo>
                      <a:pt x="4750" y="694"/>
                    </a:lnTo>
                    <a:lnTo>
                      <a:pt x="4744" y="692"/>
                    </a:lnTo>
                    <a:lnTo>
                      <a:pt x="4741" y="690"/>
                    </a:lnTo>
                    <a:lnTo>
                      <a:pt x="4737" y="689"/>
                    </a:lnTo>
                    <a:lnTo>
                      <a:pt x="4733" y="689"/>
                    </a:lnTo>
                    <a:lnTo>
                      <a:pt x="4730" y="690"/>
                    </a:lnTo>
                    <a:lnTo>
                      <a:pt x="4727" y="690"/>
                    </a:lnTo>
                    <a:lnTo>
                      <a:pt x="4720" y="693"/>
                    </a:lnTo>
                    <a:lnTo>
                      <a:pt x="4714" y="696"/>
                    </a:lnTo>
                    <a:lnTo>
                      <a:pt x="4705" y="700"/>
                    </a:lnTo>
                    <a:lnTo>
                      <a:pt x="4694" y="702"/>
                    </a:lnTo>
                    <a:lnTo>
                      <a:pt x="4680" y="707"/>
                    </a:lnTo>
                    <a:lnTo>
                      <a:pt x="4668" y="711"/>
                    </a:lnTo>
                    <a:lnTo>
                      <a:pt x="4656" y="716"/>
                    </a:lnTo>
                    <a:lnTo>
                      <a:pt x="4644" y="718"/>
                    </a:lnTo>
                    <a:lnTo>
                      <a:pt x="4634" y="720"/>
                    </a:lnTo>
                    <a:lnTo>
                      <a:pt x="4623" y="721"/>
                    </a:lnTo>
                    <a:lnTo>
                      <a:pt x="4613" y="722"/>
                    </a:lnTo>
                    <a:lnTo>
                      <a:pt x="4603" y="722"/>
                    </a:lnTo>
                    <a:lnTo>
                      <a:pt x="4594" y="722"/>
                    </a:lnTo>
                    <a:lnTo>
                      <a:pt x="4585" y="720"/>
                    </a:lnTo>
                    <a:lnTo>
                      <a:pt x="4576" y="719"/>
                    </a:lnTo>
                    <a:lnTo>
                      <a:pt x="4568" y="716"/>
                    </a:lnTo>
                    <a:lnTo>
                      <a:pt x="4560" y="712"/>
                    </a:lnTo>
                    <a:lnTo>
                      <a:pt x="4551" y="709"/>
                    </a:lnTo>
                    <a:lnTo>
                      <a:pt x="4544" y="705"/>
                    </a:lnTo>
                    <a:lnTo>
                      <a:pt x="4537" y="701"/>
                    </a:lnTo>
                    <a:lnTo>
                      <a:pt x="4523" y="690"/>
                    </a:lnTo>
                    <a:lnTo>
                      <a:pt x="4509" y="677"/>
                    </a:lnTo>
                    <a:lnTo>
                      <a:pt x="4495" y="663"/>
                    </a:lnTo>
                    <a:lnTo>
                      <a:pt x="4482" y="647"/>
                    </a:lnTo>
                    <a:lnTo>
                      <a:pt x="4455" y="612"/>
                    </a:lnTo>
                    <a:lnTo>
                      <a:pt x="4427" y="572"/>
                    </a:lnTo>
                    <a:lnTo>
                      <a:pt x="4418" y="561"/>
                    </a:lnTo>
                    <a:lnTo>
                      <a:pt x="4409" y="552"/>
                    </a:lnTo>
                    <a:lnTo>
                      <a:pt x="4400" y="544"/>
                    </a:lnTo>
                    <a:lnTo>
                      <a:pt x="4390" y="536"/>
                    </a:lnTo>
                    <a:lnTo>
                      <a:pt x="4380" y="530"/>
                    </a:lnTo>
                    <a:lnTo>
                      <a:pt x="4370" y="526"/>
                    </a:lnTo>
                    <a:lnTo>
                      <a:pt x="4361" y="521"/>
                    </a:lnTo>
                    <a:lnTo>
                      <a:pt x="4350" y="518"/>
                    </a:lnTo>
                    <a:lnTo>
                      <a:pt x="4340" y="516"/>
                    </a:lnTo>
                    <a:lnTo>
                      <a:pt x="4329" y="515"/>
                    </a:lnTo>
                    <a:lnTo>
                      <a:pt x="4318" y="514"/>
                    </a:lnTo>
                    <a:lnTo>
                      <a:pt x="4307" y="514"/>
                    </a:lnTo>
                    <a:lnTo>
                      <a:pt x="4286" y="516"/>
                    </a:lnTo>
                    <a:lnTo>
                      <a:pt x="4263" y="519"/>
                    </a:lnTo>
                    <a:lnTo>
                      <a:pt x="4219" y="529"/>
                    </a:lnTo>
                    <a:lnTo>
                      <a:pt x="4173" y="539"/>
                    </a:lnTo>
                    <a:lnTo>
                      <a:pt x="4151" y="543"/>
                    </a:lnTo>
                    <a:lnTo>
                      <a:pt x="4130" y="545"/>
                    </a:lnTo>
                    <a:lnTo>
                      <a:pt x="4119" y="545"/>
                    </a:lnTo>
                    <a:lnTo>
                      <a:pt x="4108" y="545"/>
                    </a:lnTo>
                    <a:lnTo>
                      <a:pt x="4098" y="544"/>
                    </a:lnTo>
                    <a:lnTo>
                      <a:pt x="4089" y="542"/>
                    </a:lnTo>
                    <a:lnTo>
                      <a:pt x="4077" y="539"/>
                    </a:lnTo>
                    <a:lnTo>
                      <a:pt x="4067" y="534"/>
                    </a:lnTo>
                    <a:lnTo>
                      <a:pt x="4057" y="528"/>
                    </a:lnTo>
                    <a:lnTo>
                      <a:pt x="4047" y="521"/>
                    </a:lnTo>
                    <a:lnTo>
                      <a:pt x="4038" y="516"/>
                    </a:lnTo>
                    <a:lnTo>
                      <a:pt x="4028" y="511"/>
                    </a:lnTo>
                    <a:lnTo>
                      <a:pt x="4022" y="508"/>
                    </a:lnTo>
                    <a:lnTo>
                      <a:pt x="4017" y="507"/>
                    </a:lnTo>
                    <a:lnTo>
                      <a:pt x="4011" y="506"/>
                    </a:lnTo>
                    <a:lnTo>
                      <a:pt x="4004" y="506"/>
                    </a:lnTo>
                    <a:lnTo>
                      <a:pt x="3743" y="503"/>
                    </a:lnTo>
                    <a:lnTo>
                      <a:pt x="3717" y="503"/>
                    </a:lnTo>
                    <a:lnTo>
                      <a:pt x="3689" y="502"/>
                    </a:lnTo>
                    <a:lnTo>
                      <a:pt x="3659" y="501"/>
                    </a:lnTo>
                    <a:lnTo>
                      <a:pt x="3630" y="500"/>
                    </a:lnTo>
                    <a:lnTo>
                      <a:pt x="3601" y="501"/>
                    </a:lnTo>
                    <a:lnTo>
                      <a:pt x="3572" y="502"/>
                    </a:lnTo>
                    <a:lnTo>
                      <a:pt x="3558" y="503"/>
                    </a:lnTo>
                    <a:lnTo>
                      <a:pt x="3545" y="505"/>
                    </a:lnTo>
                    <a:lnTo>
                      <a:pt x="3530" y="507"/>
                    </a:lnTo>
                    <a:lnTo>
                      <a:pt x="3519" y="511"/>
                    </a:lnTo>
                    <a:lnTo>
                      <a:pt x="3512" y="512"/>
                    </a:lnTo>
                    <a:lnTo>
                      <a:pt x="3507" y="515"/>
                    </a:lnTo>
                    <a:lnTo>
                      <a:pt x="3501" y="517"/>
                    </a:lnTo>
                    <a:lnTo>
                      <a:pt x="3496" y="521"/>
                    </a:lnTo>
                    <a:lnTo>
                      <a:pt x="3485" y="529"/>
                    </a:lnTo>
                    <a:lnTo>
                      <a:pt x="3475" y="538"/>
                    </a:lnTo>
                    <a:lnTo>
                      <a:pt x="3464" y="545"/>
                    </a:lnTo>
                    <a:lnTo>
                      <a:pt x="3455" y="550"/>
                    </a:lnTo>
                    <a:lnTo>
                      <a:pt x="3449" y="553"/>
                    </a:lnTo>
                    <a:lnTo>
                      <a:pt x="3444" y="554"/>
                    </a:lnTo>
                    <a:lnTo>
                      <a:pt x="3439" y="555"/>
                    </a:lnTo>
                    <a:lnTo>
                      <a:pt x="3434" y="554"/>
                    </a:lnTo>
                    <a:lnTo>
                      <a:pt x="3429" y="553"/>
                    </a:lnTo>
                    <a:lnTo>
                      <a:pt x="3423" y="550"/>
                    </a:lnTo>
                    <a:lnTo>
                      <a:pt x="3417" y="547"/>
                    </a:lnTo>
                    <a:lnTo>
                      <a:pt x="3410" y="543"/>
                    </a:lnTo>
                    <a:lnTo>
                      <a:pt x="3396" y="533"/>
                    </a:lnTo>
                    <a:lnTo>
                      <a:pt x="3381" y="522"/>
                    </a:lnTo>
                    <a:lnTo>
                      <a:pt x="3353" y="499"/>
                    </a:lnTo>
                    <a:lnTo>
                      <a:pt x="3331" y="480"/>
                    </a:lnTo>
                    <a:lnTo>
                      <a:pt x="3326" y="479"/>
                    </a:lnTo>
                    <a:lnTo>
                      <a:pt x="3309" y="473"/>
                    </a:lnTo>
                    <a:lnTo>
                      <a:pt x="3294" y="467"/>
                    </a:lnTo>
                    <a:lnTo>
                      <a:pt x="3278" y="465"/>
                    </a:lnTo>
                    <a:lnTo>
                      <a:pt x="3261" y="463"/>
                    </a:lnTo>
                    <a:lnTo>
                      <a:pt x="3228" y="463"/>
                    </a:lnTo>
                    <a:lnTo>
                      <a:pt x="3196" y="465"/>
                    </a:lnTo>
                    <a:lnTo>
                      <a:pt x="3179" y="466"/>
                    </a:lnTo>
                    <a:lnTo>
                      <a:pt x="3163" y="467"/>
                    </a:lnTo>
                    <a:lnTo>
                      <a:pt x="3148" y="467"/>
                    </a:lnTo>
                    <a:lnTo>
                      <a:pt x="3133" y="465"/>
                    </a:lnTo>
                    <a:lnTo>
                      <a:pt x="3118" y="463"/>
                    </a:lnTo>
                    <a:lnTo>
                      <a:pt x="3102" y="459"/>
                    </a:lnTo>
                    <a:lnTo>
                      <a:pt x="3096" y="455"/>
                    </a:lnTo>
                    <a:lnTo>
                      <a:pt x="3088" y="452"/>
                    </a:lnTo>
                    <a:lnTo>
                      <a:pt x="3082" y="448"/>
                    </a:lnTo>
                    <a:lnTo>
                      <a:pt x="3074" y="444"/>
                    </a:lnTo>
                    <a:lnTo>
                      <a:pt x="3067" y="436"/>
                    </a:lnTo>
                    <a:lnTo>
                      <a:pt x="3059" y="426"/>
                    </a:lnTo>
                    <a:lnTo>
                      <a:pt x="3051" y="414"/>
                    </a:lnTo>
                    <a:lnTo>
                      <a:pt x="3044" y="400"/>
                    </a:lnTo>
                    <a:lnTo>
                      <a:pt x="3037" y="386"/>
                    </a:lnTo>
                    <a:lnTo>
                      <a:pt x="3030" y="370"/>
                    </a:lnTo>
                    <a:lnTo>
                      <a:pt x="3023" y="353"/>
                    </a:lnTo>
                    <a:lnTo>
                      <a:pt x="3018" y="336"/>
                    </a:lnTo>
                    <a:lnTo>
                      <a:pt x="3006" y="300"/>
                    </a:lnTo>
                    <a:lnTo>
                      <a:pt x="2995" y="266"/>
                    </a:lnTo>
                    <a:lnTo>
                      <a:pt x="2986" y="236"/>
                    </a:lnTo>
                    <a:lnTo>
                      <a:pt x="2978" y="211"/>
                    </a:lnTo>
                    <a:lnTo>
                      <a:pt x="2973" y="203"/>
                    </a:lnTo>
                    <a:lnTo>
                      <a:pt x="2969" y="194"/>
                    </a:lnTo>
                    <a:lnTo>
                      <a:pt x="2964" y="187"/>
                    </a:lnTo>
                    <a:lnTo>
                      <a:pt x="2958" y="179"/>
                    </a:lnTo>
                    <a:lnTo>
                      <a:pt x="2945" y="164"/>
                    </a:lnTo>
                    <a:lnTo>
                      <a:pt x="2932" y="150"/>
                    </a:lnTo>
                    <a:lnTo>
                      <a:pt x="2919" y="136"/>
                    </a:lnTo>
                    <a:lnTo>
                      <a:pt x="2907" y="122"/>
                    </a:lnTo>
                    <a:lnTo>
                      <a:pt x="2902" y="114"/>
                    </a:lnTo>
                    <a:lnTo>
                      <a:pt x="2898" y="107"/>
                    </a:lnTo>
                    <a:lnTo>
                      <a:pt x="2893" y="98"/>
                    </a:lnTo>
                    <a:lnTo>
                      <a:pt x="2891" y="89"/>
                    </a:lnTo>
                    <a:lnTo>
                      <a:pt x="2875" y="0"/>
                    </a:lnTo>
                    <a:lnTo>
                      <a:pt x="2875" y="0"/>
                    </a:lnTo>
                    <a:lnTo>
                      <a:pt x="2857" y="7"/>
                    </a:lnTo>
                    <a:lnTo>
                      <a:pt x="2841" y="15"/>
                    </a:lnTo>
                    <a:lnTo>
                      <a:pt x="2826" y="25"/>
                    </a:lnTo>
                    <a:lnTo>
                      <a:pt x="2810" y="34"/>
                    </a:lnTo>
                    <a:lnTo>
                      <a:pt x="2779" y="55"/>
                    </a:lnTo>
                    <a:lnTo>
                      <a:pt x="2749" y="74"/>
                    </a:lnTo>
                    <a:lnTo>
                      <a:pt x="2735" y="82"/>
                    </a:lnTo>
                    <a:lnTo>
                      <a:pt x="2720" y="90"/>
                    </a:lnTo>
                    <a:lnTo>
                      <a:pt x="2704" y="97"/>
                    </a:lnTo>
                    <a:lnTo>
                      <a:pt x="2687" y="103"/>
                    </a:lnTo>
                    <a:lnTo>
                      <a:pt x="2653" y="115"/>
                    </a:lnTo>
                    <a:lnTo>
                      <a:pt x="2616" y="126"/>
                    </a:lnTo>
                    <a:lnTo>
                      <a:pt x="2580" y="135"/>
                    </a:lnTo>
                    <a:lnTo>
                      <a:pt x="2543" y="142"/>
                    </a:lnTo>
                    <a:lnTo>
                      <a:pt x="2509" y="149"/>
                    </a:lnTo>
                    <a:lnTo>
                      <a:pt x="2475" y="155"/>
                    </a:lnTo>
                    <a:lnTo>
                      <a:pt x="2403" y="164"/>
                    </a:lnTo>
                    <a:lnTo>
                      <a:pt x="2325" y="172"/>
                    </a:lnTo>
                    <a:lnTo>
                      <a:pt x="2244" y="181"/>
                    </a:lnTo>
                    <a:lnTo>
                      <a:pt x="2161" y="192"/>
                    </a:lnTo>
                    <a:lnTo>
                      <a:pt x="2118" y="199"/>
                    </a:lnTo>
                    <a:lnTo>
                      <a:pt x="2078" y="207"/>
                    </a:lnTo>
                    <a:lnTo>
                      <a:pt x="2038" y="216"/>
                    </a:lnTo>
                    <a:lnTo>
                      <a:pt x="2000" y="226"/>
                    </a:lnTo>
                    <a:lnTo>
                      <a:pt x="1982" y="233"/>
                    </a:lnTo>
                    <a:lnTo>
                      <a:pt x="1963" y="239"/>
                    </a:lnTo>
                    <a:lnTo>
                      <a:pt x="1946" y="246"/>
                    </a:lnTo>
                    <a:lnTo>
                      <a:pt x="1929" y="253"/>
                    </a:lnTo>
                    <a:lnTo>
                      <a:pt x="1912" y="262"/>
                    </a:lnTo>
                    <a:lnTo>
                      <a:pt x="1896" y="271"/>
                    </a:lnTo>
                    <a:lnTo>
                      <a:pt x="1881" y="279"/>
                    </a:lnTo>
                    <a:lnTo>
                      <a:pt x="1867" y="289"/>
                    </a:lnTo>
                    <a:lnTo>
                      <a:pt x="1852" y="318"/>
                    </a:lnTo>
                    <a:lnTo>
                      <a:pt x="1837" y="349"/>
                    </a:lnTo>
                    <a:lnTo>
                      <a:pt x="1820" y="379"/>
                    </a:lnTo>
                    <a:lnTo>
                      <a:pt x="1803" y="408"/>
                    </a:lnTo>
                    <a:lnTo>
                      <a:pt x="1794" y="422"/>
                    </a:lnTo>
                    <a:lnTo>
                      <a:pt x="1785" y="436"/>
                    </a:lnTo>
                    <a:lnTo>
                      <a:pt x="1775" y="449"/>
                    </a:lnTo>
                    <a:lnTo>
                      <a:pt x="1764" y="462"/>
                    </a:lnTo>
                    <a:lnTo>
                      <a:pt x="1753" y="474"/>
                    </a:lnTo>
                    <a:lnTo>
                      <a:pt x="1741" y="486"/>
                    </a:lnTo>
                    <a:lnTo>
                      <a:pt x="1728" y="495"/>
                    </a:lnTo>
                    <a:lnTo>
                      <a:pt x="1714" y="504"/>
                    </a:lnTo>
                    <a:lnTo>
                      <a:pt x="1702" y="512"/>
                    </a:lnTo>
                    <a:lnTo>
                      <a:pt x="1692" y="519"/>
                    </a:lnTo>
                    <a:lnTo>
                      <a:pt x="1683" y="527"/>
                    </a:lnTo>
                    <a:lnTo>
                      <a:pt x="1674" y="535"/>
                    </a:lnTo>
                    <a:lnTo>
                      <a:pt x="1668" y="543"/>
                    </a:lnTo>
                    <a:lnTo>
                      <a:pt x="1660" y="552"/>
                    </a:lnTo>
                    <a:lnTo>
                      <a:pt x="1655" y="561"/>
                    </a:lnTo>
                    <a:lnTo>
                      <a:pt x="1649" y="570"/>
                    </a:lnTo>
                    <a:lnTo>
                      <a:pt x="1639" y="589"/>
                    </a:lnTo>
                    <a:lnTo>
                      <a:pt x="1631" y="611"/>
                    </a:lnTo>
                    <a:lnTo>
                      <a:pt x="1624" y="635"/>
                    </a:lnTo>
                    <a:lnTo>
                      <a:pt x="1617" y="661"/>
                    </a:lnTo>
                    <a:lnTo>
                      <a:pt x="1601" y="712"/>
                    </a:lnTo>
                    <a:lnTo>
                      <a:pt x="1584" y="770"/>
                    </a:lnTo>
                    <a:lnTo>
                      <a:pt x="1565" y="828"/>
                    </a:lnTo>
                    <a:lnTo>
                      <a:pt x="1542" y="887"/>
                    </a:lnTo>
                    <a:lnTo>
                      <a:pt x="1530" y="917"/>
                    </a:lnTo>
                    <a:lnTo>
                      <a:pt x="1517" y="946"/>
                    </a:lnTo>
                    <a:lnTo>
                      <a:pt x="1504" y="973"/>
                    </a:lnTo>
                    <a:lnTo>
                      <a:pt x="1490" y="1000"/>
                    </a:lnTo>
                    <a:lnTo>
                      <a:pt x="1476" y="1026"/>
                    </a:lnTo>
                    <a:lnTo>
                      <a:pt x="1461" y="1051"/>
                    </a:lnTo>
                    <a:lnTo>
                      <a:pt x="1444" y="1073"/>
                    </a:lnTo>
                    <a:lnTo>
                      <a:pt x="1428" y="1094"/>
                    </a:lnTo>
                    <a:lnTo>
                      <a:pt x="1387" y="1288"/>
                    </a:lnTo>
                    <a:lnTo>
                      <a:pt x="1381" y="1310"/>
                    </a:lnTo>
                    <a:lnTo>
                      <a:pt x="1374" y="1330"/>
                    </a:lnTo>
                    <a:lnTo>
                      <a:pt x="1365" y="1352"/>
                    </a:lnTo>
                    <a:lnTo>
                      <a:pt x="1357" y="1372"/>
                    </a:lnTo>
                    <a:lnTo>
                      <a:pt x="1347" y="1393"/>
                    </a:lnTo>
                    <a:lnTo>
                      <a:pt x="1337" y="1413"/>
                    </a:lnTo>
                    <a:lnTo>
                      <a:pt x="1328" y="1435"/>
                    </a:lnTo>
                    <a:lnTo>
                      <a:pt x="1322" y="1457"/>
                    </a:lnTo>
                    <a:lnTo>
                      <a:pt x="1314" y="1480"/>
                    </a:lnTo>
                    <a:lnTo>
                      <a:pt x="1306" y="1502"/>
                    </a:lnTo>
                    <a:lnTo>
                      <a:pt x="1296" y="1521"/>
                    </a:lnTo>
                    <a:lnTo>
                      <a:pt x="1285" y="1539"/>
                    </a:lnTo>
                    <a:lnTo>
                      <a:pt x="1274" y="1554"/>
                    </a:lnTo>
                    <a:lnTo>
                      <a:pt x="1262" y="1568"/>
                    </a:lnTo>
                    <a:lnTo>
                      <a:pt x="1249" y="1581"/>
                    </a:lnTo>
                    <a:lnTo>
                      <a:pt x="1236" y="1592"/>
                    </a:lnTo>
                    <a:lnTo>
                      <a:pt x="1207" y="1613"/>
                    </a:lnTo>
                    <a:lnTo>
                      <a:pt x="1174" y="1635"/>
                    </a:lnTo>
                    <a:lnTo>
                      <a:pt x="1140" y="1657"/>
                    </a:lnTo>
                    <a:lnTo>
                      <a:pt x="1102" y="1684"/>
                    </a:lnTo>
                    <a:lnTo>
                      <a:pt x="921" y="1822"/>
                    </a:lnTo>
                    <a:lnTo>
                      <a:pt x="901" y="1836"/>
                    </a:lnTo>
                    <a:lnTo>
                      <a:pt x="881" y="1849"/>
                    </a:lnTo>
                    <a:lnTo>
                      <a:pt x="858" y="1861"/>
                    </a:lnTo>
                    <a:lnTo>
                      <a:pt x="835" y="1871"/>
                    </a:lnTo>
                    <a:lnTo>
                      <a:pt x="823" y="1877"/>
                    </a:lnTo>
                    <a:lnTo>
                      <a:pt x="811" y="1881"/>
                    </a:lnTo>
                    <a:lnTo>
                      <a:pt x="800" y="1884"/>
                    </a:lnTo>
                    <a:lnTo>
                      <a:pt x="788" y="1886"/>
                    </a:lnTo>
                    <a:lnTo>
                      <a:pt x="776" y="1889"/>
                    </a:lnTo>
                    <a:lnTo>
                      <a:pt x="764" y="1890"/>
                    </a:lnTo>
                    <a:lnTo>
                      <a:pt x="752" y="1890"/>
                    </a:lnTo>
                    <a:lnTo>
                      <a:pt x="740" y="1889"/>
                    </a:lnTo>
                    <a:lnTo>
                      <a:pt x="723" y="1888"/>
                    </a:lnTo>
                    <a:lnTo>
                      <a:pt x="708" y="1886"/>
                    </a:lnTo>
                    <a:lnTo>
                      <a:pt x="703" y="1888"/>
                    </a:lnTo>
                    <a:lnTo>
                      <a:pt x="698" y="1889"/>
                    </a:lnTo>
                    <a:lnTo>
                      <a:pt x="692" y="1891"/>
                    </a:lnTo>
                    <a:lnTo>
                      <a:pt x="688" y="1893"/>
                    </a:lnTo>
                    <a:lnTo>
                      <a:pt x="684" y="1896"/>
                    </a:lnTo>
                    <a:lnTo>
                      <a:pt x="680" y="1900"/>
                    </a:lnTo>
                    <a:lnTo>
                      <a:pt x="676" y="1905"/>
                    </a:lnTo>
                    <a:lnTo>
                      <a:pt x="673" y="1910"/>
                    </a:lnTo>
                    <a:lnTo>
                      <a:pt x="666" y="1923"/>
                    </a:lnTo>
                    <a:lnTo>
                      <a:pt x="660" y="1940"/>
                    </a:lnTo>
                    <a:lnTo>
                      <a:pt x="655" y="1951"/>
                    </a:lnTo>
                    <a:lnTo>
                      <a:pt x="651" y="1960"/>
                    </a:lnTo>
                    <a:lnTo>
                      <a:pt x="646" y="1969"/>
                    </a:lnTo>
                    <a:lnTo>
                      <a:pt x="640" y="1976"/>
                    </a:lnTo>
                    <a:lnTo>
                      <a:pt x="635" y="1984"/>
                    </a:lnTo>
                    <a:lnTo>
                      <a:pt x="628" y="1990"/>
                    </a:lnTo>
                    <a:lnTo>
                      <a:pt x="622" y="1997"/>
                    </a:lnTo>
                    <a:lnTo>
                      <a:pt x="615" y="2002"/>
                    </a:lnTo>
                    <a:lnTo>
                      <a:pt x="601" y="2012"/>
                    </a:lnTo>
                    <a:lnTo>
                      <a:pt x="586" y="2020"/>
                    </a:lnTo>
                    <a:lnTo>
                      <a:pt x="572" y="2028"/>
                    </a:lnTo>
                    <a:lnTo>
                      <a:pt x="556" y="2034"/>
                    </a:lnTo>
                    <a:lnTo>
                      <a:pt x="541" y="2041"/>
                    </a:lnTo>
                    <a:lnTo>
                      <a:pt x="525" y="2047"/>
                    </a:lnTo>
                    <a:lnTo>
                      <a:pt x="510" y="2054"/>
                    </a:lnTo>
                    <a:lnTo>
                      <a:pt x="496" y="2062"/>
                    </a:lnTo>
                    <a:lnTo>
                      <a:pt x="483" y="2071"/>
                    </a:lnTo>
                    <a:lnTo>
                      <a:pt x="471" y="2082"/>
                    </a:lnTo>
                    <a:lnTo>
                      <a:pt x="465" y="2088"/>
                    </a:lnTo>
                    <a:lnTo>
                      <a:pt x="459" y="2095"/>
                    </a:lnTo>
                    <a:lnTo>
                      <a:pt x="455" y="2102"/>
                    </a:lnTo>
                    <a:lnTo>
                      <a:pt x="451" y="2110"/>
                    </a:lnTo>
                    <a:lnTo>
                      <a:pt x="442" y="2124"/>
                    </a:lnTo>
                    <a:lnTo>
                      <a:pt x="430" y="2138"/>
                    </a:lnTo>
                    <a:lnTo>
                      <a:pt x="417" y="2153"/>
                    </a:lnTo>
                    <a:lnTo>
                      <a:pt x="404" y="2167"/>
                    </a:lnTo>
                    <a:lnTo>
                      <a:pt x="391" y="2182"/>
                    </a:lnTo>
                    <a:lnTo>
                      <a:pt x="381" y="2196"/>
                    </a:lnTo>
                    <a:lnTo>
                      <a:pt x="378" y="2203"/>
                    </a:lnTo>
                    <a:lnTo>
                      <a:pt x="375" y="2209"/>
                    </a:lnTo>
                    <a:lnTo>
                      <a:pt x="374" y="2216"/>
                    </a:lnTo>
                    <a:lnTo>
                      <a:pt x="374" y="2221"/>
                    </a:lnTo>
                    <a:lnTo>
                      <a:pt x="375" y="2234"/>
                    </a:lnTo>
                    <a:lnTo>
                      <a:pt x="376" y="2247"/>
                    </a:lnTo>
                    <a:lnTo>
                      <a:pt x="375" y="2260"/>
                    </a:lnTo>
                    <a:lnTo>
                      <a:pt x="374" y="2273"/>
                    </a:lnTo>
                    <a:lnTo>
                      <a:pt x="371" y="2299"/>
                    </a:lnTo>
                    <a:lnTo>
                      <a:pt x="369" y="2323"/>
                    </a:lnTo>
                    <a:lnTo>
                      <a:pt x="368" y="2344"/>
                    </a:lnTo>
                    <a:lnTo>
                      <a:pt x="366" y="2364"/>
                    </a:lnTo>
                    <a:lnTo>
                      <a:pt x="363" y="2383"/>
                    </a:lnTo>
                    <a:lnTo>
                      <a:pt x="358" y="2401"/>
                    </a:lnTo>
                    <a:lnTo>
                      <a:pt x="353" y="2418"/>
                    </a:lnTo>
                    <a:lnTo>
                      <a:pt x="347" y="2435"/>
                    </a:lnTo>
                    <a:lnTo>
                      <a:pt x="340" y="2450"/>
                    </a:lnTo>
                    <a:lnTo>
                      <a:pt x="332" y="2466"/>
                    </a:lnTo>
                    <a:lnTo>
                      <a:pt x="317" y="2497"/>
                    </a:lnTo>
                    <a:lnTo>
                      <a:pt x="299" y="2527"/>
                    </a:lnTo>
                    <a:lnTo>
                      <a:pt x="279" y="2558"/>
                    </a:lnTo>
                    <a:lnTo>
                      <a:pt x="260" y="2593"/>
                    </a:lnTo>
                    <a:lnTo>
                      <a:pt x="245" y="2636"/>
                    </a:lnTo>
                    <a:lnTo>
                      <a:pt x="231" y="2682"/>
                    </a:lnTo>
                    <a:lnTo>
                      <a:pt x="216" y="2731"/>
                    </a:lnTo>
                    <a:lnTo>
                      <a:pt x="200" y="2780"/>
                    </a:lnTo>
                    <a:lnTo>
                      <a:pt x="192" y="2803"/>
                    </a:lnTo>
                    <a:lnTo>
                      <a:pt x="183" y="2828"/>
                    </a:lnTo>
                    <a:lnTo>
                      <a:pt x="173" y="2851"/>
                    </a:lnTo>
                    <a:lnTo>
                      <a:pt x="163" y="2874"/>
                    </a:lnTo>
                    <a:lnTo>
                      <a:pt x="153" y="2895"/>
                    </a:lnTo>
                    <a:lnTo>
                      <a:pt x="141" y="2916"/>
                    </a:lnTo>
                    <a:lnTo>
                      <a:pt x="129" y="2935"/>
                    </a:lnTo>
                    <a:lnTo>
                      <a:pt x="116" y="2952"/>
                    </a:lnTo>
                    <a:lnTo>
                      <a:pt x="106" y="2968"/>
                    </a:lnTo>
                    <a:lnTo>
                      <a:pt x="96" y="2984"/>
                    </a:lnTo>
                    <a:lnTo>
                      <a:pt x="88" y="3001"/>
                    </a:lnTo>
                    <a:lnTo>
                      <a:pt x="81" y="3020"/>
                    </a:lnTo>
                    <a:lnTo>
                      <a:pt x="75" y="3040"/>
                    </a:lnTo>
                    <a:lnTo>
                      <a:pt x="69" y="3060"/>
                    </a:lnTo>
                    <a:lnTo>
                      <a:pt x="65" y="3081"/>
                    </a:lnTo>
                    <a:lnTo>
                      <a:pt x="62" y="3103"/>
                    </a:lnTo>
                    <a:lnTo>
                      <a:pt x="58" y="3124"/>
                    </a:lnTo>
                    <a:lnTo>
                      <a:pt x="56" y="3146"/>
                    </a:lnTo>
                    <a:lnTo>
                      <a:pt x="55" y="3167"/>
                    </a:lnTo>
                    <a:lnTo>
                      <a:pt x="55" y="3188"/>
                    </a:lnTo>
                    <a:lnTo>
                      <a:pt x="55" y="3208"/>
                    </a:lnTo>
                    <a:lnTo>
                      <a:pt x="56" y="3228"/>
                    </a:lnTo>
                    <a:lnTo>
                      <a:pt x="57" y="3247"/>
                    </a:lnTo>
                    <a:lnTo>
                      <a:pt x="59" y="3265"/>
                    </a:lnTo>
                    <a:lnTo>
                      <a:pt x="63" y="3284"/>
                    </a:lnTo>
                    <a:lnTo>
                      <a:pt x="67" y="3308"/>
                    </a:lnTo>
                    <a:lnTo>
                      <a:pt x="72" y="3334"/>
                    </a:lnTo>
                    <a:lnTo>
                      <a:pt x="76" y="3362"/>
                    </a:lnTo>
                    <a:lnTo>
                      <a:pt x="79" y="3389"/>
                    </a:lnTo>
                    <a:lnTo>
                      <a:pt x="79" y="3414"/>
                    </a:lnTo>
                    <a:lnTo>
                      <a:pt x="79" y="3425"/>
                    </a:lnTo>
                    <a:lnTo>
                      <a:pt x="77" y="3436"/>
                    </a:lnTo>
                    <a:lnTo>
                      <a:pt x="75" y="3446"/>
                    </a:lnTo>
                    <a:lnTo>
                      <a:pt x="71" y="3455"/>
                    </a:lnTo>
                    <a:lnTo>
                      <a:pt x="69" y="3471"/>
                    </a:lnTo>
                    <a:lnTo>
                      <a:pt x="64" y="3498"/>
                    </a:lnTo>
                    <a:lnTo>
                      <a:pt x="57" y="3532"/>
                    </a:lnTo>
                    <a:lnTo>
                      <a:pt x="47" y="3572"/>
                    </a:lnTo>
                    <a:lnTo>
                      <a:pt x="37" y="3613"/>
                    </a:lnTo>
                    <a:lnTo>
                      <a:pt x="25" y="3655"/>
                    </a:lnTo>
                    <a:lnTo>
                      <a:pt x="13" y="3694"/>
                    </a:lnTo>
                    <a:lnTo>
                      <a:pt x="0" y="3728"/>
                    </a:lnTo>
                    <a:lnTo>
                      <a:pt x="0" y="3728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91" name="Freeform 6">
                <a:extLst>
                  <a:ext uri="{FF2B5EF4-FFF2-40B4-BE49-F238E27FC236}">
                    <a16:creationId xmlns:a16="http://schemas.microsoft.com/office/drawing/2014/main" id="{8C1C88C3-DE36-4BE7-9702-898653BE31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20126" y="2199093"/>
                <a:ext cx="2374899" cy="1628775"/>
              </a:xfrm>
              <a:custGeom>
                <a:avLst/>
                <a:gdLst>
                  <a:gd name="T0" fmla="*/ 150 w 5981"/>
                  <a:gd name="T1" fmla="*/ 3775 h 4103"/>
                  <a:gd name="T2" fmla="*/ 242 w 5981"/>
                  <a:gd name="T3" fmla="*/ 3922 h 4103"/>
                  <a:gd name="T4" fmla="*/ 317 w 5981"/>
                  <a:gd name="T5" fmla="*/ 3975 h 4103"/>
                  <a:gd name="T6" fmla="*/ 402 w 5981"/>
                  <a:gd name="T7" fmla="*/ 3907 h 4103"/>
                  <a:gd name="T8" fmla="*/ 490 w 5981"/>
                  <a:gd name="T9" fmla="*/ 3945 h 4103"/>
                  <a:gd name="T10" fmla="*/ 564 w 5981"/>
                  <a:gd name="T11" fmla="*/ 3930 h 4103"/>
                  <a:gd name="T12" fmla="*/ 689 w 5981"/>
                  <a:gd name="T13" fmla="*/ 3895 h 4103"/>
                  <a:gd name="T14" fmla="*/ 804 w 5981"/>
                  <a:gd name="T15" fmla="*/ 3896 h 4103"/>
                  <a:gd name="T16" fmla="*/ 993 w 5981"/>
                  <a:gd name="T17" fmla="*/ 3979 h 4103"/>
                  <a:gd name="T18" fmla="*/ 1185 w 5981"/>
                  <a:gd name="T19" fmla="*/ 4058 h 4103"/>
                  <a:gd name="T20" fmla="*/ 1273 w 5981"/>
                  <a:gd name="T21" fmla="*/ 4038 h 4103"/>
                  <a:gd name="T22" fmla="*/ 1443 w 5981"/>
                  <a:gd name="T23" fmla="*/ 3910 h 4103"/>
                  <a:gd name="T24" fmla="*/ 1760 w 5981"/>
                  <a:gd name="T25" fmla="*/ 3950 h 4103"/>
                  <a:gd name="T26" fmla="*/ 2004 w 5981"/>
                  <a:gd name="T27" fmla="*/ 3988 h 4103"/>
                  <a:gd name="T28" fmla="*/ 2276 w 5981"/>
                  <a:gd name="T29" fmla="*/ 4102 h 4103"/>
                  <a:gd name="T30" fmla="*/ 2516 w 5981"/>
                  <a:gd name="T31" fmla="*/ 4040 h 4103"/>
                  <a:gd name="T32" fmla="*/ 2714 w 5981"/>
                  <a:gd name="T33" fmla="*/ 4065 h 4103"/>
                  <a:gd name="T34" fmla="*/ 5837 w 5981"/>
                  <a:gd name="T35" fmla="*/ 1511 h 4103"/>
                  <a:gd name="T36" fmla="*/ 5337 w 5981"/>
                  <a:gd name="T37" fmla="*/ 936 h 4103"/>
                  <a:gd name="T38" fmla="*/ 5189 w 5981"/>
                  <a:gd name="T39" fmla="*/ 987 h 4103"/>
                  <a:gd name="T40" fmla="*/ 5015 w 5981"/>
                  <a:gd name="T41" fmla="*/ 966 h 4103"/>
                  <a:gd name="T42" fmla="*/ 4854 w 5981"/>
                  <a:gd name="T43" fmla="*/ 845 h 4103"/>
                  <a:gd name="T44" fmla="*/ 4750 w 5981"/>
                  <a:gd name="T45" fmla="*/ 694 h 4103"/>
                  <a:gd name="T46" fmla="*/ 4694 w 5981"/>
                  <a:gd name="T47" fmla="*/ 702 h 4103"/>
                  <a:gd name="T48" fmla="*/ 4585 w 5981"/>
                  <a:gd name="T49" fmla="*/ 720 h 4103"/>
                  <a:gd name="T50" fmla="*/ 4482 w 5981"/>
                  <a:gd name="T51" fmla="*/ 647 h 4103"/>
                  <a:gd name="T52" fmla="*/ 4350 w 5981"/>
                  <a:gd name="T53" fmla="*/ 518 h 4103"/>
                  <a:gd name="T54" fmla="*/ 4130 w 5981"/>
                  <a:gd name="T55" fmla="*/ 545 h 4103"/>
                  <a:gd name="T56" fmla="*/ 4028 w 5981"/>
                  <a:gd name="T57" fmla="*/ 511 h 4103"/>
                  <a:gd name="T58" fmla="*/ 3601 w 5981"/>
                  <a:gd name="T59" fmla="*/ 501 h 4103"/>
                  <a:gd name="T60" fmla="*/ 3485 w 5981"/>
                  <a:gd name="T61" fmla="*/ 529 h 4103"/>
                  <a:gd name="T62" fmla="*/ 3417 w 5981"/>
                  <a:gd name="T63" fmla="*/ 547 h 4103"/>
                  <a:gd name="T64" fmla="*/ 3261 w 5981"/>
                  <a:gd name="T65" fmla="*/ 463 h 4103"/>
                  <a:gd name="T66" fmla="*/ 3088 w 5981"/>
                  <a:gd name="T67" fmla="*/ 452 h 4103"/>
                  <a:gd name="T68" fmla="*/ 3018 w 5981"/>
                  <a:gd name="T69" fmla="*/ 336 h 4103"/>
                  <a:gd name="T70" fmla="*/ 2932 w 5981"/>
                  <a:gd name="T71" fmla="*/ 150 h 4103"/>
                  <a:gd name="T72" fmla="*/ 2841 w 5981"/>
                  <a:gd name="T73" fmla="*/ 15 h 4103"/>
                  <a:gd name="T74" fmla="*/ 2616 w 5981"/>
                  <a:gd name="T75" fmla="*/ 126 h 4103"/>
                  <a:gd name="T76" fmla="*/ 2078 w 5981"/>
                  <a:gd name="T77" fmla="*/ 207 h 4103"/>
                  <a:gd name="T78" fmla="*/ 1867 w 5981"/>
                  <a:gd name="T79" fmla="*/ 289 h 4103"/>
                  <a:gd name="T80" fmla="*/ 1741 w 5981"/>
                  <a:gd name="T81" fmla="*/ 486 h 4103"/>
                  <a:gd name="T82" fmla="*/ 1649 w 5981"/>
                  <a:gd name="T83" fmla="*/ 570 h 4103"/>
                  <a:gd name="T84" fmla="*/ 1517 w 5981"/>
                  <a:gd name="T85" fmla="*/ 946 h 4103"/>
                  <a:gd name="T86" fmla="*/ 1365 w 5981"/>
                  <a:gd name="T87" fmla="*/ 1352 h 4103"/>
                  <a:gd name="T88" fmla="*/ 1274 w 5981"/>
                  <a:gd name="T89" fmla="*/ 1554 h 4103"/>
                  <a:gd name="T90" fmla="*/ 881 w 5981"/>
                  <a:gd name="T91" fmla="*/ 1849 h 4103"/>
                  <a:gd name="T92" fmla="*/ 740 w 5981"/>
                  <a:gd name="T93" fmla="*/ 1889 h 4103"/>
                  <a:gd name="T94" fmla="*/ 673 w 5981"/>
                  <a:gd name="T95" fmla="*/ 1910 h 4103"/>
                  <a:gd name="T96" fmla="*/ 615 w 5981"/>
                  <a:gd name="T97" fmla="*/ 2002 h 4103"/>
                  <a:gd name="T98" fmla="*/ 471 w 5981"/>
                  <a:gd name="T99" fmla="*/ 2082 h 4103"/>
                  <a:gd name="T100" fmla="*/ 381 w 5981"/>
                  <a:gd name="T101" fmla="*/ 2196 h 4103"/>
                  <a:gd name="T102" fmla="*/ 369 w 5981"/>
                  <a:gd name="T103" fmla="*/ 2323 h 4103"/>
                  <a:gd name="T104" fmla="*/ 299 w 5981"/>
                  <a:gd name="T105" fmla="*/ 2527 h 4103"/>
                  <a:gd name="T106" fmla="*/ 163 w 5981"/>
                  <a:gd name="T107" fmla="*/ 2874 h 4103"/>
                  <a:gd name="T108" fmla="*/ 69 w 5981"/>
                  <a:gd name="T109" fmla="*/ 3060 h 4103"/>
                  <a:gd name="T110" fmla="*/ 59 w 5981"/>
                  <a:gd name="T111" fmla="*/ 3265 h 4103"/>
                  <a:gd name="T112" fmla="*/ 71 w 5981"/>
                  <a:gd name="T113" fmla="*/ 3455 h 4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981" h="4103">
                    <a:moveTo>
                      <a:pt x="0" y="3728"/>
                    </a:moveTo>
                    <a:lnTo>
                      <a:pt x="86" y="3771"/>
                    </a:lnTo>
                    <a:lnTo>
                      <a:pt x="95" y="3770"/>
                    </a:lnTo>
                    <a:lnTo>
                      <a:pt x="105" y="3769"/>
                    </a:lnTo>
                    <a:lnTo>
                      <a:pt x="114" y="3768"/>
                    </a:lnTo>
                    <a:lnTo>
                      <a:pt x="121" y="3769"/>
                    </a:lnTo>
                    <a:lnTo>
                      <a:pt x="130" y="3769"/>
                    </a:lnTo>
                    <a:lnTo>
                      <a:pt x="136" y="3771"/>
                    </a:lnTo>
                    <a:lnTo>
                      <a:pt x="144" y="3773"/>
                    </a:lnTo>
                    <a:lnTo>
                      <a:pt x="150" y="3775"/>
                    </a:lnTo>
                    <a:lnTo>
                      <a:pt x="162" y="3782"/>
                    </a:lnTo>
                    <a:lnTo>
                      <a:pt x="173" y="3789"/>
                    </a:lnTo>
                    <a:lnTo>
                      <a:pt x="183" y="3799"/>
                    </a:lnTo>
                    <a:lnTo>
                      <a:pt x="190" y="3810"/>
                    </a:lnTo>
                    <a:lnTo>
                      <a:pt x="199" y="3822"/>
                    </a:lnTo>
                    <a:lnTo>
                      <a:pt x="206" y="3835"/>
                    </a:lnTo>
                    <a:lnTo>
                      <a:pt x="212" y="3849"/>
                    </a:lnTo>
                    <a:lnTo>
                      <a:pt x="219" y="3863"/>
                    </a:lnTo>
                    <a:lnTo>
                      <a:pt x="231" y="3893"/>
                    </a:lnTo>
                    <a:lnTo>
                      <a:pt x="242" y="3922"/>
                    </a:lnTo>
                    <a:lnTo>
                      <a:pt x="251" y="3940"/>
                    </a:lnTo>
                    <a:lnTo>
                      <a:pt x="259" y="3954"/>
                    </a:lnTo>
                    <a:lnTo>
                      <a:pt x="266" y="3964"/>
                    </a:lnTo>
                    <a:lnTo>
                      <a:pt x="273" y="3973"/>
                    </a:lnTo>
                    <a:lnTo>
                      <a:pt x="280" y="3978"/>
                    </a:lnTo>
                    <a:lnTo>
                      <a:pt x="288" y="3982"/>
                    </a:lnTo>
                    <a:lnTo>
                      <a:pt x="295" y="3983"/>
                    </a:lnTo>
                    <a:lnTo>
                      <a:pt x="302" y="3983"/>
                    </a:lnTo>
                    <a:lnTo>
                      <a:pt x="310" y="3979"/>
                    </a:lnTo>
                    <a:lnTo>
                      <a:pt x="317" y="3975"/>
                    </a:lnTo>
                    <a:lnTo>
                      <a:pt x="326" y="3970"/>
                    </a:lnTo>
                    <a:lnTo>
                      <a:pt x="335" y="3962"/>
                    </a:lnTo>
                    <a:lnTo>
                      <a:pt x="353" y="3945"/>
                    </a:lnTo>
                    <a:lnTo>
                      <a:pt x="374" y="3923"/>
                    </a:lnTo>
                    <a:lnTo>
                      <a:pt x="379" y="3919"/>
                    </a:lnTo>
                    <a:lnTo>
                      <a:pt x="384" y="3915"/>
                    </a:lnTo>
                    <a:lnTo>
                      <a:pt x="389" y="3913"/>
                    </a:lnTo>
                    <a:lnTo>
                      <a:pt x="393" y="3909"/>
                    </a:lnTo>
                    <a:lnTo>
                      <a:pt x="397" y="3908"/>
                    </a:lnTo>
                    <a:lnTo>
                      <a:pt x="402" y="3907"/>
                    </a:lnTo>
                    <a:lnTo>
                      <a:pt x="406" y="3907"/>
                    </a:lnTo>
                    <a:lnTo>
                      <a:pt x="410" y="3907"/>
                    </a:lnTo>
                    <a:lnTo>
                      <a:pt x="419" y="3908"/>
                    </a:lnTo>
                    <a:lnTo>
                      <a:pt x="427" y="3911"/>
                    </a:lnTo>
                    <a:lnTo>
                      <a:pt x="434" y="3916"/>
                    </a:lnTo>
                    <a:lnTo>
                      <a:pt x="442" y="3921"/>
                    </a:lnTo>
                    <a:lnTo>
                      <a:pt x="457" y="3932"/>
                    </a:lnTo>
                    <a:lnTo>
                      <a:pt x="473" y="3942"/>
                    </a:lnTo>
                    <a:lnTo>
                      <a:pt x="481" y="3944"/>
                    </a:lnTo>
                    <a:lnTo>
                      <a:pt x="490" y="3945"/>
                    </a:lnTo>
                    <a:lnTo>
                      <a:pt x="494" y="3945"/>
                    </a:lnTo>
                    <a:lnTo>
                      <a:pt x="498" y="3945"/>
                    </a:lnTo>
                    <a:lnTo>
                      <a:pt x="504" y="3944"/>
                    </a:lnTo>
                    <a:lnTo>
                      <a:pt x="508" y="3942"/>
                    </a:lnTo>
                    <a:lnTo>
                      <a:pt x="518" y="3937"/>
                    </a:lnTo>
                    <a:lnTo>
                      <a:pt x="526" y="3934"/>
                    </a:lnTo>
                    <a:lnTo>
                      <a:pt x="534" y="3931"/>
                    </a:lnTo>
                    <a:lnTo>
                      <a:pt x="542" y="3930"/>
                    </a:lnTo>
                    <a:lnTo>
                      <a:pt x="554" y="3929"/>
                    </a:lnTo>
                    <a:lnTo>
                      <a:pt x="564" y="3930"/>
                    </a:lnTo>
                    <a:lnTo>
                      <a:pt x="574" y="3931"/>
                    </a:lnTo>
                    <a:lnTo>
                      <a:pt x="585" y="3932"/>
                    </a:lnTo>
                    <a:lnTo>
                      <a:pt x="598" y="3932"/>
                    </a:lnTo>
                    <a:lnTo>
                      <a:pt x="613" y="3930"/>
                    </a:lnTo>
                    <a:lnTo>
                      <a:pt x="627" y="3927"/>
                    </a:lnTo>
                    <a:lnTo>
                      <a:pt x="639" y="3922"/>
                    </a:lnTo>
                    <a:lnTo>
                      <a:pt x="650" y="3918"/>
                    </a:lnTo>
                    <a:lnTo>
                      <a:pt x="659" y="3914"/>
                    </a:lnTo>
                    <a:lnTo>
                      <a:pt x="675" y="3904"/>
                    </a:lnTo>
                    <a:lnTo>
                      <a:pt x="689" y="3895"/>
                    </a:lnTo>
                    <a:lnTo>
                      <a:pt x="697" y="3891"/>
                    </a:lnTo>
                    <a:lnTo>
                      <a:pt x="704" y="3888"/>
                    </a:lnTo>
                    <a:lnTo>
                      <a:pt x="712" y="3886"/>
                    </a:lnTo>
                    <a:lnTo>
                      <a:pt x="721" y="3883"/>
                    </a:lnTo>
                    <a:lnTo>
                      <a:pt x="732" y="3883"/>
                    </a:lnTo>
                    <a:lnTo>
                      <a:pt x="745" y="3883"/>
                    </a:lnTo>
                    <a:lnTo>
                      <a:pt x="759" y="3886"/>
                    </a:lnTo>
                    <a:lnTo>
                      <a:pt x="777" y="3889"/>
                    </a:lnTo>
                    <a:lnTo>
                      <a:pt x="790" y="3892"/>
                    </a:lnTo>
                    <a:lnTo>
                      <a:pt x="804" y="3896"/>
                    </a:lnTo>
                    <a:lnTo>
                      <a:pt x="817" y="3902"/>
                    </a:lnTo>
                    <a:lnTo>
                      <a:pt x="831" y="3908"/>
                    </a:lnTo>
                    <a:lnTo>
                      <a:pt x="857" y="3922"/>
                    </a:lnTo>
                    <a:lnTo>
                      <a:pt x="884" y="3936"/>
                    </a:lnTo>
                    <a:lnTo>
                      <a:pt x="910" y="3951"/>
                    </a:lnTo>
                    <a:lnTo>
                      <a:pt x="937" y="3963"/>
                    </a:lnTo>
                    <a:lnTo>
                      <a:pt x="951" y="3969"/>
                    </a:lnTo>
                    <a:lnTo>
                      <a:pt x="965" y="3974"/>
                    </a:lnTo>
                    <a:lnTo>
                      <a:pt x="979" y="3977"/>
                    </a:lnTo>
                    <a:lnTo>
                      <a:pt x="993" y="3979"/>
                    </a:lnTo>
                    <a:lnTo>
                      <a:pt x="1012" y="3983"/>
                    </a:lnTo>
                    <a:lnTo>
                      <a:pt x="1029" y="3988"/>
                    </a:lnTo>
                    <a:lnTo>
                      <a:pt x="1047" y="3996"/>
                    </a:lnTo>
                    <a:lnTo>
                      <a:pt x="1064" y="4003"/>
                    </a:lnTo>
                    <a:lnTo>
                      <a:pt x="1099" y="4022"/>
                    </a:lnTo>
                    <a:lnTo>
                      <a:pt x="1133" y="4040"/>
                    </a:lnTo>
                    <a:lnTo>
                      <a:pt x="1151" y="4048"/>
                    </a:lnTo>
                    <a:lnTo>
                      <a:pt x="1168" y="4054"/>
                    </a:lnTo>
                    <a:lnTo>
                      <a:pt x="1177" y="4056"/>
                    </a:lnTo>
                    <a:lnTo>
                      <a:pt x="1185" y="4058"/>
                    </a:lnTo>
                    <a:lnTo>
                      <a:pt x="1194" y="4059"/>
                    </a:lnTo>
                    <a:lnTo>
                      <a:pt x="1203" y="4060"/>
                    </a:lnTo>
                    <a:lnTo>
                      <a:pt x="1211" y="4060"/>
                    </a:lnTo>
                    <a:lnTo>
                      <a:pt x="1220" y="4060"/>
                    </a:lnTo>
                    <a:lnTo>
                      <a:pt x="1229" y="4058"/>
                    </a:lnTo>
                    <a:lnTo>
                      <a:pt x="1237" y="4056"/>
                    </a:lnTo>
                    <a:lnTo>
                      <a:pt x="1247" y="4053"/>
                    </a:lnTo>
                    <a:lnTo>
                      <a:pt x="1256" y="4050"/>
                    </a:lnTo>
                    <a:lnTo>
                      <a:pt x="1264" y="4044"/>
                    </a:lnTo>
                    <a:lnTo>
                      <a:pt x="1273" y="4038"/>
                    </a:lnTo>
                    <a:lnTo>
                      <a:pt x="1295" y="4021"/>
                    </a:lnTo>
                    <a:lnTo>
                      <a:pt x="1316" y="3999"/>
                    </a:lnTo>
                    <a:lnTo>
                      <a:pt x="1339" y="3976"/>
                    </a:lnTo>
                    <a:lnTo>
                      <a:pt x="1363" y="3954"/>
                    </a:lnTo>
                    <a:lnTo>
                      <a:pt x="1376" y="3944"/>
                    </a:lnTo>
                    <a:lnTo>
                      <a:pt x="1389" y="3934"/>
                    </a:lnTo>
                    <a:lnTo>
                      <a:pt x="1402" y="3925"/>
                    </a:lnTo>
                    <a:lnTo>
                      <a:pt x="1415" y="3919"/>
                    </a:lnTo>
                    <a:lnTo>
                      <a:pt x="1429" y="3914"/>
                    </a:lnTo>
                    <a:lnTo>
                      <a:pt x="1443" y="3910"/>
                    </a:lnTo>
                    <a:lnTo>
                      <a:pt x="1450" y="3910"/>
                    </a:lnTo>
                    <a:lnTo>
                      <a:pt x="1457" y="3909"/>
                    </a:lnTo>
                    <a:lnTo>
                      <a:pt x="1465" y="3910"/>
                    </a:lnTo>
                    <a:lnTo>
                      <a:pt x="1472" y="3911"/>
                    </a:lnTo>
                    <a:lnTo>
                      <a:pt x="1523" y="3921"/>
                    </a:lnTo>
                    <a:lnTo>
                      <a:pt x="1572" y="3929"/>
                    </a:lnTo>
                    <a:lnTo>
                      <a:pt x="1619" y="3936"/>
                    </a:lnTo>
                    <a:lnTo>
                      <a:pt x="1665" y="3942"/>
                    </a:lnTo>
                    <a:lnTo>
                      <a:pt x="1712" y="3947"/>
                    </a:lnTo>
                    <a:lnTo>
                      <a:pt x="1760" y="3950"/>
                    </a:lnTo>
                    <a:lnTo>
                      <a:pt x="1811" y="3952"/>
                    </a:lnTo>
                    <a:lnTo>
                      <a:pt x="1864" y="3952"/>
                    </a:lnTo>
                    <a:lnTo>
                      <a:pt x="1876" y="3954"/>
                    </a:lnTo>
                    <a:lnTo>
                      <a:pt x="1886" y="3954"/>
                    </a:lnTo>
                    <a:lnTo>
                      <a:pt x="1897" y="3956"/>
                    </a:lnTo>
                    <a:lnTo>
                      <a:pt x="1909" y="3958"/>
                    </a:lnTo>
                    <a:lnTo>
                      <a:pt x="1932" y="3963"/>
                    </a:lnTo>
                    <a:lnTo>
                      <a:pt x="1956" y="3970"/>
                    </a:lnTo>
                    <a:lnTo>
                      <a:pt x="1980" y="3978"/>
                    </a:lnTo>
                    <a:lnTo>
                      <a:pt x="2004" y="3988"/>
                    </a:lnTo>
                    <a:lnTo>
                      <a:pt x="2027" y="3999"/>
                    </a:lnTo>
                    <a:lnTo>
                      <a:pt x="2051" y="4010"/>
                    </a:lnTo>
                    <a:lnTo>
                      <a:pt x="2100" y="4033"/>
                    </a:lnTo>
                    <a:lnTo>
                      <a:pt x="2148" y="4057"/>
                    </a:lnTo>
                    <a:lnTo>
                      <a:pt x="2170" y="4068"/>
                    </a:lnTo>
                    <a:lnTo>
                      <a:pt x="2193" y="4078"/>
                    </a:lnTo>
                    <a:lnTo>
                      <a:pt x="2216" y="4086"/>
                    </a:lnTo>
                    <a:lnTo>
                      <a:pt x="2238" y="4094"/>
                    </a:lnTo>
                    <a:lnTo>
                      <a:pt x="2257" y="4098"/>
                    </a:lnTo>
                    <a:lnTo>
                      <a:pt x="2276" y="4102"/>
                    </a:lnTo>
                    <a:lnTo>
                      <a:pt x="2293" y="4103"/>
                    </a:lnTo>
                    <a:lnTo>
                      <a:pt x="2311" y="4102"/>
                    </a:lnTo>
                    <a:lnTo>
                      <a:pt x="2328" y="4100"/>
                    </a:lnTo>
                    <a:lnTo>
                      <a:pt x="2345" y="4097"/>
                    </a:lnTo>
                    <a:lnTo>
                      <a:pt x="2362" y="4094"/>
                    </a:lnTo>
                    <a:lnTo>
                      <a:pt x="2378" y="4089"/>
                    </a:lnTo>
                    <a:lnTo>
                      <a:pt x="2411" y="4078"/>
                    </a:lnTo>
                    <a:lnTo>
                      <a:pt x="2445" y="4065"/>
                    </a:lnTo>
                    <a:lnTo>
                      <a:pt x="2479" y="4052"/>
                    </a:lnTo>
                    <a:lnTo>
                      <a:pt x="2516" y="4040"/>
                    </a:lnTo>
                    <a:lnTo>
                      <a:pt x="2533" y="4036"/>
                    </a:lnTo>
                    <a:lnTo>
                      <a:pt x="2550" y="4033"/>
                    </a:lnTo>
                    <a:lnTo>
                      <a:pt x="2567" y="4033"/>
                    </a:lnTo>
                    <a:lnTo>
                      <a:pt x="2583" y="4035"/>
                    </a:lnTo>
                    <a:lnTo>
                      <a:pt x="2600" y="4037"/>
                    </a:lnTo>
                    <a:lnTo>
                      <a:pt x="2617" y="4039"/>
                    </a:lnTo>
                    <a:lnTo>
                      <a:pt x="2633" y="4043"/>
                    </a:lnTo>
                    <a:lnTo>
                      <a:pt x="2649" y="4048"/>
                    </a:lnTo>
                    <a:lnTo>
                      <a:pt x="2682" y="4056"/>
                    </a:lnTo>
                    <a:lnTo>
                      <a:pt x="2714" y="4065"/>
                    </a:lnTo>
                    <a:lnTo>
                      <a:pt x="2731" y="4069"/>
                    </a:lnTo>
                    <a:lnTo>
                      <a:pt x="2747" y="4071"/>
                    </a:lnTo>
                    <a:lnTo>
                      <a:pt x="2763" y="4073"/>
                    </a:lnTo>
                    <a:lnTo>
                      <a:pt x="2779" y="4075"/>
                    </a:lnTo>
                    <a:lnTo>
                      <a:pt x="2779" y="4075"/>
                    </a:lnTo>
                    <a:lnTo>
                      <a:pt x="2778" y="2357"/>
                    </a:lnTo>
                    <a:lnTo>
                      <a:pt x="5981" y="2357"/>
                    </a:lnTo>
                    <a:lnTo>
                      <a:pt x="5981" y="1516"/>
                    </a:lnTo>
                    <a:lnTo>
                      <a:pt x="5981" y="1516"/>
                    </a:lnTo>
                    <a:lnTo>
                      <a:pt x="5837" y="1511"/>
                    </a:lnTo>
                    <a:lnTo>
                      <a:pt x="5687" y="1446"/>
                    </a:lnTo>
                    <a:lnTo>
                      <a:pt x="5384" y="972"/>
                    </a:lnTo>
                    <a:lnTo>
                      <a:pt x="5379" y="964"/>
                    </a:lnTo>
                    <a:lnTo>
                      <a:pt x="5374" y="957"/>
                    </a:lnTo>
                    <a:lnTo>
                      <a:pt x="5368" y="951"/>
                    </a:lnTo>
                    <a:lnTo>
                      <a:pt x="5363" y="946"/>
                    </a:lnTo>
                    <a:lnTo>
                      <a:pt x="5356" y="941"/>
                    </a:lnTo>
                    <a:lnTo>
                      <a:pt x="5350" y="939"/>
                    </a:lnTo>
                    <a:lnTo>
                      <a:pt x="5343" y="937"/>
                    </a:lnTo>
                    <a:lnTo>
                      <a:pt x="5337" y="936"/>
                    </a:lnTo>
                    <a:lnTo>
                      <a:pt x="5329" y="935"/>
                    </a:lnTo>
                    <a:lnTo>
                      <a:pt x="5322" y="935"/>
                    </a:lnTo>
                    <a:lnTo>
                      <a:pt x="5314" y="936"/>
                    </a:lnTo>
                    <a:lnTo>
                      <a:pt x="5307" y="937"/>
                    </a:lnTo>
                    <a:lnTo>
                      <a:pt x="5291" y="941"/>
                    </a:lnTo>
                    <a:lnTo>
                      <a:pt x="5275" y="948"/>
                    </a:lnTo>
                    <a:lnTo>
                      <a:pt x="5244" y="962"/>
                    </a:lnTo>
                    <a:lnTo>
                      <a:pt x="5215" y="976"/>
                    </a:lnTo>
                    <a:lnTo>
                      <a:pt x="5200" y="982"/>
                    </a:lnTo>
                    <a:lnTo>
                      <a:pt x="5189" y="987"/>
                    </a:lnTo>
                    <a:lnTo>
                      <a:pt x="5182" y="989"/>
                    </a:lnTo>
                    <a:lnTo>
                      <a:pt x="5177" y="990"/>
                    </a:lnTo>
                    <a:lnTo>
                      <a:pt x="5172" y="990"/>
                    </a:lnTo>
                    <a:lnTo>
                      <a:pt x="5168" y="990"/>
                    </a:lnTo>
                    <a:lnTo>
                      <a:pt x="5131" y="986"/>
                    </a:lnTo>
                    <a:lnTo>
                      <a:pt x="5092" y="981"/>
                    </a:lnTo>
                    <a:lnTo>
                      <a:pt x="5073" y="978"/>
                    </a:lnTo>
                    <a:lnTo>
                      <a:pt x="5053" y="975"/>
                    </a:lnTo>
                    <a:lnTo>
                      <a:pt x="5034" y="972"/>
                    </a:lnTo>
                    <a:lnTo>
                      <a:pt x="5015" y="966"/>
                    </a:lnTo>
                    <a:lnTo>
                      <a:pt x="4996" y="961"/>
                    </a:lnTo>
                    <a:lnTo>
                      <a:pt x="4977" y="955"/>
                    </a:lnTo>
                    <a:lnTo>
                      <a:pt x="4960" y="948"/>
                    </a:lnTo>
                    <a:lnTo>
                      <a:pt x="4943" y="939"/>
                    </a:lnTo>
                    <a:lnTo>
                      <a:pt x="4926" y="930"/>
                    </a:lnTo>
                    <a:lnTo>
                      <a:pt x="4911" y="919"/>
                    </a:lnTo>
                    <a:lnTo>
                      <a:pt x="4897" y="906"/>
                    </a:lnTo>
                    <a:lnTo>
                      <a:pt x="4885" y="891"/>
                    </a:lnTo>
                    <a:lnTo>
                      <a:pt x="4869" y="869"/>
                    </a:lnTo>
                    <a:lnTo>
                      <a:pt x="4854" y="845"/>
                    </a:lnTo>
                    <a:lnTo>
                      <a:pt x="4840" y="818"/>
                    </a:lnTo>
                    <a:lnTo>
                      <a:pt x="4824" y="792"/>
                    </a:lnTo>
                    <a:lnTo>
                      <a:pt x="4809" y="765"/>
                    </a:lnTo>
                    <a:lnTo>
                      <a:pt x="4793" y="742"/>
                    </a:lnTo>
                    <a:lnTo>
                      <a:pt x="4785" y="730"/>
                    </a:lnTo>
                    <a:lnTo>
                      <a:pt x="4777" y="720"/>
                    </a:lnTo>
                    <a:lnTo>
                      <a:pt x="4769" y="710"/>
                    </a:lnTo>
                    <a:lnTo>
                      <a:pt x="4759" y="702"/>
                    </a:lnTo>
                    <a:lnTo>
                      <a:pt x="4754" y="697"/>
                    </a:lnTo>
                    <a:lnTo>
                      <a:pt x="4750" y="694"/>
                    </a:lnTo>
                    <a:lnTo>
                      <a:pt x="4744" y="692"/>
                    </a:lnTo>
                    <a:lnTo>
                      <a:pt x="4741" y="690"/>
                    </a:lnTo>
                    <a:lnTo>
                      <a:pt x="4737" y="689"/>
                    </a:lnTo>
                    <a:lnTo>
                      <a:pt x="4733" y="689"/>
                    </a:lnTo>
                    <a:lnTo>
                      <a:pt x="4730" y="690"/>
                    </a:lnTo>
                    <a:lnTo>
                      <a:pt x="4727" y="690"/>
                    </a:lnTo>
                    <a:lnTo>
                      <a:pt x="4720" y="693"/>
                    </a:lnTo>
                    <a:lnTo>
                      <a:pt x="4714" y="696"/>
                    </a:lnTo>
                    <a:lnTo>
                      <a:pt x="4705" y="700"/>
                    </a:lnTo>
                    <a:lnTo>
                      <a:pt x="4694" y="702"/>
                    </a:lnTo>
                    <a:lnTo>
                      <a:pt x="4680" y="707"/>
                    </a:lnTo>
                    <a:lnTo>
                      <a:pt x="4668" y="711"/>
                    </a:lnTo>
                    <a:lnTo>
                      <a:pt x="4656" y="716"/>
                    </a:lnTo>
                    <a:lnTo>
                      <a:pt x="4644" y="718"/>
                    </a:lnTo>
                    <a:lnTo>
                      <a:pt x="4634" y="720"/>
                    </a:lnTo>
                    <a:lnTo>
                      <a:pt x="4623" y="721"/>
                    </a:lnTo>
                    <a:lnTo>
                      <a:pt x="4613" y="722"/>
                    </a:lnTo>
                    <a:lnTo>
                      <a:pt x="4603" y="722"/>
                    </a:lnTo>
                    <a:lnTo>
                      <a:pt x="4594" y="722"/>
                    </a:lnTo>
                    <a:lnTo>
                      <a:pt x="4585" y="720"/>
                    </a:lnTo>
                    <a:lnTo>
                      <a:pt x="4576" y="719"/>
                    </a:lnTo>
                    <a:lnTo>
                      <a:pt x="4568" y="716"/>
                    </a:lnTo>
                    <a:lnTo>
                      <a:pt x="4560" y="712"/>
                    </a:lnTo>
                    <a:lnTo>
                      <a:pt x="4551" y="709"/>
                    </a:lnTo>
                    <a:lnTo>
                      <a:pt x="4544" y="705"/>
                    </a:lnTo>
                    <a:lnTo>
                      <a:pt x="4537" y="701"/>
                    </a:lnTo>
                    <a:lnTo>
                      <a:pt x="4523" y="690"/>
                    </a:lnTo>
                    <a:lnTo>
                      <a:pt x="4509" y="677"/>
                    </a:lnTo>
                    <a:lnTo>
                      <a:pt x="4495" y="663"/>
                    </a:lnTo>
                    <a:lnTo>
                      <a:pt x="4482" y="647"/>
                    </a:lnTo>
                    <a:lnTo>
                      <a:pt x="4455" y="612"/>
                    </a:lnTo>
                    <a:lnTo>
                      <a:pt x="4427" y="572"/>
                    </a:lnTo>
                    <a:lnTo>
                      <a:pt x="4418" y="561"/>
                    </a:lnTo>
                    <a:lnTo>
                      <a:pt x="4409" y="552"/>
                    </a:lnTo>
                    <a:lnTo>
                      <a:pt x="4400" y="544"/>
                    </a:lnTo>
                    <a:lnTo>
                      <a:pt x="4390" y="536"/>
                    </a:lnTo>
                    <a:lnTo>
                      <a:pt x="4380" y="530"/>
                    </a:lnTo>
                    <a:lnTo>
                      <a:pt x="4370" y="526"/>
                    </a:lnTo>
                    <a:lnTo>
                      <a:pt x="4361" y="521"/>
                    </a:lnTo>
                    <a:lnTo>
                      <a:pt x="4350" y="518"/>
                    </a:lnTo>
                    <a:lnTo>
                      <a:pt x="4340" y="516"/>
                    </a:lnTo>
                    <a:lnTo>
                      <a:pt x="4329" y="515"/>
                    </a:lnTo>
                    <a:lnTo>
                      <a:pt x="4318" y="514"/>
                    </a:lnTo>
                    <a:lnTo>
                      <a:pt x="4307" y="514"/>
                    </a:lnTo>
                    <a:lnTo>
                      <a:pt x="4286" y="516"/>
                    </a:lnTo>
                    <a:lnTo>
                      <a:pt x="4263" y="519"/>
                    </a:lnTo>
                    <a:lnTo>
                      <a:pt x="4219" y="529"/>
                    </a:lnTo>
                    <a:lnTo>
                      <a:pt x="4173" y="539"/>
                    </a:lnTo>
                    <a:lnTo>
                      <a:pt x="4151" y="543"/>
                    </a:lnTo>
                    <a:lnTo>
                      <a:pt x="4130" y="545"/>
                    </a:lnTo>
                    <a:lnTo>
                      <a:pt x="4119" y="545"/>
                    </a:lnTo>
                    <a:lnTo>
                      <a:pt x="4108" y="545"/>
                    </a:lnTo>
                    <a:lnTo>
                      <a:pt x="4098" y="544"/>
                    </a:lnTo>
                    <a:lnTo>
                      <a:pt x="4089" y="542"/>
                    </a:lnTo>
                    <a:lnTo>
                      <a:pt x="4077" y="539"/>
                    </a:lnTo>
                    <a:lnTo>
                      <a:pt x="4067" y="534"/>
                    </a:lnTo>
                    <a:lnTo>
                      <a:pt x="4057" y="528"/>
                    </a:lnTo>
                    <a:lnTo>
                      <a:pt x="4047" y="521"/>
                    </a:lnTo>
                    <a:lnTo>
                      <a:pt x="4038" y="516"/>
                    </a:lnTo>
                    <a:lnTo>
                      <a:pt x="4028" y="511"/>
                    </a:lnTo>
                    <a:lnTo>
                      <a:pt x="4022" y="508"/>
                    </a:lnTo>
                    <a:lnTo>
                      <a:pt x="4017" y="507"/>
                    </a:lnTo>
                    <a:lnTo>
                      <a:pt x="4011" y="506"/>
                    </a:lnTo>
                    <a:lnTo>
                      <a:pt x="4004" y="506"/>
                    </a:lnTo>
                    <a:lnTo>
                      <a:pt x="3743" y="503"/>
                    </a:lnTo>
                    <a:lnTo>
                      <a:pt x="3717" y="503"/>
                    </a:lnTo>
                    <a:lnTo>
                      <a:pt x="3689" y="502"/>
                    </a:lnTo>
                    <a:lnTo>
                      <a:pt x="3659" y="501"/>
                    </a:lnTo>
                    <a:lnTo>
                      <a:pt x="3630" y="500"/>
                    </a:lnTo>
                    <a:lnTo>
                      <a:pt x="3601" y="501"/>
                    </a:lnTo>
                    <a:lnTo>
                      <a:pt x="3572" y="502"/>
                    </a:lnTo>
                    <a:lnTo>
                      <a:pt x="3558" y="503"/>
                    </a:lnTo>
                    <a:lnTo>
                      <a:pt x="3545" y="505"/>
                    </a:lnTo>
                    <a:lnTo>
                      <a:pt x="3530" y="507"/>
                    </a:lnTo>
                    <a:lnTo>
                      <a:pt x="3519" y="511"/>
                    </a:lnTo>
                    <a:lnTo>
                      <a:pt x="3512" y="512"/>
                    </a:lnTo>
                    <a:lnTo>
                      <a:pt x="3507" y="515"/>
                    </a:lnTo>
                    <a:lnTo>
                      <a:pt x="3501" y="517"/>
                    </a:lnTo>
                    <a:lnTo>
                      <a:pt x="3496" y="521"/>
                    </a:lnTo>
                    <a:lnTo>
                      <a:pt x="3485" y="529"/>
                    </a:lnTo>
                    <a:lnTo>
                      <a:pt x="3475" y="538"/>
                    </a:lnTo>
                    <a:lnTo>
                      <a:pt x="3464" y="545"/>
                    </a:lnTo>
                    <a:lnTo>
                      <a:pt x="3455" y="550"/>
                    </a:lnTo>
                    <a:lnTo>
                      <a:pt x="3449" y="553"/>
                    </a:lnTo>
                    <a:lnTo>
                      <a:pt x="3444" y="554"/>
                    </a:lnTo>
                    <a:lnTo>
                      <a:pt x="3439" y="555"/>
                    </a:lnTo>
                    <a:lnTo>
                      <a:pt x="3434" y="554"/>
                    </a:lnTo>
                    <a:lnTo>
                      <a:pt x="3429" y="553"/>
                    </a:lnTo>
                    <a:lnTo>
                      <a:pt x="3423" y="550"/>
                    </a:lnTo>
                    <a:lnTo>
                      <a:pt x="3417" y="547"/>
                    </a:lnTo>
                    <a:lnTo>
                      <a:pt x="3410" y="543"/>
                    </a:lnTo>
                    <a:lnTo>
                      <a:pt x="3396" y="533"/>
                    </a:lnTo>
                    <a:lnTo>
                      <a:pt x="3381" y="522"/>
                    </a:lnTo>
                    <a:lnTo>
                      <a:pt x="3353" y="499"/>
                    </a:lnTo>
                    <a:lnTo>
                      <a:pt x="3331" y="480"/>
                    </a:lnTo>
                    <a:lnTo>
                      <a:pt x="3326" y="479"/>
                    </a:lnTo>
                    <a:lnTo>
                      <a:pt x="3309" y="473"/>
                    </a:lnTo>
                    <a:lnTo>
                      <a:pt x="3294" y="467"/>
                    </a:lnTo>
                    <a:lnTo>
                      <a:pt x="3278" y="465"/>
                    </a:lnTo>
                    <a:lnTo>
                      <a:pt x="3261" y="463"/>
                    </a:lnTo>
                    <a:lnTo>
                      <a:pt x="3228" y="463"/>
                    </a:lnTo>
                    <a:lnTo>
                      <a:pt x="3196" y="465"/>
                    </a:lnTo>
                    <a:lnTo>
                      <a:pt x="3179" y="466"/>
                    </a:lnTo>
                    <a:lnTo>
                      <a:pt x="3163" y="467"/>
                    </a:lnTo>
                    <a:lnTo>
                      <a:pt x="3148" y="467"/>
                    </a:lnTo>
                    <a:lnTo>
                      <a:pt x="3133" y="465"/>
                    </a:lnTo>
                    <a:lnTo>
                      <a:pt x="3118" y="463"/>
                    </a:lnTo>
                    <a:lnTo>
                      <a:pt x="3102" y="459"/>
                    </a:lnTo>
                    <a:lnTo>
                      <a:pt x="3096" y="455"/>
                    </a:lnTo>
                    <a:lnTo>
                      <a:pt x="3088" y="452"/>
                    </a:lnTo>
                    <a:lnTo>
                      <a:pt x="3082" y="448"/>
                    </a:lnTo>
                    <a:lnTo>
                      <a:pt x="3074" y="444"/>
                    </a:lnTo>
                    <a:lnTo>
                      <a:pt x="3067" y="436"/>
                    </a:lnTo>
                    <a:lnTo>
                      <a:pt x="3059" y="426"/>
                    </a:lnTo>
                    <a:lnTo>
                      <a:pt x="3051" y="414"/>
                    </a:lnTo>
                    <a:lnTo>
                      <a:pt x="3044" y="400"/>
                    </a:lnTo>
                    <a:lnTo>
                      <a:pt x="3037" y="386"/>
                    </a:lnTo>
                    <a:lnTo>
                      <a:pt x="3030" y="370"/>
                    </a:lnTo>
                    <a:lnTo>
                      <a:pt x="3023" y="353"/>
                    </a:lnTo>
                    <a:lnTo>
                      <a:pt x="3018" y="336"/>
                    </a:lnTo>
                    <a:lnTo>
                      <a:pt x="3006" y="300"/>
                    </a:lnTo>
                    <a:lnTo>
                      <a:pt x="2995" y="266"/>
                    </a:lnTo>
                    <a:lnTo>
                      <a:pt x="2986" y="236"/>
                    </a:lnTo>
                    <a:lnTo>
                      <a:pt x="2978" y="211"/>
                    </a:lnTo>
                    <a:lnTo>
                      <a:pt x="2973" y="203"/>
                    </a:lnTo>
                    <a:lnTo>
                      <a:pt x="2969" y="194"/>
                    </a:lnTo>
                    <a:lnTo>
                      <a:pt x="2964" y="187"/>
                    </a:lnTo>
                    <a:lnTo>
                      <a:pt x="2958" y="179"/>
                    </a:lnTo>
                    <a:lnTo>
                      <a:pt x="2945" y="164"/>
                    </a:lnTo>
                    <a:lnTo>
                      <a:pt x="2932" y="150"/>
                    </a:lnTo>
                    <a:lnTo>
                      <a:pt x="2919" y="136"/>
                    </a:lnTo>
                    <a:lnTo>
                      <a:pt x="2907" y="122"/>
                    </a:lnTo>
                    <a:lnTo>
                      <a:pt x="2902" y="114"/>
                    </a:lnTo>
                    <a:lnTo>
                      <a:pt x="2898" y="107"/>
                    </a:lnTo>
                    <a:lnTo>
                      <a:pt x="2893" y="98"/>
                    </a:lnTo>
                    <a:lnTo>
                      <a:pt x="2891" y="89"/>
                    </a:lnTo>
                    <a:lnTo>
                      <a:pt x="2875" y="0"/>
                    </a:lnTo>
                    <a:lnTo>
                      <a:pt x="2875" y="0"/>
                    </a:lnTo>
                    <a:lnTo>
                      <a:pt x="2857" y="7"/>
                    </a:lnTo>
                    <a:lnTo>
                      <a:pt x="2841" y="15"/>
                    </a:lnTo>
                    <a:lnTo>
                      <a:pt x="2826" y="25"/>
                    </a:lnTo>
                    <a:lnTo>
                      <a:pt x="2810" y="34"/>
                    </a:lnTo>
                    <a:lnTo>
                      <a:pt x="2779" y="55"/>
                    </a:lnTo>
                    <a:lnTo>
                      <a:pt x="2749" y="74"/>
                    </a:lnTo>
                    <a:lnTo>
                      <a:pt x="2735" y="82"/>
                    </a:lnTo>
                    <a:lnTo>
                      <a:pt x="2720" y="90"/>
                    </a:lnTo>
                    <a:lnTo>
                      <a:pt x="2704" y="97"/>
                    </a:lnTo>
                    <a:lnTo>
                      <a:pt x="2687" y="103"/>
                    </a:lnTo>
                    <a:lnTo>
                      <a:pt x="2653" y="115"/>
                    </a:lnTo>
                    <a:lnTo>
                      <a:pt x="2616" y="126"/>
                    </a:lnTo>
                    <a:lnTo>
                      <a:pt x="2580" y="135"/>
                    </a:lnTo>
                    <a:lnTo>
                      <a:pt x="2543" y="142"/>
                    </a:lnTo>
                    <a:lnTo>
                      <a:pt x="2509" y="149"/>
                    </a:lnTo>
                    <a:lnTo>
                      <a:pt x="2475" y="155"/>
                    </a:lnTo>
                    <a:lnTo>
                      <a:pt x="2403" y="164"/>
                    </a:lnTo>
                    <a:lnTo>
                      <a:pt x="2325" y="172"/>
                    </a:lnTo>
                    <a:lnTo>
                      <a:pt x="2244" y="181"/>
                    </a:lnTo>
                    <a:lnTo>
                      <a:pt x="2161" y="192"/>
                    </a:lnTo>
                    <a:lnTo>
                      <a:pt x="2118" y="199"/>
                    </a:lnTo>
                    <a:lnTo>
                      <a:pt x="2078" y="207"/>
                    </a:lnTo>
                    <a:lnTo>
                      <a:pt x="2038" y="216"/>
                    </a:lnTo>
                    <a:lnTo>
                      <a:pt x="2000" y="226"/>
                    </a:lnTo>
                    <a:lnTo>
                      <a:pt x="1982" y="233"/>
                    </a:lnTo>
                    <a:lnTo>
                      <a:pt x="1963" y="239"/>
                    </a:lnTo>
                    <a:lnTo>
                      <a:pt x="1946" y="246"/>
                    </a:lnTo>
                    <a:lnTo>
                      <a:pt x="1929" y="253"/>
                    </a:lnTo>
                    <a:lnTo>
                      <a:pt x="1912" y="262"/>
                    </a:lnTo>
                    <a:lnTo>
                      <a:pt x="1896" y="271"/>
                    </a:lnTo>
                    <a:lnTo>
                      <a:pt x="1881" y="279"/>
                    </a:lnTo>
                    <a:lnTo>
                      <a:pt x="1867" y="289"/>
                    </a:lnTo>
                    <a:lnTo>
                      <a:pt x="1852" y="318"/>
                    </a:lnTo>
                    <a:lnTo>
                      <a:pt x="1837" y="349"/>
                    </a:lnTo>
                    <a:lnTo>
                      <a:pt x="1820" y="379"/>
                    </a:lnTo>
                    <a:lnTo>
                      <a:pt x="1803" y="408"/>
                    </a:lnTo>
                    <a:lnTo>
                      <a:pt x="1794" y="422"/>
                    </a:lnTo>
                    <a:lnTo>
                      <a:pt x="1785" y="436"/>
                    </a:lnTo>
                    <a:lnTo>
                      <a:pt x="1775" y="449"/>
                    </a:lnTo>
                    <a:lnTo>
                      <a:pt x="1764" y="462"/>
                    </a:lnTo>
                    <a:lnTo>
                      <a:pt x="1753" y="474"/>
                    </a:lnTo>
                    <a:lnTo>
                      <a:pt x="1741" y="486"/>
                    </a:lnTo>
                    <a:lnTo>
                      <a:pt x="1728" y="495"/>
                    </a:lnTo>
                    <a:lnTo>
                      <a:pt x="1714" y="504"/>
                    </a:lnTo>
                    <a:lnTo>
                      <a:pt x="1702" y="512"/>
                    </a:lnTo>
                    <a:lnTo>
                      <a:pt x="1692" y="519"/>
                    </a:lnTo>
                    <a:lnTo>
                      <a:pt x="1683" y="527"/>
                    </a:lnTo>
                    <a:lnTo>
                      <a:pt x="1674" y="535"/>
                    </a:lnTo>
                    <a:lnTo>
                      <a:pt x="1668" y="543"/>
                    </a:lnTo>
                    <a:lnTo>
                      <a:pt x="1660" y="552"/>
                    </a:lnTo>
                    <a:lnTo>
                      <a:pt x="1655" y="561"/>
                    </a:lnTo>
                    <a:lnTo>
                      <a:pt x="1649" y="570"/>
                    </a:lnTo>
                    <a:lnTo>
                      <a:pt x="1639" y="589"/>
                    </a:lnTo>
                    <a:lnTo>
                      <a:pt x="1631" y="611"/>
                    </a:lnTo>
                    <a:lnTo>
                      <a:pt x="1624" y="635"/>
                    </a:lnTo>
                    <a:lnTo>
                      <a:pt x="1617" y="661"/>
                    </a:lnTo>
                    <a:lnTo>
                      <a:pt x="1601" y="712"/>
                    </a:lnTo>
                    <a:lnTo>
                      <a:pt x="1584" y="770"/>
                    </a:lnTo>
                    <a:lnTo>
                      <a:pt x="1565" y="828"/>
                    </a:lnTo>
                    <a:lnTo>
                      <a:pt x="1542" y="887"/>
                    </a:lnTo>
                    <a:lnTo>
                      <a:pt x="1530" y="917"/>
                    </a:lnTo>
                    <a:lnTo>
                      <a:pt x="1517" y="946"/>
                    </a:lnTo>
                    <a:lnTo>
                      <a:pt x="1504" y="973"/>
                    </a:lnTo>
                    <a:lnTo>
                      <a:pt x="1490" y="1000"/>
                    </a:lnTo>
                    <a:lnTo>
                      <a:pt x="1476" y="1026"/>
                    </a:lnTo>
                    <a:lnTo>
                      <a:pt x="1461" y="1051"/>
                    </a:lnTo>
                    <a:lnTo>
                      <a:pt x="1444" y="1073"/>
                    </a:lnTo>
                    <a:lnTo>
                      <a:pt x="1428" y="1094"/>
                    </a:lnTo>
                    <a:lnTo>
                      <a:pt x="1387" y="1288"/>
                    </a:lnTo>
                    <a:lnTo>
                      <a:pt x="1381" y="1310"/>
                    </a:lnTo>
                    <a:lnTo>
                      <a:pt x="1374" y="1330"/>
                    </a:lnTo>
                    <a:lnTo>
                      <a:pt x="1365" y="1352"/>
                    </a:lnTo>
                    <a:lnTo>
                      <a:pt x="1357" y="1372"/>
                    </a:lnTo>
                    <a:lnTo>
                      <a:pt x="1347" y="1393"/>
                    </a:lnTo>
                    <a:lnTo>
                      <a:pt x="1337" y="1413"/>
                    </a:lnTo>
                    <a:lnTo>
                      <a:pt x="1328" y="1435"/>
                    </a:lnTo>
                    <a:lnTo>
                      <a:pt x="1322" y="1457"/>
                    </a:lnTo>
                    <a:lnTo>
                      <a:pt x="1314" y="1480"/>
                    </a:lnTo>
                    <a:lnTo>
                      <a:pt x="1306" y="1502"/>
                    </a:lnTo>
                    <a:lnTo>
                      <a:pt x="1296" y="1521"/>
                    </a:lnTo>
                    <a:lnTo>
                      <a:pt x="1285" y="1539"/>
                    </a:lnTo>
                    <a:lnTo>
                      <a:pt x="1274" y="1554"/>
                    </a:lnTo>
                    <a:lnTo>
                      <a:pt x="1262" y="1568"/>
                    </a:lnTo>
                    <a:lnTo>
                      <a:pt x="1249" y="1581"/>
                    </a:lnTo>
                    <a:lnTo>
                      <a:pt x="1236" y="1592"/>
                    </a:lnTo>
                    <a:lnTo>
                      <a:pt x="1207" y="1613"/>
                    </a:lnTo>
                    <a:lnTo>
                      <a:pt x="1174" y="1635"/>
                    </a:lnTo>
                    <a:lnTo>
                      <a:pt x="1140" y="1657"/>
                    </a:lnTo>
                    <a:lnTo>
                      <a:pt x="1102" y="1684"/>
                    </a:lnTo>
                    <a:lnTo>
                      <a:pt x="921" y="1822"/>
                    </a:lnTo>
                    <a:lnTo>
                      <a:pt x="901" y="1836"/>
                    </a:lnTo>
                    <a:lnTo>
                      <a:pt x="881" y="1849"/>
                    </a:lnTo>
                    <a:lnTo>
                      <a:pt x="858" y="1861"/>
                    </a:lnTo>
                    <a:lnTo>
                      <a:pt x="835" y="1871"/>
                    </a:lnTo>
                    <a:lnTo>
                      <a:pt x="823" y="1877"/>
                    </a:lnTo>
                    <a:lnTo>
                      <a:pt x="811" y="1881"/>
                    </a:lnTo>
                    <a:lnTo>
                      <a:pt x="800" y="1884"/>
                    </a:lnTo>
                    <a:lnTo>
                      <a:pt x="788" y="1886"/>
                    </a:lnTo>
                    <a:lnTo>
                      <a:pt x="776" y="1889"/>
                    </a:lnTo>
                    <a:lnTo>
                      <a:pt x="764" y="1890"/>
                    </a:lnTo>
                    <a:lnTo>
                      <a:pt x="752" y="1890"/>
                    </a:lnTo>
                    <a:lnTo>
                      <a:pt x="740" y="1889"/>
                    </a:lnTo>
                    <a:lnTo>
                      <a:pt x="723" y="1888"/>
                    </a:lnTo>
                    <a:lnTo>
                      <a:pt x="708" y="1886"/>
                    </a:lnTo>
                    <a:lnTo>
                      <a:pt x="703" y="1888"/>
                    </a:lnTo>
                    <a:lnTo>
                      <a:pt x="698" y="1889"/>
                    </a:lnTo>
                    <a:lnTo>
                      <a:pt x="692" y="1891"/>
                    </a:lnTo>
                    <a:lnTo>
                      <a:pt x="688" y="1893"/>
                    </a:lnTo>
                    <a:lnTo>
                      <a:pt x="684" y="1896"/>
                    </a:lnTo>
                    <a:lnTo>
                      <a:pt x="680" y="1900"/>
                    </a:lnTo>
                    <a:lnTo>
                      <a:pt x="676" y="1905"/>
                    </a:lnTo>
                    <a:lnTo>
                      <a:pt x="673" y="1910"/>
                    </a:lnTo>
                    <a:lnTo>
                      <a:pt x="666" y="1923"/>
                    </a:lnTo>
                    <a:lnTo>
                      <a:pt x="660" y="1940"/>
                    </a:lnTo>
                    <a:lnTo>
                      <a:pt x="655" y="1951"/>
                    </a:lnTo>
                    <a:lnTo>
                      <a:pt x="651" y="1960"/>
                    </a:lnTo>
                    <a:lnTo>
                      <a:pt x="646" y="1969"/>
                    </a:lnTo>
                    <a:lnTo>
                      <a:pt x="640" y="1976"/>
                    </a:lnTo>
                    <a:lnTo>
                      <a:pt x="635" y="1984"/>
                    </a:lnTo>
                    <a:lnTo>
                      <a:pt x="628" y="1990"/>
                    </a:lnTo>
                    <a:lnTo>
                      <a:pt x="622" y="1997"/>
                    </a:lnTo>
                    <a:lnTo>
                      <a:pt x="615" y="2002"/>
                    </a:lnTo>
                    <a:lnTo>
                      <a:pt x="601" y="2012"/>
                    </a:lnTo>
                    <a:lnTo>
                      <a:pt x="586" y="2020"/>
                    </a:lnTo>
                    <a:lnTo>
                      <a:pt x="572" y="2028"/>
                    </a:lnTo>
                    <a:lnTo>
                      <a:pt x="556" y="2034"/>
                    </a:lnTo>
                    <a:lnTo>
                      <a:pt x="541" y="2041"/>
                    </a:lnTo>
                    <a:lnTo>
                      <a:pt x="525" y="2047"/>
                    </a:lnTo>
                    <a:lnTo>
                      <a:pt x="510" y="2054"/>
                    </a:lnTo>
                    <a:lnTo>
                      <a:pt x="496" y="2062"/>
                    </a:lnTo>
                    <a:lnTo>
                      <a:pt x="483" y="2071"/>
                    </a:lnTo>
                    <a:lnTo>
                      <a:pt x="471" y="2082"/>
                    </a:lnTo>
                    <a:lnTo>
                      <a:pt x="465" y="2088"/>
                    </a:lnTo>
                    <a:lnTo>
                      <a:pt x="459" y="2095"/>
                    </a:lnTo>
                    <a:lnTo>
                      <a:pt x="455" y="2102"/>
                    </a:lnTo>
                    <a:lnTo>
                      <a:pt x="451" y="2110"/>
                    </a:lnTo>
                    <a:lnTo>
                      <a:pt x="442" y="2124"/>
                    </a:lnTo>
                    <a:lnTo>
                      <a:pt x="430" y="2138"/>
                    </a:lnTo>
                    <a:lnTo>
                      <a:pt x="417" y="2153"/>
                    </a:lnTo>
                    <a:lnTo>
                      <a:pt x="404" y="2167"/>
                    </a:lnTo>
                    <a:lnTo>
                      <a:pt x="391" y="2182"/>
                    </a:lnTo>
                    <a:lnTo>
                      <a:pt x="381" y="2196"/>
                    </a:lnTo>
                    <a:lnTo>
                      <a:pt x="378" y="2203"/>
                    </a:lnTo>
                    <a:lnTo>
                      <a:pt x="375" y="2209"/>
                    </a:lnTo>
                    <a:lnTo>
                      <a:pt x="374" y="2216"/>
                    </a:lnTo>
                    <a:lnTo>
                      <a:pt x="374" y="2221"/>
                    </a:lnTo>
                    <a:lnTo>
                      <a:pt x="375" y="2234"/>
                    </a:lnTo>
                    <a:lnTo>
                      <a:pt x="376" y="2247"/>
                    </a:lnTo>
                    <a:lnTo>
                      <a:pt x="375" y="2260"/>
                    </a:lnTo>
                    <a:lnTo>
                      <a:pt x="374" y="2273"/>
                    </a:lnTo>
                    <a:lnTo>
                      <a:pt x="371" y="2299"/>
                    </a:lnTo>
                    <a:lnTo>
                      <a:pt x="369" y="2323"/>
                    </a:lnTo>
                    <a:lnTo>
                      <a:pt x="368" y="2344"/>
                    </a:lnTo>
                    <a:lnTo>
                      <a:pt x="366" y="2364"/>
                    </a:lnTo>
                    <a:lnTo>
                      <a:pt x="363" y="2383"/>
                    </a:lnTo>
                    <a:lnTo>
                      <a:pt x="358" y="2401"/>
                    </a:lnTo>
                    <a:lnTo>
                      <a:pt x="353" y="2418"/>
                    </a:lnTo>
                    <a:lnTo>
                      <a:pt x="347" y="2435"/>
                    </a:lnTo>
                    <a:lnTo>
                      <a:pt x="340" y="2450"/>
                    </a:lnTo>
                    <a:lnTo>
                      <a:pt x="332" y="2466"/>
                    </a:lnTo>
                    <a:lnTo>
                      <a:pt x="317" y="2497"/>
                    </a:lnTo>
                    <a:lnTo>
                      <a:pt x="299" y="2527"/>
                    </a:lnTo>
                    <a:lnTo>
                      <a:pt x="279" y="2558"/>
                    </a:lnTo>
                    <a:lnTo>
                      <a:pt x="260" y="2593"/>
                    </a:lnTo>
                    <a:lnTo>
                      <a:pt x="245" y="2636"/>
                    </a:lnTo>
                    <a:lnTo>
                      <a:pt x="231" y="2682"/>
                    </a:lnTo>
                    <a:lnTo>
                      <a:pt x="216" y="2731"/>
                    </a:lnTo>
                    <a:lnTo>
                      <a:pt x="200" y="2780"/>
                    </a:lnTo>
                    <a:lnTo>
                      <a:pt x="192" y="2803"/>
                    </a:lnTo>
                    <a:lnTo>
                      <a:pt x="183" y="2828"/>
                    </a:lnTo>
                    <a:lnTo>
                      <a:pt x="173" y="2851"/>
                    </a:lnTo>
                    <a:lnTo>
                      <a:pt x="163" y="2874"/>
                    </a:lnTo>
                    <a:lnTo>
                      <a:pt x="153" y="2895"/>
                    </a:lnTo>
                    <a:lnTo>
                      <a:pt x="141" y="2916"/>
                    </a:lnTo>
                    <a:lnTo>
                      <a:pt x="129" y="2935"/>
                    </a:lnTo>
                    <a:lnTo>
                      <a:pt x="116" y="2952"/>
                    </a:lnTo>
                    <a:lnTo>
                      <a:pt x="106" y="2968"/>
                    </a:lnTo>
                    <a:lnTo>
                      <a:pt x="96" y="2984"/>
                    </a:lnTo>
                    <a:lnTo>
                      <a:pt x="88" y="3001"/>
                    </a:lnTo>
                    <a:lnTo>
                      <a:pt x="81" y="3020"/>
                    </a:lnTo>
                    <a:lnTo>
                      <a:pt x="75" y="3040"/>
                    </a:lnTo>
                    <a:lnTo>
                      <a:pt x="69" y="3060"/>
                    </a:lnTo>
                    <a:lnTo>
                      <a:pt x="65" y="3081"/>
                    </a:lnTo>
                    <a:lnTo>
                      <a:pt x="62" y="3103"/>
                    </a:lnTo>
                    <a:lnTo>
                      <a:pt x="58" y="3124"/>
                    </a:lnTo>
                    <a:lnTo>
                      <a:pt x="56" y="3146"/>
                    </a:lnTo>
                    <a:lnTo>
                      <a:pt x="55" y="3167"/>
                    </a:lnTo>
                    <a:lnTo>
                      <a:pt x="55" y="3188"/>
                    </a:lnTo>
                    <a:lnTo>
                      <a:pt x="55" y="3208"/>
                    </a:lnTo>
                    <a:lnTo>
                      <a:pt x="56" y="3228"/>
                    </a:lnTo>
                    <a:lnTo>
                      <a:pt x="57" y="3247"/>
                    </a:lnTo>
                    <a:lnTo>
                      <a:pt x="59" y="3265"/>
                    </a:lnTo>
                    <a:lnTo>
                      <a:pt x="63" y="3284"/>
                    </a:lnTo>
                    <a:lnTo>
                      <a:pt x="67" y="3308"/>
                    </a:lnTo>
                    <a:lnTo>
                      <a:pt x="72" y="3334"/>
                    </a:lnTo>
                    <a:lnTo>
                      <a:pt x="76" y="3362"/>
                    </a:lnTo>
                    <a:lnTo>
                      <a:pt x="79" y="3389"/>
                    </a:lnTo>
                    <a:lnTo>
                      <a:pt x="79" y="3414"/>
                    </a:lnTo>
                    <a:lnTo>
                      <a:pt x="79" y="3425"/>
                    </a:lnTo>
                    <a:lnTo>
                      <a:pt x="77" y="3436"/>
                    </a:lnTo>
                    <a:lnTo>
                      <a:pt x="75" y="3446"/>
                    </a:lnTo>
                    <a:lnTo>
                      <a:pt x="71" y="3455"/>
                    </a:lnTo>
                    <a:lnTo>
                      <a:pt x="69" y="3471"/>
                    </a:lnTo>
                    <a:lnTo>
                      <a:pt x="64" y="3498"/>
                    </a:lnTo>
                    <a:lnTo>
                      <a:pt x="57" y="3532"/>
                    </a:lnTo>
                    <a:lnTo>
                      <a:pt x="47" y="3572"/>
                    </a:lnTo>
                    <a:lnTo>
                      <a:pt x="37" y="3613"/>
                    </a:lnTo>
                    <a:lnTo>
                      <a:pt x="25" y="3655"/>
                    </a:lnTo>
                    <a:lnTo>
                      <a:pt x="13" y="3694"/>
                    </a:lnTo>
                    <a:lnTo>
                      <a:pt x="0" y="3728"/>
                    </a:lnTo>
                    <a:lnTo>
                      <a:pt x="0" y="3728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92" name="Freeform 7">
                <a:extLst>
                  <a:ext uri="{FF2B5EF4-FFF2-40B4-BE49-F238E27FC236}">
                    <a16:creationId xmlns:a16="http://schemas.microsoft.com/office/drawing/2014/main" id="{56853282-A063-4580-AE9A-455DAE40BE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88276" y="3678643"/>
                <a:ext cx="1935163" cy="1595438"/>
              </a:xfrm>
              <a:custGeom>
                <a:avLst/>
                <a:gdLst>
                  <a:gd name="T0" fmla="*/ 2243 w 4878"/>
                  <a:gd name="T1" fmla="*/ 45 h 4022"/>
                  <a:gd name="T2" fmla="*/ 2318 w 4878"/>
                  <a:gd name="T3" fmla="*/ 135 h 4022"/>
                  <a:gd name="T4" fmla="*/ 2394 w 4878"/>
                  <a:gd name="T5" fmla="*/ 255 h 4022"/>
                  <a:gd name="T6" fmla="*/ 2483 w 4878"/>
                  <a:gd name="T7" fmla="*/ 187 h 4022"/>
                  <a:gd name="T8" fmla="*/ 2533 w 4878"/>
                  <a:gd name="T9" fmla="*/ 188 h 4022"/>
                  <a:gd name="T10" fmla="*/ 2607 w 4878"/>
                  <a:gd name="T11" fmla="*/ 214 h 4022"/>
                  <a:gd name="T12" fmla="*/ 2697 w 4878"/>
                  <a:gd name="T13" fmla="*/ 204 h 4022"/>
                  <a:gd name="T14" fmla="*/ 2803 w 4878"/>
                  <a:gd name="T15" fmla="*/ 160 h 4022"/>
                  <a:gd name="T16" fmla="*/ 2916 w 4878"/>
                  <a:gd name="T17" fmla="*/ 174 h 4022"/>
                  <a:gd name="T18" fmla="*/ 3092 w 4878"/>
                  <a:gd name="T19" fmla="*/ 251 h 4022"/>
                  <a:gd name="T20" fmla="*/ 3276 w 4878"/>
                  <a:gd name="T21" fmla="*/ 328 h 4022"/>
                  <a:gd name="T22" fmla="*/ 3355 w 4878"/>
                  <a:gd name="T23" fmla="*/ 322 h 4022"/>
                  <a:gd name="T24" fmla="*/ 3501 w 4878"/>
                  <a:gd name="T25" fmla="*/ 197 h 4022"/>
                  <a:gd name="T26" fmla="*/ 3671 w 4878"/>
                  <a:gd name="T27" fmla="*/ 201 h 4022"/>
                  <a:gd name="T28" fmla="*/ 3996 w 4878"/>
                  <a:gd name="T29" fmla="*/ 228 h 4022"/>
                  <a:gd name="T30" fmla="*/ 4247 w 4878"/>
                  <a:gd name="T31" fmla="*/ 329 h 4022"/>
                  <a:gd name="T32" fmla="*/ 4427 w 4878"/>
                  <a:gd name="T33" fmla="*/ 372 h 4022"/>
                  <a:gd name="T34" fmla="*/ 4649 w 4878"/>
                  <a:gd name="T35" fmla="*/ 305 h 4022"/>
                  <a:gd name="T36" fmla="*/ 4830 w 4878"/>
                  <a:gd name="T37" fmla="*/ 341 h 4022"/>
                  <a:gd name="T38" fmla="*/ 4835 w 4878"/>
                  <a:gd name="T39" fmla="*/ 1321 h 4022"/>
                  <a:gd name="T40" fmla="*/ 4630 w 4878"/>
                  <a:gd name="T41" fmla="*/ 1391 h 4022"/>
                  <a:gd name="T42" fmla="*/ 4461 w 4878"/>
                  <a:gd name="T43" fmla="*/ 1474 h 4022"/>
                  <a:gd name="T44" fmla="*/ 4287 w 4878"/>
                  <a:gd name="T45" fmla="*/ 1511 h 4022"/>
                  <a:gd name="T46" fmla="*/ 4083 w 4878"/>
                  <a:gd name="T47" fmla="*/ 1655 h 4022"/>
                  <a:gd name="T48" fmla="*/ 3858 w 4878"/>
                  <a:gd name="T49" fmla="*/ 1806 h 4022"/>
                  <a:gd name="T50" fmla="*/ 3817 w 4878"/>
                  <a:gd name="T51" fmla="*/ 1865 h 4022"/>
                  <a:gd name="T52" fmla="*/ 3785 w 4878"/>
                  <a:gd name="T53" fmla="*/ 2022 h 4022"/>
                  <a:gd name="T54" fmla="*/ 15 w 4878"/>
                  <a:gd name="T55" fmla="*/ 4021 h 4022"/>
                  <a:gd name="T56" fmla="*/ 4 w 4878"/>
                  <a:gd name="T57" fmla="*/ 3875 h 4022"/>
                  <a:gd name="T58" fmla="*/ 57 w 4878"/>
                  <a:gd name="T59" fmla="*/ 3484 h 4022"/>
                  <a:gd name="T60" fmla="*/ 100 w 4878"/>
                  <a:gd name="T61" fmla="*/ 3120 h 4022"/>
                  <a:gd name="T62" fmla="*/ 132 w 4878"/>
                  <a:gd name="T63" fmla="*/ 2968 h 4022"/>
                  <a:gd name="T64" fmla="*/ 225 w 4878"/>
                  <a:gd name="T65" fmla="*/ 2753 h 4022"/>
                  <a:gd name="T66" fmla="*/ 303 w 4878"/>
                  <a:gd name="T67" fmla="*/ 2592 h 4022"/>
                  <a:gd name="T68" fmla="*/ 377 w 4878"/>
                  <a:gd name="T69" fmla="*/ 2512 h 4022"/>
                  <a:gd name="T70" fmla="*/ 414 w 4878"/>
                  <a:gd name="T71" fmla="*/ 2528 h 4022"/>
                  <a:gd name="T72" fmla="*/ 497 w 4878"/>
                  <a:gd name="T73" fmla="*/ 2517 h 4022"/>
                  <a:gd name="T74" fmla="*/ 577 w 4878"/>
                  <a:gd name="T75" fmla="*/ 2449 h 4022"/>
                  <a:gd name="T76" fmla="*/ 617 w 4878"/>
                  <a:gd name="T77" fmla="*/ 2299 h 4022"/>
                  <a:gd name="T78" fmla="*/ 691 w 4878"/>
                  <a:gd name="T79" fmla="*/ 2224 h 4022"/>
                  <a:gd name="T80" fmla="*/ 714 w 4878"/>
                  <a:gd name="T81" fmla="*/ 2090 h 4022"/>
                  <a:gd name="T82" fmla="*/ 746 w 4878"/>
                  <a:gd name="T83" fmla="*/ 1997 h 4022"/>
                  <a:gd name="T84" fmla="*/ 756 w 4878"/>
                  <a:gd name="T85" fmla="*/ 1934 h 4022"/>
                  <a:gd name="T86" fmla="*/ 812 w 4878"/>
                  <a:gd name="T87" fmla="*/ 1871 h 4022"/>
                  <a:gd name="T88" fmla="*/ 898 w 4878"/>
                  <a:gd name="T89" fmla="*/ 1779 h 4022"/>
                  <a:gd name="T90" fmla="*/ 889 w 4878"/>
                  <a:gd name="T91" fmla="*/ 1704 h 4022"/>
                  <a:gd name="T92" fmla="*/ 910 w 4878"/>
                  <a:gd name="T93" fmla="*/ 1597 h 4022"/>
                  <a:gd name="T94" fmla="*/ 971 w 4878"/>
                  <a:gd name="T95" fmla="*/ 1449 h 4022"/>
                  <a:gd name="T96" fmla="*/ 1063 w 4878"/>
                  <a:gd name="T97" fmla="*/ 1325 h 4022"/>
                  <a:gd name="T98" fmla="*/ 1283 w 4878"/>
                  <a:gd name="T99" fmla="*/ 961 h 4022"/>
                  <a:gd name="T100" fmla="*/ 1320 w 4878"/>
                  <a:gd name="T101" fmla="*/ 893 h 4022"/>
                  <a:gd name="T102" fmla="*/ 1264 w 4878"/>
                  <a:gd name="T103" fmla="*/ 839 h 4022"/>
                  <a:gd name="T104" fmla="*/ 1079 w 4878"/>
                  <a:gd name="T105" fmla="*/ 1097 h 4022"/>
                  <a:gd name="T106" fmla="*/ 1058 w 4878"/>
                  <a:gd name="T107" fmla="*/ 1092 h 4022"/>
                  <a:gd name="T108" fmla="*/ 1212 w 4878"/>
                  <a:gd name="T109" fmla="*/ 865 h 4022"/>
                  <a:gd name="T110" fmla="*/ 1411 w 4878"/>
                  <a:gd name="T111" fmla="*/ 703 h 4022"/>
                  <a:gd name="T112" fmla="*/ 1549 w 4878"/>
                  <a:gd name="T113" fmla="*/ 521 h 4022"/>
                  <a:gd name="T114" fmla="*/ 1765 w 4878"/>
                  <a:gd name="T115" fmla="*/ 326 h 4022"/>
                  <a:gd name="T116" fmla="*/ 1942 w 4878"/>
                  <a:gd name="T117" fmla="*/ 165 h 4022"/>
                  <a:gd name="T118" fmla="*/ 2034 w 4878"/>
                  <a:gd name="T119" fmla="*/ 67 h 4022"/>
                  <a:gd name="T120" fmla="*/ 2080 w 4878"/>
                  <a:gd name="T121" fmla="*/ 35 h 40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878" h="4022">
                    <a:moveTo>
                      <a:pt x="2099" y="0"/>
                    </a:moveTo>
                    <a:lnTo>
                      <a:pt x="2185" y="43"/>
                    </a:lnTo>
                    <a:lnTo>
                      <a:pt x="2194" y="42"/>
                    </a:lnTo>
                    <a:lnTo>
                      <a:pt x="2204" y="41"/>
                    </a:lnTo>
                    <a:lnTo>
                      <a:pt x="2213" y="40"/>
                    </a:lnTo>
                    <a:lnTo>
                      <a:pt x="2220" y="41"/>
                    </a:lnTo>
                    <a:lnTo>
                      <a:pt x="2229" y="41"/>
                    </a:lnTo>
                    <a:lnTo>
                      <a:pt x="2235" y="43"/>
                    </a:lnTo>
                    <a:lnTo>
                      <a:pt x="2243" y="45"/>
                    </a:lnTo>
                    <a:lnTo>
                      <a:pt x="2249" y="47"/>
                    </a:lnTo>
                    <a:lnTo>
                      <a:pt x="2261" y="54"/>
                    </a:lnTo>
                    <a:lnTo>
                      <a:pt x="2272" y="61"/>
                    </a:lnTo>
                    <a:lnTo>
                      <a:pt x="2282" y="71"/>
                    </a:lnTo>
                    <a:lnTo>
                      <a:pt x="2289" y="82"/>
                    </a:lnTo>
                    <a:lnTo>
                      <a:pt x="2298" y="94"/>
                    </a:lnTo>
                    <a:lnTo>
                      <a:pt x="2305" y="107"/>
                    </a:lnTo>
                    <a:lnTo>
                      <a:pt x="2311" y="121"/>
                    </a:lnTo>
                    <a:lnTo>
                      <a:pt x="2318" y="135"/>
                    </a:lnTo>
                    <a:lnTo>
                      <a:pt x="2330" y="165"/>
                    </a:lnTo>
                    <a:lnTo>
                      <a:pt x="2341" y="194"/>
                    </a:lnTo>
                    <a:lnTo>
                      <a:pt x="2350" y="212"/>
                    </a:lnTo>
                    <a:lnTo>
                      <a:pt x="2358" y="226"/>
                    </a:lnTo>
                    <a:lnTo>
                      <a:pt x="2365" y="236"/>
                    </a:lnTo>
                    <a:lnTo>
                      <a:pt x="2372" y="245"/>
                    </a:lnTo>
                    <a:lnTo>
                      <a:pt x="2379" y="250"/>
                    </a:lnTo>
                    <a:lnTo>
                      <a:pt x="2387" y="254"/>
                    </a:lnTo>
                    <a:lnTo>
                      <a:pt x="2394" y="255"/>
                    </a:lnTo>
                    <a:lnTo>
                      <a:pt x="2401" y="255"/>
                    </a:lnTo>
                    <a:lnTo>
                      <a:pt x="2409" y="251"/>
                    </a:lnTo>
                    <a:lnTo>
                      <a:pt x="2416" y="247"/>
                    </a:lnTo>
                    <a:lnTo>
                      <a:pt x="2425" y="242"/>
                    </a:lnTo>
                    <a:lnTo>
                      <a:pt x="2434" y="234"/>
                    </a:lnTo>
                    <a:lnTo>
                      <a:pt x="2452" y="217"/>
                    </a:lnTo>
                    <a:lnTo>
                      <a:pt x="2473" y="195"/>
                    </a:lnTo>
                    <a:lnTo>
                      <a:pt x="2478" y="191"/>
                    </a:lnTo>
                    <a:lnTo>
                      <a:pt x="2483" y="187"/>
                    </a:lnTo>
                    <a:lnTo>
                      <a:pt x="2488" y="185"/>
                    </a:lnTo>
                    <a:lnTo>
                      <a:pt x="2492" y="181"/>
                    </a:lnTo>
                    <a:lnTo>
                      <a:pt x="2496" y="180"/>
                    </a:lnTo>
                    <a:lnTo>
                      <a:pt x="2501" y="179"/>
                    </a:lnTo>
                    <a:lnTo>
                      <a:pt x="2505" y="179"/>
                    </a:lnTo>
                    <a:lnTo>
                      <a:pt x="2509" y="179"/>
                    </a:lnTo>
                    <a:lnTo>
                      <a:pt x="2518" y="180"/>
                    </a:lnTo>
                    <a:lnTo>
                      <a:pt x="2526" y="183"/>
                    </a:lnTo>
                    <a:lnTo>
                      <a:pt x="2533" y="188"/>
                    </a:lnTo>
                    <a:lnTo>
                      <a:pt x="2541" y="193"/>
                    </a:lnTo>
                    <a:lnTo>
                      <a:pt x="2556" y="204"/>
                    </a:lnTo>
                    <a:lnTo>
                      <a:pt x="2572" y="214"/>
                    </a:lnTo>
                    <a:lnTo>
                      <a:pt x="2580" y="216"/>
                    </a:lnTo>
                    <a:lnTo>
                      <a:pt x="2589" y="217"/>
                    </a:lnTo>
                    <a:lnTo>
                      <a:pt x="2593" y="217"/>
                    </a:lnTo>
                    <a:lnTo>
                      <a:pt x="2597" y="217"/>
                    </a:lnTo>
                    <a:lnTo>
                      <a:pt x="2603" y="216"/>
                    </a:lnTo>
                    <a:lnTo>
                      <a:pt x="2607" y="214"/>
                    </a:lnTo>
                    <a:lnTo>
                      <a:pt x="2617" y="209"/>
                    </a:lnTo>
                    <a:lnTo>
                      <a:pt x="2625" y="206"/>
                    </a:lnTo>
                    <a:lnTo>
                      <a:pt x="2633" y="203"/>
                    </a:lnTo>
                    <a:lnTo>
                      <a:pt x="2641" y="202"/>
                    </a:lnTo>
                    <a:lnTo>
                      <a:pt x="2653" y="201"/>
                    </a:lnTo>
                    <a:lnTo>
                      <a:pt x="2663" y="202"/>
                    </a:lnTo>
                    <a:lnTo>
                      <a:pt x="2673" y="203"/>
                    </a:lnTo>
                    <a:lnTo>
                      <a:pt x="2684" y="204"/>
                    </a:lnTo>
                    <a:lnTo>
                      <a:pt x="2697" y="204"/>
                    </a:lnTo>
                    <a:lnTo>
                      <a:pt x="2712" y="202"/>
                    </a:lnTo>
                    <a:lnTo>
                      <a:pt x="2726" y="199"/>
                    </a:lnTo>
                    <a:lnTo>
                      <a:pt x="2738" y="194"/>
                    </a:lnTo>
                    <a:lnTo>
                      <a:pt x="2749" y="190"/>
                    </a:lnTo>
                    <a:lnTo>
                      <a:pt x="2758" y="186"/>
                    </a:lnTo>
                    <a:lnTo>
                      <a:pt x="2774" y="176"/>
                    </a:lnTo>
                    <a:lnTo>
                      <a:pt x="2788" y="167"/>
                    </a:lnTo>
                    <a:lnTo>
                      <a:pt x="2796" y="163"/>
                    </a:lnTo>
                    <a:lnTo>
                      <a:pt x="2803" y="160"/>
                    </a:lnTo>
                    <a:lnTo>
                      <a:pt x="2811" y="158"/>
                    </a:lnTo>
                    <a:lnTo>
                      <a:pt x="2820" y="155"/>
                    </a:lnTo>
                    <a:lnTo>
                      <a:pt x="2831" y="155"/>
                    </a:lnTo>
                    <a:lnTo>
                      <a:pt x="2844" y="155"/>
                    </a:lnTo>
                    <a:lnTo>
                      <a:pt x="2858" y="158"/>
                    </a:lnTo>
                    <a:lnTo>
                      <a:pt x="2876" y="161"/>
                    </a:lnTo>
                    <a:lnTo>
                      <a:pt x="2889" y="164"/>
                    </a:lnTo>
                    <a:lnTo>
                      <a:pt x="2903" y="168"/>
                    </a:lnTo>
                    <a:lnTo>
                      <a:pt x="2916" y="174"/>
                    </a:lnTo>
                    <a:lnTo>
                      <a:pt x="2930" y="180"/>
                    </a:lnTo>
                    <a:lnTo>
                      <a:pt x="2956" y="194"/>
                    </a:lnTo>
                    <a:lnTo>
                      <a:pt x="2983" y="208"/>
                    </a:lnTo>
                    <a:lnTo>
                      <a:pt x="3009" y="223"/>
                    </a:lnTo>
                    <a:lnTo>
                      <a:pt x="3036" y="235"/>
                    </a:lnTo>
                    <a:lnTo>
                      <a:pt x="3050" y="241"/>
                    </a:lnTo>
                    <a:lnTo>
                      <a:pt x="3064" y="246"/>
                    </a:lnTo>
                    <a:lnTo>
                      <a:pt x="3078" y="249"/>
                    </a:lnTo>
                    <a:lnTo>
                      <a:pt x="3092" y="251"/>
                    </a:lnTo>
                    <a:lnTo>
                      <a:pt x="3111" y="255"/>
                    </a:lnTo>
                    <a:lnTo>
                      <a:pt x="3128" y="260"/>
                    </a:lnTo>
                    <a:lnTo>
                      <a:pt x="3146" y="268"/>
                    </a:lnTo>
                    <a:lnTo>
                      <a:pt x="3163" y="275"/>
                    </a:lnTo>
                    <a:lnTo>
                      <a:pt x="3198" y="294"/>
                    </a:lnTo>
                    <a:lnTo>
                      <a:pt x="3232" y="312"/>
                    </a:lnTo>
                    <a:lnTo>
                      <a:pt x="3250" y="320"/>
                    </a:lnTo>
                    <a:lnTo>
                      <a:pt x="3267" y="326"/>
                    </a:lnTo>
                    <a:lnTo>
                      <a:pt x="3276" y="328"/>
                    </a:lnTo>
                    <a:lnTo>
                      <a:pt x="3284" y="330"/>
                    </a:lnTo>
                    <a:lnTo>
                      <a:pt x="3293" y="331"/>
                    </a:lnTo>
                    <a:lnTo>
                      <a:pt x="3302" y="332"/>
                    </a:lnTo>
                    <a:lnTo>
                      <a:pt x="3310" y="332"/>
                    </a:lnTo>
                    <a:lnTo>
                      <a:pt x="3319" y="332"/>
                    </a:lnTo>
                    <a:lnTo>
                      <a:pt x="3328" y="330"/>
                    </a:lnTo>
                    <a:lnTo>
                      <a:pt x="3336" y="328"/>
                    </a:lnTo>
                    <a:lnTo>
                      <a:pt x="3346" y="325"/>
                    </a:lnTo>
                    <a:lnTo>
                      <a:pt x="3355" y="322"/>
                    </a:lnTo>
                    <a:lnTo>
                      <a:pt x="3363" y="316"/>
                    </a:lnTo>
                    <a:lnTo>
                      <a:pt x="3372" y="310"/>
                    </a:lnTo>
                    <a:lnTo>
                      <a:pt x="3394" y="293"/>
                    </a:lnTo>
                    <a:lnTo>
                      <a:pt x="3415" y="271"/>
                    </a:lnTo>
                    <a:lnTo>
                      <a:pt x="3438" y="248"/>
                    </a:lnTo>
                    <a:lnTo>
                      <a:pt x="3462" y="226"/>
                    </a:lnTo>
                    <a:lnTo>
                      <a:pt x="3475" y="216"/>
                    </a:lnTo>
                    <a:lnTo>
                      <a:pt x="3488" y="206"/>
                    </a:lnTo>
                    <a:lnTo>
                      <a:pt x="3501" y="197"/>
                    </a:lnTo>
                    <a:lnTo>
                      <a:pt x="3514" y="191"/>
                    </a:lnTo>
                    <a:lnTo>
                      <a:pt x="3528" y="186"/>
                    </a:lnTo>
                    <a:lnTo>
                      <a:pt x="3542" y="182"/>
                    </a:lnTo>
                    <a:lnTo>
                      <a:pt x="3549" y="182"/>
                    </a:lnTo>
                    <a:lnTo>
                      <a:pt x="3556" y="181"/>
                    </a:lnTo>
                    <a:lnTo>
                      <a:pt x="3564" y="182"/>
                    </a:lnTo>
                    <a:lnTo>
                      <a:pt x="3571" y="183"/>
                    </a:lnTo>
                    <a:lnTo>
                      <a:pt x="3622" y="193"/>
                    </a:lnTo>
                    <a:lnTo>
                      <a:pt x="3671" y="201"/>
                    </a:lnTo>
                    <a:lnTo>
                      <a:pt x="3718" y="208"/>
                    </a:lnTo>
                    <a:lnTo>
                      <a:pt x="3764" y="214"/>
                    </a:lnTo>
                    <a:lnTo>
                      <a:pt x="3811" y="219"/>
                    </a:lnTo>
                    <a:lnTo>
                      <a:pt x="3859" y="222"/>
                    </a:lnTo>
                    <a:lnTo>
                      <a:pt x="3910" y="224"/>
                    </a:lnTo>
                    <a:lnTo>
                      <a:pt x="3963" y="224"/>
                    </a:lnTo>
                    <a:lnTo>
                      <a:pt x="3975" y="226"/>
                    </a:lnTo>
                    <a:lnTo>
                      <a:pt x="3985" y="226"/>
                    </a:lnTo>
                    <a:lnTo>
                      <a:pt x="3996" y="228"/>
                    </a:lnTo>
                    <a:lnTo>
                      <a:pt x="4008" y="230"/>
                    </a:lnTo>
                    <a:lnTo>
                      <a:pt x="4031" y="235"/>
                    </a:lnTo>
                    <a:lnTo>
                      <a:pt x="4055" y="242"/>
                    </a:lnTo>
                    <a:lnTo>
                      <a:pt x="4079" y="250"/>
                    </a:lnTo>
                    <a:lnTo>
                      <a:pt x="4103" y="260"/>
                    </a:lnTo>
                    <a:lnTo>
                      <a:pt x="4126" y="271"/>
                    </a:lnTo>
                    <a:lnTo>
                      <a:pt x="4150" y="282"/>
                    </a:lnTo>
                    <a:lnTo>
                      <a:pt x="4199" y="305"/>
                    </a:lnTo>
                    <a:lnTo>
                      <a:pt x="4247" y="329"/>
                    </a:lnTo>
                    <a:lnTo>
                      <a:pt x="4269" y="340"/>
                    </a:lnTo>
                    <a:lnTo>
                      <a:pt x="4292" y="350"/>
                    </a:lnTo>
                    <a:lnTo>
                      <a:pt x="4315" y="358"/>
                    </a:lnTo>
                    <a:lnTo>
                      <a:pt x="4337" y="366"/>
                    </a:lnTo>
                    <a:lnTo>
                      <a:pt x="4356" y="370"/>
                    </a:lnTo>
                    <a:lnTo>
                      <a:pt x="4375" y="374"/>
                    </a:lnTo>
                    <a:lnTo>
                      <a:pt x="4392" y="375"/>
                    </a:lnTo>
                    <a:lnTo>
                      <a:pt x="4410" y="374"/>
                    </a:lnTo>
                    <a:lnTo>
                      <a:pt x="4427" y="372"/>
                    </a:lnTo>
                    <a:lnTo>
                      <a:pt x="4444" y="369"/>
                    </a:lnTo>
                    <a:lnTo>
                      <a:pt x="4461" y="366"/>
                    </a:lnTo>
                    <a:lnTo>
                      <a:pt x="4477" y="361"/>
                    </a:lnTo>
                    <a:lnTo>
                      <a:pt x="4510" y="350"/>
                    </a:lnTo>
                    <a:lnTo>
                      <a:pt x="4544" y="337"/>
                    </a:lnTo>
                    <a:lnTo>
                      <a:pt x="4578" y="324"/>
                    </a:lnTo>
                    <a:lnTo>
                      <a:pt x="4615" y="312"/>
                    </a:lnTo>
                    <a:lnTo>
                      <a:pt x="4632" y="308"/>
                    </a:lnTo>
                    <a:lnTo>
                      <a:pt x="4649" y="305"/>
                    </a:lnTo>
                    <a:lnTo>
                      <a:pt x="4666" y="305"/>
                    </a:lnTo>
                    <a:lnTo>
                      <a:pt x="4682" y="307"/>
                    </a:lnTo>
                    <a:lnTo>
                      <a:pt x="4699" y="309"/>
                    </a:lnTo>
                    <a:lnTo>
                      <a:pt x="4716" y="311"/>
                    </a:lnTo>
                    <a:lnTo>
                      <a:pt x="4732" y="315"/>
                    </a:lnTo>
                    <a:lnTo>
                      <a:pt x="4748" y="320"/>
                    </a:lnTo>
                    <a:lnTo>
                      <a:pt x="4781" y="328"/>
                    </a:lnTo>
                    <a:lnTo>
                      <a:pt x="4813" y="337"/>
                    </a:lnTo>
                    <a:lnTo>
                      <a:pt x="4830" y="341"/>
                    </a:lnTo>
                    <a:lnTo>
                      <a:pt x="4846" y="343"/>
                    </a:lnTo>
                    <a:lnTo>
                      <a:pt x="4862" y="345"/>
                    </a:lnTo>
                    <a:lnTo>
                      <a:pt x="4878" y="347"/>
                    </a:lnTo>
                    <a:lnTo>
                      <a:pt x="4878" y="347"/>
                    </a:lnTo>
                    <a:lnTo>
                      <a:pt x="4878" y="1298"/>
                    </a:lnTo>
                    <a:lnTo>
                      <a:pt x="4869" y="1304"/>
                    </a:lnTo>
                    <a:lnTo>
                      <a:pt x="4858" y="1310"/>
                    </a:lnTo>
                    <a:lnTo>
                      <a:pt x="4847" y="1315"/>
                    </a:lnTo>
                    <a:lnTo>
                      <a:pt x="4835" y="1321"/>
                    </a:lnTo>
                    <a:lnTo>
                      <a:pt x="4809" y="1329"/>
                    </a:lnTo>
                    <a:lnTo>
                      <a:pt x="4782" y="1337"/>
                    </a:lnTo>
                    <a:lnTo>
                      <a:pt x="4755" y="1344"/>
                    </a:lnTo>
                    <a:lnTo>
                      <a:pt x="4728" y="1352"/>
                    </a:lnTo>
                    <a:lnTo>
                      <a:pt x="4702" y="1360"/>
                    </a:lnTo>
                    <a:lnTo>
                      <a:pt x="4678" y="1368"/>
                    </a:lnTo>
                    <a:lnTo>
                      <a:pt x="4662" y="1375"/>
                    </a:lnTo>
                    <a:lnTo>
                      <a:pt x="4645" y="1382"/>
                    </a:lnTo>
                    <a:lnTo>
                      <a:pt x="4630" y="1391"/>
                    </a:lnTo>
                    <a:lnTo>
                      <a:pt x="4615" y="1400"/>
                    </a:lnTo>
                    <a:lnTo>
                      <a:pt x="4586" y="1418"/>
                    </a:lnTo>
                    <a:lnTo>
                      <a:pt x="4557" y="1435"/>
                    </a:lnTo>
                    <a:lnTo>
                      <a:pt x="4542" y="1444"/>
                    </a:lnTo>
                    <a:lnTo>
                      <a:pt x="4527" y="1451"/>
                    </a:lnTo>
                    <a:lnTo>
                      <a:pt x="4511" y="1459"/>
                    </a:lnTo>
                    <a:lnTo>
                      <a:pt x="4495" y="1465"/>
                    </a:lnTo>
                    <a:lnTo>
                      <a:pt x="4479" y="1470"/>
                    </a:lnTo>
                    <a:lnTo>
                      <a:pt x="4461" y="1474"/>
                    </a:lnTo>
                    <a:lnTo>
                      <a:pt x="4442" y="1476"/>
                    </a:lnTo>
                    <a:lnTo>
                      <a:pt x="4422" y="1477"/>
                    </a:lnTo>
                    <a:lnTo>
                      <a:pt x="4404" y="1477"/>
                    </a:lnTo>
                    <a:lnTo>
                      <a:pt x="4384" y="1481"/>
                    </a:lnTo>
                    <a:lnTo>
                      <a:pt x="4364" y="1484"/>
                    </a:lnTo>
                    <a:lnTo>
                      <a:pt x="4343" y="1489"/>
                    </a:lnTo>
                    <a:lnTo>
                      <a:pt x="4324" y="1495"/>
                    </a:lnTo>
                    <a:lnTo>
                      <a:pt x="4304" y="1502"/>
                    </a:lnTo>
                    <a:lnTo>
                      <a:pt x="4287" y="1511"/>
                    </a:lnTo>
                    <a:lnTo>
                      <a:pt x="4270" y="1520"/>
                    </a:lnTo>
                    <a:lnTo>
                      <a:pt x="4260" y="1532"/>
                    </a:lnTo>
                    <a:lnTo>
                      <a:pt x="4247" y="1544"/>
                    </a:lnTo>
                    <a:lnTo>
                      <a:pt x="4233" y="1556"/>
                    </a:lnTo>
                    <a:lnTo>
                      <a:pt x="4217" y="1567"/>
                    </a:lnTo>
                    <a:lnTo>
                      <a:pt x="4186" y="1591"/>
                    </a:lnTo>
                    <a:lnTo>
                      <a:pt x="4152" y="1613"/>
                    </a:lnTo>
                    <a:lnTo>
                      <a:pt x="4118" y="1635"/>
                    </a:lnTo>
                    <a:lnTo>
                      <a:pt x="4083" y="1655"/>
                    </a:lnTo>
                    <a:lnTo>
                      <a:pt x="4050" y="1675"/>
                    </a:lnTo>
                    <a:lnTo>
                      <a:pt x="4021" y="1693"/>
                    </a:lnTo>
                    <a:lnTo>
                      <a:pt x="3998" y="1707"/>
                    </a:lnTo>
                    <a:lnTo>
                      <a:pt x="3975" y="1722"/>
                    </a:lnTo>
                    <a:lnTo>
                      <a:pt x="3950" y="1738"/>
                    </a:lnTo>
                    <a:lnTo>
                      <a:pt x="3926" y="1754"/>
                    </a:lnTo>
                    <a:lnTo>
                      <a:pt x="3902" y="1771"/>
                    </a:lnTo>
                    <a:lnTo>
                      <a:pt x="3878" y="1787"/>
                    </a:lnTo>
                    <a:lnTo>
                      <a:pt x="3858" y="1806"/>
                    </a:lnTo>
                    <a:lnTo>
                      <a:pt x="3838" y="1824"/>
                    </a:lnTo>
                    <a:lnTo>
                      <a:pt x="3832" y="1829"/>
                    </a:lnTo>
                    <a:lnTo>
                      <a:pt x="3827" y="1836"/>
                    </a:lnTo>
                    <a:lnTo>
                      <a:pt x="3824" y="1841"/>
                    </a:lnTo>
                    <a:lnTo>
                      <a:pt x="3821" y="1846"/>
                    </a:lnTo>
                    <a:lnTo>
                      <a:pt x="3820" y="1851"/>
                    </a:lnTo>
                    <a:lnTo>
                      <a:pt x="3819" y="1855"/>
                    </a:lnTo>
                    <a:lnTo>
                      <a:pt x="3817" y="1860"/>
                    </a:lnTo>
                    <a:lnTo>
                      <a:pt x="3817" y="1865"/>
                    </a:lnTo>
                    <a:lnTo>
                      <a:pt x="3821" y="1884"/>
                    </a:lnTo>
                    <a:lnTo>
                      <a:pt x="3825" y="1910"/>
                    </a:lnTo>
                    <a:lnTo>
                      <a:pt x="3825" y="1928"/>
                    </a:lnTo>
                    <a:lnTo>
                      <a:pt x="3823" y="1945"/>
                    </a:lnTo>
                    <a:lnTo>
                      <a:pt x="3819" y="1962"/>
                    </a:lnTo>
                    <a:lnTo>
                      <a:pt x="3813" y="1978"/>
                    </a:lnTo>
                    <a:lnTo>
                      <a:pt x="3806" y="1994"/>
                    </a:lnTo>
                    <a:lnTo>
                      <a:pt x="3796" y="2009"/>
                    </a:lnTo>
                    <a:lnTo>
                      <a:pt x="3785" y="2022"/>
                    </a:lnTo>
                    <a:lnTo>
                      <a:pt x="3772" y="2035"/>
                    </a:lnTo>
                    <a:lnTo>
                      <a:pt x="3842" y="2249"/>
                    </a:lnTo>
                    <a:lnTo>
                      <a:pt x="3897" y="2753"/>
                    </a:lnTo>
                    <a:lnTo>
                      <a:pt x="3918" y="3502"/>
                    </a:lnTo>
                    <a:lnTo>
                      <a:pt x="122" y="3502"/>
                    </a:lnTo>
                    <a:lnTo>
                      <a:pt x="87" y="3644"/>
                    </a:lnTo>
                    <a:lnTo>
                      <a:pt x="29" y="3884"/>
                    </a:lnTo>
                    <a:lnTo>
                      <a:pt x="16" y="4015"/>
                    </a:lnTo>
                    <a:lnTo>
                      <a:pt x="15" y="4021"/>
                    </a:lnTo>
                    <a:lnTo>
                      <a:pt x="15" y="4022"/>
                    </a:lnTo>
                    <a:lnTo>
                      <a:pt x="14" y="4019"/>
                    </a:lnTo>
                    <a:lnTo>
                      <a:pt x="14" y="4013"/>
                    </a:lnTo>
                    <a:lnTo>
                      <a:pt x="6" y="3979"/>
                    </a:lnTo>
                    <a:lnTo>
                      <a:pt x="1" y="3943"/>
                    </a:lnTo>
                    <a:lnTo>
                      <a:pt x="0" y="3925"/>
                    </a:lnTo>
                    <a:lnTo>
                      <a:pt x="0" y="3907"/>
                    </a:lnTo>
                    <a:lnTo>
                      <a:pt x="1" y="3890"/>
                    </a:lnTo>
                    <a:lnTo>
                      <a:pt x="4" y="3875"/>
                    </a:lnTo>
                    <a:lnTo>
                      <a:pt x="13" y="3837"/>
                    </a:lnTo>
                    <a:lnTo>
                      <a:pt x="20" y="3799"/>
                    </a:lnTo>
                    <a:lnTo>
                      <a:pt x="28" y="3760"/>
                    </a:lnTo>
                    <a:lnTo>
                      <a:pt x="33" y="3722"/>
                    </a:lnTo>
                    <a:lnTo>
                      <a:pt x="39" y="3683"/>
                    </a:lnTo>
                    <a:lnTo>
                      <a:pt x="43" y="3644"/>
                    </a:lnTo>
                    <a:lnTo>
                      <a:pt x="47" y="3604"/>
                    </a:lnTo>
                    <a:lnTo>
                      <a:pt x="51" y="3564"/>
                    </a:lnTo>
                    <a:lnTo>
                      <a:pt x="57" y="3484"/>
                    </a:lnTo>
                    <a:lnTo>
                      <a:pt x="64" y="3403"/>
                    </a:lnTo>
                    <a:lnTo>
                      <a:pt x="70" y="3324"/>
                    </a:lnTo>
                    <a:lnTo>
                      <a:pt x="80" y="3245"/>
                    </a:lnTo>
                    <a:lnTo>
                      <a:pt x="86" y="3229"/>
                    </a:lnTo>
                    <a:lnTo>
                      <a:pt x="91" y="3210"/>
                    </a:lnTo>
                    <a:lnTo>
                      <a:pt x="94" y="3188"/>
                    </a:lnTo>
                    <a:lnTo>
                      <a:pt x="97" y="3165"/>
                    </a:lnTo>
                    <a:lnTo>
                      <a:pt x="99" y="3142"/>
                    </a:lnTo>
                    <a:lnTo>
                      <a:pt x="100" y="3120"/>
                    </a:lnTo>
                    <a:lnTo>
                      <a:pt x="100" y="3099"/>
                    </a:lnTo>
                    <a:lnTo>
                      <a:pt x="101" y="3082"/>
                    </a:lnTo>
                    <a:lnTo>
                      <a:pt x="101" y="3063"/>
                    </a:lnTo>
                    <a:lnTo>
                      <a:pt x="104" y="3045"/>
                    </a:lnTo>
                    <a:lnTo>
                      <a:pt x="108" y="3029"/>
                    </a:lnTo>
                    <a:lnTo>
                      <a:pt x="112" y="3013"/>
                    </a:lnTo>
                    <a:lnTo>
                      <a:pt x="118" y="2998"/>
                    </a:lnTo>
                    <a:lnTo>
                      <a:pt x="124" y="2983"/>
                    </a:lnTo>
                    <a:lnTo>
                      <a:pt x="132" y="2968"/>
                    </a:lnTo>
                    <a:lnTo>
                      <a:pt x="139" y="2954"/>
                    </a:lnTo>
                    <a:lnTo>
                      <a:pt x="156" y="2926"/>
                    </a:lnTo>
                    <a:lnTo>
                      <a:pt x="172" y="2896"/>
                    </a:lnTo>
                    <a:lnTo>
                      <a:pt x="181" y="2881"/>
                    </a:lnTo>
                    <a:lnTo>
                      <a:pt x="188" y="2865"/>
                    </a:lnTo>
                    <a:lnTo>
                      <a:pt x="195" y="2849"/>
                    </a:lnTo>
                    <a:lnTo>
                      <a:pt x="201" y="2832"/>
                    </a:lnTo>
                    <a:lnTo>
                      <a:pt x="213" y="2793"/>
                    </a:lnTo>
                    <a:lnTo>
                      <a:pt x="225" y="2753"/>
                    </a:lnTo>
                    <a:lnTo>
                      <a:pt x="230" y="2733"/>
                    </a:lnTo>
                    <a:lnTo>
                      <a:pt x="237" y="2714"/>
                    </a:lnTo>
                    <a:lnTo>
                      <a:pt x="243" y="2696"/>
                    </a:lnTo>
                    <a:lnTo>
                      <a:pt x="251" y="2676"/>
                    </a:lnTo>
                    <a:lnTo>
                      <a:pt x="260" y="2658"/>
                    </a:lnTo>
                    <a:lnTo>
                      <a:pt x="268" y="2640"/>
                    </a:lnTo>
                    <a:lnTo>
                      <a:pt x="279" y="2623"/>
                    </a:lnTo>
                    <a:lnTo>
                      <a:pt x="290" y="2607"/>
                    </a:lnTo>
                    <a:lnTo>
                      <a:pt x="303" y="2592"/>
                    </a:lnTo>
                    <a:lnTo>
                      <a:pt x="317" y="2578"/>
                    </a:lnTo>
                    <a:lnTo>
                      <a:pt x="333" y="2565"/>
                    </a:lnTo>
                    <a:lnTo>
                      <a:pt x="352" y="2553"/>
                    </a:lnTo>
                    <a:lnTo>
                      <a:pt x="358" y="2548"/>
                    </a:lnTo>
                    <a:lnTo>
                      <a:pt x="363" y="2541"/>
                    </a:lnTo>
                    <a:lnTo>
                      <a:pt x="367" y="2536"/>
                    </a:lnTo>
                    <a:lnTo>
                      <a:pt x="370" y="2530"/>
                    </a:lnTo>
                    <a:lnTo>
                      <a:pt x="373" y="2519"/>
                    </a:lnTo>
                    <a:lnTo>
                      <a:pt x="377" y="2512"/>
                    </a:lnTo>
                    <a:lnTo>
                      <a:pt x="379" y="2509"/>
                    </a:lnTo>
                    <a:lnTo>
                      <a:pt x="381" y="2507"/>
                    </a:lnTo>
                    <a:lnTo>
                      <a:pt x="383" y="2507"/>
                    </a:lnTo>
                    <a:lnTo>
                      <a:pt x="386" y="2507"/>
                    </a:lnTo>
                    <a:lnTo>
                      <a:pt x="390" y="2509"/>
                    </a:lnTo>
                    <a:lnTo>
                      <a:pt x="395" y="2513"/>
                    </a:lnTo>
                    <a:lnTo>
                      <a:pt x="402" y="2518"/>
                    </a:lnTo>
                    <a:lnTo>
                      <a:pt x="410" y="2525"/>
                    </a:lnTo>
                    <a:lnTo>
                      <a:pt x="414" y="2528"/>
                    </a:lnTo>
                    <a:lnTo>
                      <a:pt x="417" y="2529"/>
                    </a:lnTo>
                    <a:lnTo>
                      <a:pt x="421" y="2531"/>
                    </a:lnTo>
                    <a:lnTo>
                      <a:pt x="426" y="2532"/>
                    </a:lnTo>
                    <a:lnTo>
                      <a:pt x="435" y="2534"/>
                    </a:lnTo>
                    <a:lnTo>
                      <a:pt x="446" y="2532"/>
                    </a:lnTo>
                    <a:lnTo>
                      <a:pt x="458" y="2530"/>
                    </a:lnTo>
                    <a:lnTo>
                      <a:pt x="471" y="2527"/>
                    </a:lnTo>
                    <a:lnTo>
                      <a:pt x="484" y="2523"/>
                    </a:lnTo>
                    <a:lnTo>
                      <a:pt x="497" y="2517"/>
                    </a:lnTo>
                    <a:lnTo>
                      <a:pt x="509" y="2512"/>
                    </a:lnTo>
                    <a:lnTo>
                      <a:pt x="522" y="2504"/>
                    </a:lnTo>
                    <a:lnTo>
                      <a:pt x="534" y="2498"/>
                    </a:lnTo>
                    <a:lnTo>
                      <a:pt x="544" y="2490"/>
                    </a:lnTo>
                    <a:lnTo>
                      <a:pt x="553" y="2483"/>
                    </a:lnTo>
                    <a:lnTo>
                      <a:pt x="562" y="2475"/>
                    </a:lnTo>
                    <a:lnTo>
                      <a:pt x="567" y="2468"/>
                    </a:lnTo>
                    <a:lnTo>
                      <a:pt x="572" y="2460"/>
                    </a:lnTo>
                    <a:lnTo>
                      <a:pt x="577" y="2449"/>
                    </a:lnTo>
                    <a:lnTo>
                      <a:pt x="582" y="2437"/>
                    </a:lnTo>
                    <a:lnTo>
                      <a:pt x="585" y="2426"/>
                    </a:lnTo>
                    <a:lnTo>
                      <a:pt x="588" y="2414"/>
                    </a:lnTo>
                    <a:lnTo>
                      <a:pt x="592" y="2391"/>
                    </a:lnTo>
                    <a:lnTo>
                      <a:pt x="596" y="2367"/>
                    </a:lnTo>
                    <a:lnTo>
                      <a:pt x="600" y="2345"/>
                    </a:lnTo>
                    <a:lnTo>
                      <a:pt x="606" y="2322"/>
                    </a:lnTo>
                    <a:lnTo>
                      <a:pt x="612" y="2310"/>
                    </a:lnTo>
                    <a:lnTo>
                      <a:pt x="617" y="2299"/>
                    </a:lnTo>
                    <a:lnTo>
                      <a:pt x="624" y="2287"/>
                    </a:lnTo>
                    <a:lnTo>
                      <a:pt x="631" y="2276"/>
                    </a:lnTo>
                    <a:lnTo>
                      <a:pt x="643" y="2264"/>
                    </a:lnTo>
                    <a:lnTo>
                      <a:pt x="655" y="2253"/>
                    </a:lnTo>
                    <a:lnTo>
                      <a:pt x="666" y="2245"/>
                    </a:lnTo>
                    <a:lnTo>
                      <a:pt x="677" y="2237"/>
                    </a:lnTo>
                    <a:lnTo>
                      <a:pt x="682" y="2232"/>
                    </a:lnTo>
                    <a:lnTo>
                      <a:pt x="687" y="2228"/>
                    </a:lnTo>
                    <a:lnTo>
                      <a:pt x="691" y="2224"/>
                    </a:lnTo>
                    <a:lnTo>
                      <a:pt x="695" y="2217"/>
                    </a:lnTo>
                    <a:lnTo>
                      <a:pt x="700" y="2211"/>
                    </a:lnTo>
                    <a:lnTo>
                      <a:pt x="703" y="2203"/>
                    </a:lnTo>
                    <a:lnTo>
                      <a:pt x="706" y="2194"/>
                    </a:lnTo>
                    <a:lnTo>
                      <a:pt x="708" y="2184"/>
                    </a:lnTo>
                    <a:lnTo>
                      <a:pt x="712" y="2162"/>
                    </a:lnTo>
                    <a:lnTo>
                      <a:pt x="713" y="2139"/>
                    </a:lnTo>
                    <a:lnTo>
                      <a:pt x="713" y="2114"/>
                    </a:lnTo>
                    <a:lnTo>
                      <a:pt x="714" y="2090"/>
                    </a:lnTo>
                    <a:lnTo>
                      <a:pt x="715" y="2078"/>
                    </a:lnTo>
                    <a:lnTo>
                      <a:pt x="716" y="2066"/>
                    </a:lnTo>
                    <a:lnTo>
                      <a:pt x="718" y="2054"/>
                    </a:lnTo>
                    <a:lnTo>
                      <a:pt x="721" y="2042"/>
                    </a:lnTo>
                    <a:lnTo>
                      <a:pt x="725" y="2031"/>
                    </a:lnTo>
                    <a:lnTo>
                      <a:pt x="729" y="2022"/>
                    </a:lnTo>
                    <a:lnTo>
                      <a:pt x="734" y="2012"/>
                    </a:lnTo>
                    <a:lnTo>
                      <a:pt x="741" y="2002"/>
                    </a:lnTo>
                    <a:lnTo>
                      <a:pt x="746" y="1997"/>
                    </a:lnTo>
                    <a:lnTo>
                      <a:pt x="752" y="1990"/>
                    </a:lnTo>
                    <a:lnTo>
                      <a:pt x="756" y="1983"/>
                    </a:lnTo>
                    <a:lnTo>
                      <a:pt x="759" y="1976"/>
                    </a:lnTo>
                    <a:lnTo>
                      <a:pt x="763" y="1969"/>
                    </a:lnTo>
                    <a:lnTo>
                      <a:pt x="764" y="1961"/>
                    </a:lnTo>
                    <a:lnTo>
                      <a:pt x="763" y="1954"/>
                    </a:lnTo>
                    <a:lnTo>
                      <a:pt x="760" y="1946"/>
                    </a:lnTo>
                    <a:lnTo>
                      <a:pt x="757" y="1940"/>
                    </a:lnTo>
                    <a:lnTo>
                      <a:pt x="756" y="1934"/>
                    </a:lnTo>
                    <a:lnTo>
                      <a:pt x="755" y="1929"/>
                    </a:lnTo>
                    <a:lnTo>
                      <a:pt x="755" y="1923"/>
                    </a:lnTo>
                    <a:lnTo>
                      <a:pt x="756" y="1919"/>
                    </a:lnTo>
                    <a:lnTo>
                      <a:pt x="758" y="1915"/>
                    </a:lnTo>
                    <a:lnTo>
                      <a:pt x="761" y="1910"/>
                    </a:lnTo>
                    <a:lnTo>
                      <a:pt x="764" y="1906"/>
                    </a:lnTo>
                    <a:lnTo>
                      <a:pt x="781" y="1892"/>
                    </a:lnTo>
                    <a:lnTo>
                      <a:pt x="799" y="1877"/>
                    </a:lnTo>
                    <a:lnTo>
                      <a:pt x="812" y="1871"/>
                    </a:lnTo>
                    <a:lnTo>
                      <a:pt x="825" y="1866"/>
                    </a:lnTo>
                    <a:lnTo>
                      <a:pt x="837" y="1857"/>
                    </a:lnTo>
                    <a:lnTo>
                      <a:pt x="849" y="1849"/>
                    </a:lnTo>
                    <a:lnTo>
                      <a:pt x="860" y="1839"/>
                    </a:lnTo>
                    <a:lnTo>
                      <a:pt x="870" y="1828"/>
                    </a:lnTo>
                    <a:lnTo>
                      <a:pt x="878" y="1816"/>
                    </a:lnTo>
                    <a:lnTo>
                      <a:pt x="886" y="1805"/>
                    </a:lnTo>
                    <a:lnTo>
                      <a:pt x="893" y="1792"/>
                    </a:lnTo>
                    <a:lnTo>
                      <a:pt x="898" y="1779"/>
                    </a:lnTo>
                    <a:lnTo>
                      <a:pt x="901" y="1765"/>
                    </a:lnTo>
                    <a:lnTo>
                      <a:pt x="902" y="1751"/>
                    </a:lnTo>
                    <a:lnTo>
                      <a:pt x="902" y="1744"/>
                    </a:lnTo>
                    <a:lnTo>
                      <a:pt x="901" y="1738"/>
                    </a:lnTo>
                    <a:lnTo>
                      <a:pt x="900" y="1730"/>
                    </a:lnTo>
                    <a:lnTo>
                      <a:pt x="898" y="1724"/>
                    </a:lnTo>
                    <a:lnTo>
                      <a:pt x="896" y="1717"/>
                    </a:lnTo>
                    <a:lnTo>
                      <a:pt x="893" y="1711"/>
                    </a:lnTo>
                    <a:lnTo>
                      <a:pt x="889" y="1704"/>
                    </a:lnTo>
                    <a:lnTo>
                      <a:pt x="885" y="1698"/>
                    </a:lnTo>
                    <a:lnTo>
                      <a:pt x="875" y="1695"/>
                    </a:lnTo>
                    <a:lnTo>
                      <a:pt x="864" y="1692"/>
                    </a:lnTo>
                    <a:lnTo>
                      <a:pt x="855" y="1690"/>
                    </a:lnTo>
                    <a:lnTo>
                      <a:pt x="842" y="1689"/>
                    </a:lnTo>
                    <a:lnTo>
                      <a:pt x="854" y="1673"/>
                    </a:lnTo>
                    <a:lnTo>
                      <a:pt x="881" y="1637"/>
                    </a:lnTo>
                    <a:lnTo>
                      <a:pt x="896" y="1617"/>
                    </a:lnTo>
                    <a:lnTo>
                      <a:pt x="910" y="1597"/>
                    </a:lnTo>
                    <a:lnTo>
                      <a:pt x="922" y="1580"/>
                    </a:lnTo>
                    <a:lnTo>
                      <a:pt x="928" y="1568"/>
                    </a:lnTo>
                    <a:lnTo>
                      <a:pt x="935" y="1555"/>
                    </a:lnTo>
                    <a:lnTo>
                      <a:pt x="939" y="1541"/>
                    </a:lnTo>
                    <a:lnTo>
                      <a:pt x="944" y="1527"/>
                    </a:lnTo>
                    <a:lnTo>
                      <a:pt x="948" y="1513"/>
                    </a:lnTo>
                    <a:lnTo>
                      <a:pt x="957" y="1486"/>
                    </a:lnTo>
                    <a:lnTo>
                      <a:pt x="966" y="1458"/>
                    </a:lnTo>
                    <a:lnTo>
                      <a:pt x="971" y="1449"/>
                    </a:lnTo>
                    <a:lnTo>
                      <a:pt x="975" y="1439"/>
                    </a:lnTo>
                    <a:lnTo>
                      <a:pt x="980" y="1432"/>
                    </a:lnTo>
                    <a:lnTo>
                      <a:pt x="986" y="1423"/>
                    </a:lnTo>
                    <a:lnTo>
                      <a:pt x="999" y="1407"/>
                    </a:lnTo>
                    <a:lnTo>
                      <a:pt x="1012" y="1392"/>
                    </a:lnTo>
                    <a:lnTo>
                      <a:pt x="1026" y="1377"/>
                    </a:lnTo>
                    <a:lnTo>
                      <a:pt x="1039" y="1361"/>
                    </a:lnTo>
                    <a:lnTo>
                      <a:pt x="1052" y="1343"/>
                    </a:lnTo>
                    <a:lnTo>
                      <a:pt x="1063" y="1325"/>
                    </a:lnTo>
                    <a:lnTo>
                      <a:pt x="1153" y="1159"/>
                    </a:lnTo>
                    <a:lnTo>
                      <a:pt x="1170" y="1126"/>
                    </a:lnTo>
                    <a:lnTo>
                      <a:pt x="1185" y="1093"/>
                    </a:lnTo>
                    <a:lnTo>
                      <a:pt x="1201" y="1059"/>
                    </a:lnTo>
                    <a:lnTo>
                      <a:pt x="1219" y="1027"/>
                    </a:lnTo>
                    <a:lnTo>
                      <a:pt x="1229" y="1015"/>
                    </a:lnTo>
                    <a:lnTo>
                      <a:pt x="1244" y="999"/>
                    </a:lnTo>
                    <a:lnTo>
                      <a:pt x="1262" y="982"/>
                    </a:lnTo>
                    <a:lnTo>
                      <a:pt x="1283" y="961"/>
                    </a:lnTo>
                    <a:lnTo>
                      <a:pt x="1292" y="951"/>
                    </a:lnTo>
                    <a:lnTo>
                      <a:pt x="1301" y="942"/>
                    </a:lnTo>
                    <a:lnTo>
                      <a:pt x="1309" y="932"/>
                    </a:lnTo>
                    <a:lnTo>
                      <a:pt x="1314" y="922"/>
                    </a:lnTo>
                    <a:lnTo>
                      <a:pt x="1318" y="912"/>
                    </a:lnTo>
                    <a:lnTo>
                      <a:pt x="1322" y="905"/>
                    </a:lnTo>
                    <a:lnTo>
                      <a:pt x="1322" y="901"/>
                    </a:lnTo>
                    <a:lnTo>
                      <a:pt x="1321" y="896"/>
                    </a:lnTo>
                    <a:lnTo>
                      <a:pt x="1320" y="893"/>
                    </a:lnTo>
                    <a:lnTo>
                      <a:pt x="1318" y="890"/>
                    </a:lnTo>
                    <a:lnTo>
                      <a:pt x="1304" y="864"/>
                    </a:lnTo>
                    <a:lnTo>
                      <a:pt x="1290" y="841"/>
                    </a:lnTo>
                    <a:lnTo>
                      <a:pt x="1287" y="837"/>
                    </a:lnTo>
                    <a:lnTo>
                      <a:pt x="1284" y="835"/>
                    </a:lnTo>
                    <a:lnTo>
                      <a:pt x="1279" y="834"/>
                    </a:lnTo>
                    <a:lnTo>
                      <a:pt x="1275" y="834"/>
                    </a:lnTo>
                    <a:lnTo>
                      <a:pt x="1270" y="835"/>
                    </a:lnTo>
                    <a:lnTo>
                      <a:pt x="1264" y="839"/>
                    </a:lnTo>
                    <a:lnTo>
                      <a:pt x="1258" y="844"/>
                    </a:lnTo>
                    <a:lnTo>
                      <a:pt x="1251" y="852"/>
                    </a:lnTo>
                    <a:lnTo>
                      <a:pt x="1237" y="871"/>
                    </a:lnTo>
                    <a:lnTo>
                      <a:pt x="1214" y="906"/>
                    </a:lnTo>
                    <a:lnTo>
                      <a:pt x="1185" y="949"/>
                    </a:lnTo>
                    <a:lnTo>
                      <a:pt x="1153" y="997"/>
                    </a:lnTo>
                    <a:lnTo>
                      <a:pt x="1120" y="1043"/>
                    </a:lnTo>
                    <a:lnTo>
                      <a:pt x="1091" y="1082"/>
                    </a:lnTo>
                    <a:lnTo>
                      <a:pt x="1079" y="1097"/>
                    </a:lnTo>
                    <a:lnTo>
                      <a:pt x="1068" y="1109"/>
                    </a:lnTo>
                    <a:lnTo>
                      <a:pt x="1063" y="1114"/>
                    </a:lnTo>
                    <a:lnTo>
                      <a:pt x="1059" y="1118"/>
                    </a:lnTo>
                    <a:lnTo>
                      <a:pt x="1056" y="1119"/>
                    </a:lnTo>
                    <a:lnTo>
                      <a:pt x="1053" y="1120"/>
                    </a:lnTo>
                    <a:lnTo>
                      <a:pt x="1053" y="1113"/>
                    </a:lnTo>
                    <a:lnTo>
                      <a:pt x="1054" y="1107"/>
                    </a:lnTo>
                    <a:lnTo>
                      <a:pt x="1056" y="1099"/>
                    </a:lnTo>
                    <a:lnTo>
                      <a:pt x="1058" y="1092"/>
                    </a:lnTo>
                    <a:lnTo>
                      <a:pt x="1066" y="1074"/>
                    </a:lnTo>
                    <a:lnTo>
                      <a:pt x="1075" y="1056"/>
                    </a:lnTo>
                    <a:lnTo>
                      <a:pt x="1085" y="1037"/>
                    </a:lnTo>
                    <a:lnTo>
                      <a:pt x="1098" y="1016"/>
                    </a:lnTo>
                    <a:lnTo>
                      <a:pt x="1111" y="996"/>
                    </a:lnTo>
                    <a:lnTo>
                      <a:pt x="1127" y="975"/>
                    </a:lnTo>
                    <a:lnTo>
                      <a:pt x="1156" y="934"/>
                    </a:lnTo>
                    <a:lnTo>
                      <a:pt x="1186" y="896"/>
                    </a:lnTo>
                    <a:lnTo>
                      <a:pt x="1212" y="865"/>
                    </a:lnTo>
                    <a:lnTo>
                      <a:pt x="1234" y="842"/>
                    </a:lnTo>
                    <a:lnTo>
                      <a:pt x="1251" y="825"/>
                    </a:lnTo>
                    <a:lnTo>
                      <a:pt x="1270" y="810"/>
                    </a:lnTo>
                    <a:lnTo>
                      <a:pt x="1288" y="795"/>
                    </a:lnTo>
                    <a:lnTo>
                      <a:pt x="1307" y="780"/>
                    </a:lnTo>
                    <a:lnTo>
                      <a:pt x="1344" y="753"/>
                    </a:lnTo>
                    <a:lnTo>
                      <a:pt x="1385" y="725"/>
                    </a:lnTo>
                    <a:lnTo>
                      <a:pt x="1398" y="714"/>
                    </a:lnTo>
                    <a:lnTo>
                      <a:pt x="1411" y="703"/>
                    </a:lnTo>
                    <a:lnTo>
                      <a:pt x="1423" y="691"/>
                    </a:lnTo>
                    <a:lnTo>
                      <a:pt x="1433" y="678"/>
                    </a:lnTo>
                    <a:lnTo>
                      <a:pt x="1455" y="650"/>
                    </a:lnTo>
                    <a:lnTo>
                      <a:pt x="1476" y="622"/>
                    </a:lnTo>
                    <a:lnTo>
                      <a:pt x="1496" y="592"/>
                    </a:lnTo>
                    <a:lnTo>
                      <a:pt x="1517" y="564"/>
                    </a:lnTo>
                    <a:lnTo>
                      <a:pt x="1527" y="548"/>
                    </a:lnTo>
                    <a:lnTo>
                      <a:pt x="1538" y="536"/>
                    </a:lnTo>
                    <a:lnTo>
                      <a:pt x="1549" y="521"/>
                    </a:lnTo>
                    <a:lnTo>
                      <a:pt x="1561" y="510"/>
                    </a:lnTo>
                    <a:lnTo>
                      <a:pt x="1585" y="484"/>
                    </a:lnTo>
                    <a:lnTo>
                      <a:pt x="1609" y="459"/>
                    </a:lnTo>
                    <a:lnTo>
                      <a:pt x="1633" y="435"/>
                    </a:lnTo>
                    <a:lnTo>
                      <a:pt x="1658" y="412"/>
                    </a:lnTo>
                    <a:lnTo>
                      <a:pt x="1683" y="390"/>
                    </a:lnTo>
                    <a:lnTo>
                      <a:pt x="1710" y="368"/>
                    </a:lnTo>
                    <a:lnTo>
                      <a:pt x="1737" y="348"/>
                    </a:lnTo>
                    <a:lnTo>
                      <a:pt x="1765" y="326"/>
                    </a:lnTo>
                    <a:lnTo>
                      <a:pt x="1784" y="311"/>
                    </a:lnTo>
                    <a:lnTo>
                      <a:pt x="1803" y="294"/>
                    </a:lnTo>
                    <a:lnTo>
                      <a:pt x="1821" y="275"/>
                    </a:lnTo>
                    <a:lnTo>
                      <a:pt x="1839" y="256"/>
                    </a:lnTo>
                    <a:lnTo>
                      <a:pt x="1857" y="236"/>
                    </a:lnTo>
                    <a:lnTo>
                      <a:pt x="1874" y="218"/>
                    </a:lnTo>
                    <a:lnTo>
                      <a:pt x="1894" y="200"/>
                    </a:lnTo>
                    <a:lnTo>
                      <a:pt x="1913" y="183"/>
                    </a:lnTo>
                    <a:lnTo>
                      <a:pt x="1942" y="165"/>
                    </a:lnTo>
                    <a:lnTo>
                      <a:pt x="1971" y="147"/>
                    </a:lnTo>
                    <a:lnTo>
                      <a:pt x="1985" y="137"/>
                    </a:lnTo>
                    <a:lnTo>
                      <a:pt x="1999" y="127"/>
                    </a:lnTo>
                    <a:lnTo>
                      <a:pt x="2004" y="122"/>
                    </a:lnTo>
                    <a:lnTo>
                      <a:pt x="2010" y="115"/>
                    </a:lnTo>
                    <a:lnTo>
                      <a:pt x="2015" y="109"/>
                    </a:lnTo>
                    <a:lnTo>
                      <a:pt x="2020" y="102"/>
                    </a:lnTo>
                    <a:lnTo>
                      <a:pt x="2028" y="82"/>
                    </a:lnTo>
                    <a:lnTo>
                      <a:pt x="2034" y="67"/>
                    </a:lnTo>
                    <a:lnTo>
                      <a:pt x="2036" y="64"/>
                    </a:lnTo>
                    <a:lnTo>
                      <a:pt x="2038" y="61"/>
                    </a:lnTo>
                    <a:lnTo>
                      <a:pt x="2041" y="58"/>
                    </a:lnTo>
                    <a:lnTo>
                      <a:pt x="2045" y="56"/>
                    </a:lnTo>
                    <a:lnTo>
                      <a:pt x="2055" y="50"/>
                    </a:lnTo>
                    <a:lnTo>
                      <a:pt x="2071" y="44"/>
                    </a:lnTo>
                    <a:lnTo>
                      <a:pt x="2074" y="42"/>
                    </a:lnTo>
                    <a:lnTo>
                      <a:pt x="2077" y="40"/>
                    </a:lnTo>
                    <a:lnTo>
                      <a:pt x="2080" y="35"/>
                    </a:lnTo>
                    <a:lnTo>
                      <a:pt x="2085" y="30"/>
                    </a:lnTo>
                    <a:lnTo>
                      <a:pt x="2091" y="17"/>
                    </a:lnTo>
                    <a:lnTo>
                      <a:pt x="2099" y="0"/>
                    </a:lnTo>
                    <a:lnTo>
                      <a:pt x="209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93" name="Freeform 8">
                <a:extLst>
                  <a:ext uri="{FF2B5EF4-FFF2-40B4-BE49-F238E27FC236}">
                    <a16:creationId xmlns:a16="http://schemas.microsoft.com/office/drawing/2014/main" id="{8F2AD122-34D6-4191-9018-B777A62E25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88276" y="3678643"/>
                <a:ext cx="1935163" cy="1595438"/>
              </a:xfrm>
              <a:custGeom>
                <a:avLst/>
                <a:gdLst>
                  <a:gd name="T0" fmla="*/ 2243 w 4878"/>
                  <a:gd name="T1" fmla="*/ 45 h 4022"/>
                  <a:gd name="T2" fmla="*/ 2318 w 4878"/>
                  <a:gd name="T3" fmla="*/ 135 h 4022"/>
                  <a:gd name="T4" fmla="*/ 2394 w 4878"/>
                  <a:gd name="T5" fmla="*/ 255 h 4022"/>
                  <a:gd name="T6" fmla="*/ 2483 w 4878"/>
                  <a:gd name="T7" fmla="*/ 187 h 4022"/>
                  <a:gd name="T8" fmla="*/ 2533 w 4878"/>
                  <a:gd name="T9" fmla="*/ 188 h 4022"/>
                  <a:gd name="T10" fmla="*/ 2607 w 4878"/>
                  <a:gd name="T11" fmla="*/ 214 h 4022"/>
                  <a:gd name="T12" fmla="*/ 2697 w 4878"/>
                  <a:gd name="T13" fmla="*/ 204 h 4022"/>
                  <a:gd name="T14" fmla="*/ 2803 w 4878"/>
                  <a:gd name="T15" fmla="*/ 160 h 4022"/>
                  <a:gd name="T16" fmla="*/ 2916 w 4878"/>
                  <a:gd name="T17" fmla="*/ 174 h 4022"/>
                  <a:gd name="T18" fmla="*/ 3092 w 4878"/>
                  <a:gd name="T19" fmla="*/ 251 h 4022"/>
                  <a:gd name="T20" fmla="*/ 3276 w 4878"/>
                  <a:gd name="T21" fmla="*/ 328 h 4022"/>
                  <a:gd name="T22" fmla="*/ 3355 w 4878"/>
                  <a:gd name="T23" fmla="*/ 322 h 4022"/>
                  <a:gd name="T24" fmla="*/ 3501 w 4878"/>
                  <a:gd name="T25" fmla="*/ 197 h 4022"/>
                  <a:gd name="T26" fmla="*/ 3671 w 4878"/>
                  <a:gd name="T27" fmla="*/ 201 h 4022"/>
                  <a:gd name="T28" fmla="*/ 3996 w 4878"/>
                  <a:gd name="T29" fmla="*/ 228 h 4022"/>
                  <a:gd name="T30" fmla="*/ 4247 w 4878"/>
                  <a:gd name="T31" fmla="*/ 329 h 4022"/>
                  <a:gd name="T32" fmla="*/ 4427 w 4878"/>
                  <a:gd name="T33" fmla="*/ 372 h 4022"/>
                  <a:gd name="T34" fmla="*/ 4649 w 4878"/>
                  <a:gd name="T35" fmla="*/ 305 h 4022"/>
                  <a:gd name="T36" fmla="*/ 4830 w 4878"/>
                  <a:gd name="T37" fmla="*/ 341 h 4022"/>
                  <a:gd name="T38" fmla="*/ 4835 w 4878"/>
                  <a:gd name="T39" fmla="*/ 1321 h 4022"/>
                  <a:gd name="T40" fmla="*/ 4630 w 4878"/>
                  <a:gd name="T41" fmla="*/ 1391 h 4022"/>
                  <a:gd name="T42" fmla="*/ 4461 w 4878"/>
                  <a:gd name="T43" fmla="*/ 1474 h 4022"/>
                  <a:gd name="T44" fmla="*/ 4287 w 4878"/>
                  <a:gd name="T45" fmla="*/ 1511 h 4022"/>
                  <a:gd name="T46" fmla="*/ 4083 w 4878"/>
                  <a:gd name="T47" fmla="*/ 1655 h 4022"/>
                  <a:gd name="T48" fmla="*/ 3858 w 4878"/>
                  <a:gd name="T49" fmla="*/ 1806 h 4022"/>
                  <a:gd name="T50" fmla="*/ 3817 w 4878"/>
                  <a:gd name="T51" fmla="*/ 1865 h 4022"/>
                  <a:gd name="T52" fmla="*/ 3785 w 4878"/>
                  <a:gd name="T53" fmla="*/ 2022 h 4022"/>
                  <a:gd name="T54" fmla="*/ 15 w 4878"/>
                  <a:gd name="T55" fmla="*/ 4021 h 4022"/>
                  <a:gd name="T56" fmla="*/ 4 w 4878"/>
                  <a:gd name="T57" fmla="*/ 3875 h 4022"/>
                  <a:gd name="T58" fmla="*/ 57 w 4878"/>
                  <a:gd name="T59" fmla="*/ 3484 h 4022"/>
                  <a:gd name="T60" fmla="*/ 100 w 4878"/>
                  <a:gd name="T61" fmla="*/ 3120 h 4022"/>
                  <a:gd name="T62" fmla="*/ 132 w 4878"/>
                  <a:gd name="T63" fmla="*/ 2968 h 4022"/>
                  <a:gd name="T64" fmla="*/ 225 w 4878"/>
                  <a:gd name="T65" fmla="*/ 2753 h 4022"/>
                  <a:gd name="T66" fmla="*/ 303 w 4878"/>
                  <a:gd name="T67" fmla="*/ 2592 h 4022"/>
                  <a:gd name="T68" fmla="*/ 377 w 4878"/>
                  <a:gd name="T69" fmla="*/ 2512 h 4022"/>
                  <a:gd name="T70" fmla="*/ 414 w 4878"/>
                  <a:gd name="T71" fmla="*/ 2528 h 4022"/>
                  <a:gd name="T72" fmla="*/ 497 w 4878"/>
                  <a:gd name="T73" fmla="*/ 2517 h 4022"/>
                  <a:gd name="T74" fmla="*/ 577 w 4878"/>
                  <a:gd name="T75" fmla="*/ 2449 h 4022"/>
                  <a:gd name="T76" fmla="*/ 617 w 4878"/>
                  <a:gd name="T77" fmla="*/ 2299 h 4022"/>
                  <a:gd name="T78" fmla="*/ 691 w 4878"/>
                  <a:gd name="T79" fmla="*/ 2224 h 4022"/>
                  <a:gd name="T80" fmla="*/ 714 w 4878"/>
                  <a:gd name="T81" fmla="*/ 2090 h 4022"/>
                  <a:gd name="T82" fmla="*/ 746 w 4878"/>
                  <a:gd name="T83" fmla="*/ 1997 h 4022"/>
                  <a:gd name="T84" fmla="*/ 756 w 4878"/>
                  <a:gd name="T85" fmla="*/ 1934 h 4022"/>
                  <a:gd name="T86" fmla="*/ 812 w 4878"/>
                  <a:gd name="T87" fmla="*/ 1871 h 4022"/>
                  <a:gd name="T88" fmla="*/ 898 w 4878"/>
                  <a:gd name="T89" fmla="*/ 1779 h 4022"/>
                  <a:gd name="T90" fmla="*/ 889 w 4878"/>
                  <a:gd name="T91" fmla="*/ 1704 h 4022"/>
                  <a:gd name="T92" fmla="*/ 910 w 4878"/>
                  <a:gd name="T93" fmla="*/ 1597 h 4022"/>
                  <a:gd name="T94" fmla="*/ 971 w 4878"/>
                  <a:gd name="T95" fmla="*/ 1449 h 4022"/>
                  <a:gd name="T96" fmla="*/ 1063 w 4878"/>
                  <a:gd name="T97" fmla="*/ 1325 h 4022"/>
                  <a:gd name="T98" fmla="*/ 1283 w 4878"/>
                  <a:gd name="T99" fmla="*/ 961 h 4022"/>
                  <a:gd name="T100" fmla="*/ 1320 w 4878"/>
                  <a:gd name="T101" fmla="*/ 893 h 4022"/>
                  <a:gd name="T102" fmla="*/ 1264 w 4878"/>
                  <a:gd name="T103" fmla="*/ 839 h 4022"/>
                  <a:gd name="T104" fmla="*/ 1079 w 4878"/>
                  <a:gd name="T105" fmla="*/ 1097 h 4022"/>
                  <a:gd name="T106" fmla="*/ 1058 w 4878"/>
                  <a:gd name="T107" fmla="*/ 1092 h 4022"/>
                  <a:gd name="T108" fmla="*/ 1212 w 4878"/>
                  <a:gd name="T109" fmla="*/ 865 h 4022"/>
                  <a:gd name="T110" fmla="*/ 1411 w 4878"/>
                  <a:gd name="T111" fmla="*/ 703 h 4022"/>
                  <a:gd name="T112" fmla="*/ 1549 w 4878"/>
                  <a:gd name="T113" fmla="*/ 521 h 4022"/>
                  <a:gd name="T114" fmla="*/ 1765 w 4878"/>
                  <a:gd name="T115" fmla="*/ 326 h 4022"/>
                  <a:gd name="T116" fmla="*/ 1942 w 4878"/>
                  <a:gd name="T117" fmla="*/ 165 h 4022"/>
                  <a:gd name="T118" fmla="*/ 2034 w 4878"/>
                  <a:gd name="T119" fmla="*/ 67 h 4022"/>
                  <a:gd name="T120" fmla="*/ 2080 w 4878"/>
                  <a:gd name="T121" fmla="*/ 35 h 40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878" h="4022">
                    <a:moveTo>
                      <a:pt x="2099" y="0"/>
                    </a:moveTo>
                    <a:lnTo>
                      <a:pt x="2185" y="43"/>
                    </a:lnTo>
                    <a:lnTo>
                      <a:pt x="2194" y="42"/>
                    </a:lnTo>
                    <a:lnTo>
                      <a:pt x="2204" y="41"/>
                    </a:lnTo>
                    <a:lnTo>
                      <a:pt x="2213" y="40"/>
                    </a:lnTo>
                    <a:lnTo>
                      <a:pt x="2220" y="41"/>
                    </a:lnTo>
                    <a:lnTo>
                      <a:pt x="2229" y="41"/>
                    </a:lnTo>
                    <a:lnTo>
                      <a:pt x="2235" y="43"/>
                    </a:lnTo>
                    <a:lnTo>
                      <a:pt x="2243" y="45"/>
                    </a:lnTo>
                    <a:lnTo>
                      <a:pt x="2249" y="47"/>
                    </a:lnTo>
                    <a:lnTo>
                      <a:pt x="2261" y="54"/>
                    </a:lnTo>
                    <a:lnTo>
                      <a:pt x="2272" y="61"/>
                    </a:lnTo>
                    <a:lnTo>
                      <a:pt x="2282" y="71"/>
                    </a:lnTo>
                    <a:lnTo>
                      <a:pt x="2289" y="82"/>
                    </a:lnTo>
                    <a:lnTo>
                      <a:pt x="2298" y="94"/>
                    </a:lnTo>
                    <a:lnTo>
                      <a:pt x="2305" y="107"/>
                    </a:lnTo>
                    <a:lnTo>
                      <a:pt x="2311" y="121"/>
                    </a:lnTo>
                    <a:lnTo>
                      <a:pt x="2318" y="135"/>
                    </a:lnTo>
                    <a:lnTo>
                      <a:pt x="2330" y="165"/>
                    </a:lnTo>
                    <a:lnTo>
                      <a:pt x="2341" y="194"/>
                    </a:lnTo>
                    <a:lnTo>
                      <a:pt x="2350" y="212"/>
                    </a:lnTo>
                    <a:lnTo>
                      <a:pt x="2358" y="226"/>
                    </a:lnTo>
                    <a:lnTo>
                      <a:pt x="2365" y="236"/>
                    </a:lnTo>
                    <a:lnTo>
                      <a:pt x="2372" y="245"/>
                    </a:lnTo>
                    <a:lnTo>
                      <a:pt x="2379" y="250"/>
                    </a:lnTo>
                    <a:lnTo>
                      <a:pt x="2387" y="254"/>
                    </a:lnTo>
                    <a:lnTo>
                      <a:pt x="2394" y="255"/>
                    </a:lnTo>
                    <a:lnTo>
                      <a:pt x="2401" y="255"/>
                    </a:lnTo>
                    <a:lnTo>
                      <a:pt x="2409" y="251"/>
                    </a:lnTo>
                    <a:lnTo>
                      <a:pt x="2416" y="247"/>
                    </a:lnTo>
                    <a:lnTo>
                      <a:pt x="2425" y="242"/>
                    </a:lnTo>
                    <a:lnTo>
                      <a:pt x="2434" y="234"/>
                    </a:lnTo>
                    <a:lnTo>
                      <a:pt x="2452" y="217"/>
                    </a:lnTo>
                    <a:lnTo>
                      <a:pt x="2473" y="195"/>
                    </a:lnTo>
                    <a:lnTo>
                      <a:pt x="2478" y="191"/>
                    </a:lnTo>
                    <a:lnTo>
                      <a:pt x="2483" y="187"/>
                    </a:lnTo>
                    <a:lnTo>
                      <a:pt x="2488" y="185"/>
                    </a:lnTo>
                    <a:lnTo>
                      <a:pt x="2492" y="181"/>
                    </a:lnTo>
                    <a:lnTo>
                      <a:pt x="2496" y="180"/>
                    </a:lnTo>
                    <a:lnTo>
                      <a:pt x="2501" y="179"/>
                    </a:lnTo>
                    <a:lnTo>
                      <a:pt x="2505" y="179"/>
                    </a:lnTo>
                    <a:lnTo>
                      <a:pt x="2509" y="179"/>
                    </a:lnTo>
                    <a:lnTo>
                      <a:pt x="2518" y="180"/>
                    </a:lnTo>
                    <a:lnTo>
                      <a:pt x="2526" y="183"/>
                    </a:lnTo>
                    <a:lnTo>
                      <a:pt x="2533" y="188"/>
                    </a:lnTo>
                    <a:lnTo>
                      <a:pt x="2541" y="193"/>
                    </a:lnTo>
                    <a:lnTo>
                      <a:pt x="2556" y="204"/>
                    </a:lnTo>
                    <a:lnTo>
                      <a:pt x="2572" y="214"/>
                    </a:lnTo>
                    <a:lnTo>
                      <a:pt x="2580" y="216"/>
                    </a:lnTo>
                    <a:lnTo>
                      <a:pt x="2589" y="217"/>
                    </a:lnTo>
                    <a:lnTo>
                      <a:pt x="2593" y="217"/>
                    </a:lnTo>
                    <a:lnTo>
                      <a:pt x="2597" y="217"/>
                    </a:lnTo>
                    <a:lnTo>
                      <a:pt x="2603" y="216"/>
                    </a:lnTo>
                    <a:lnTo>
                      <a:pt x="2607" y="214"/>
                    </a:lnTo>
                    <a:lnTo>
                      <a:pt x="2617" y="209"/>
                    </a:lnTo>
                    <a:lnTo>
                      <a:pt x="2625" y="206"/>
                    </a:lnTo>
                    <a:lnTo>
                      <a:pt x="2633" y="203"/>
                    </a:lnTo>
                    <a:lnTo>
                      <a:pt x="2641" y="202"/>
                    </a:lnTo>
                    <a:lnTo>
                      <a:pt x="2653" y="201"/>
                    </a:lnTo>
                    <a:lnTo>
                      <a:pt x="2663" y="202"/>
                    </a:lnTo>
                    <a:lnTo>
                      <a:pt x="2673" y="203"/>
                    </a:lnTo>
                    <a:lnTo>
                      <a:pt x="2684" y="204"/>
                    </a:lnTo>
                    <a:lnTo>
                      <a:pt x="2697" y="204"/>
                    </a:lnTo>
                    <a:lnTo>
                      <a:pt x="2712" y="202"/>
                    </a:lnTo>
                    <a:lnTo>
                      <a:pt x="2726" y="199"/>
                    </a:lnTo>
                    <a:lnTo>
                      <a:pt x="2738" y="194"/>
                    </a:lnTo>
                    <a:lnTo>
                      <a:pt x="2749" y="190"/>
                    </a:lnTo>
                    <a:lnTo>
                      <a:pt x="2758" y="186"/>
                    </a:lnTo>
                    <a:lnTo>
                      <a:pt x="2774" y="176"/>
                    </a:lnTo>
                    <a:lnTo>
                      <a:pt x="2788" y="167"/>
                    </a:lnTo>
                    <a:lnTo>
                      <a:pt x="2796" y="163"/>
                    </a:lnTo>
                    <a:lnTo>
                      <a:pt x="2803" y="160"/>
                    </a:lnTo>
                    <a:lnTo>
                      <a:pt x="2811" y="158"/>
                    </a:lnTo>
                    <a:lnTo>
                      <a:pt x="2820" y="155"/>
                    </a:lnTo>
                    <a:lnTo>
                      <a:pt x="2831" y="155"/>
                    </a:lnTo>
                    <a:lnTo>
                      <a:pt x="2844" y="155"/>
                    </a:lnTo>
                    <a:lnTo>
                      <a:pt x="2858" y="158"/>
                    </a:lnTo>
                    <a:lnTo>
                      <a:pt x="2876" y="161"/>
                    </a:lnTo>
                    <a:lnTo>
                      <a:pt x="2889" y="164"/>
                    </a:lnTo>
                    <a:lnTo>
                      <a:pt x="2903" y="168"/>
                    </a:lnTo>
                    <a:lnTo>
                      <a:pt x="2916" y="174"/>
                    </a:lnTo>
                    <a:lnTo>
                      <a:pt x="2930" y="180"/>
                    </a:lnTo>
                    <a:lnTo>
                      <a:pt x="2956" y="194"/>
                    </a:lnTo>
                    <a:lnTo>
                      <a:pt x="2983" y="208"/>
                    </a:lnTo>
                    <a:lnTo>
                      <a:pt x="3009" y="223"/>
                    </a:lnTo>
                    <a:lnTo>
                      <a:pt x="3036" y="235"/>
                    </a:lnTo>
                    <a:lnTo>
                      <a:pt x="3050" y="241"/>
                    </a:lnTo>
                    <a:lnTo>
                      <a:pt x="3064" y="246"/>
                    </a:lnTo>
                    <a:lnTo>
                      <a:pt x="3078" y="249"/>
                    </a:lnTo>
                    <a:lnTo>
                      <a:pt x="3092" y="251"/>
                    </a:lnTo>
                    <a:lnTo>
                      <a:pt x="3111" y="255"/>
                    </a:lnTo>
                    <a:lnTo>
                      <a:pt x="3128" y="260"/>
                    </a:lnTo>
                    <a:lnTo>
                      <a:pt x="3146" y="268"/>
                    </a:lnTo>
                    <a:lnTo>
                      <a:pt x="3163" y="275"/>
                    </a:lnTo>
                    <a:lnTo>
                      <a:pt x="3198" y="294"/>
                    </a:lnTo>
                    <a:lnTo>
                      <a:pt x="3232" y="312"/>
                    </a:lnTo>
                    <a:lnTo>
                      <a:pt x="3250" y="320"/>
                    </a:lnTo>
                    <a:lnTo>
                      <a:pt x="3267" y="326"/>
                    </a:lnTo>
                    <a:lnTo>
                      <a:pt x="3276" y="328"/>
                    </a:lnTo>
                    <a:lnTo>
                      <a:pt x="3284" y="330"/>
                    </a:lnTo>
                    <a:lnTo>
                      <a:pt x="3293" y="331"/>
                    </a:lnTo>
                    <a:lnTo>
                      <a:pt x="3302" y="332"/>
                    </a:lnTo>
                    <a:lnTo>
                      <a:pt x="3310" y="332"/>
                    </a:lnTo>
                    <a:lnTo>
                      <a:pt x="3319" y="332"/>
                    </a:lnTo>
                    <a:lnTo>
                      <a:pt x="3328" y="330"/>
                    </a:lnTo>
                    <a:lnTo>
                      <a:pt x="3336" y="328"/>
                    </a:lnTo>
                    <a:lnTo>
                      <a:pt x="3346" y="325"/>
                    </a:lnTo>
                    <a:lnTo>
                      <a:pt x="3355" y="322"/>
                    </a:lnTo>
                    <a:lnTo>
                      <a:pt x="3363" y="316"/>
                    </a:lnTo>
                    <a:lnTo>
                      <a:pt x="3372" y="310"/>
                    </a:lnTo>
                    <a:lnTo>
                      <a:pt x="3394" y="293"/>
                    </a:lnTo>
                    <a:lnTo>
                      <a:pt x="3415" y="271"/>
                    </a:lnTo>
                    <a:lnTo>
                      <a:pt x="3438" y="248"/>
                    </a:lnTo>
                    <a:lnTo>
                      <a:pt x="3462" y="226"/>
                    </a:lnTo>
                    <a:lnTo>
                      <a:pt x="3475" y="216"/>
                    </a:lnTo>
                    <a:lnTo>
                      <a:pt x="3488" y="206"/>
                    </a:lnTo>
                    <a:lnTo>
                      <a:pt x="3501" y="197"/>
                    </a:lnTo>
                    <a:lnTo>
                      <a:pt x="3514" y="191"/>
                    </a:lnTo>
                    <a:lnTo>
                      <a:pt x="3528" y="186"/>
                    </a:lnTo>
                    <a:lnTo>
                      <a:pt x="3542" y="182"/>
                    </a:lnTo>
                    <a:lnTo>
                      <a:pt x="3549" y="182"/>
                    </a:lnTo>
                    <a:lnTo>
                      <a:pt x="3556" y="181"/>
                    </a:lnTo>
                    <a:lnTo>
                      <a:pt x="3564" y="182"/>
                    </a:lnTo>
                    <a:lnTo>
                      <a:pt x="3571" y="183"/>
                    </a:lnTo>
                    <a:lnTo>
                      <a:pt x="3622" y="193"/>
                    </a:lnTo>
                    <a:lnTo>
                      <a:pt x="3671" y="201"/>
                    </a:lnTo>
                    <a:lnTo>
                      <a:pt x="3718" y="208"/>
                    </a:lnTo>
                    <a:lnTo>
                      <a:pt x="3764" y="214"/>
                    </a:lnTo>
                    <a:lnTo>
                      <a:pt x="3811" y="219"/>
                    </a:lnTo>
                    <a:lnTo>
                      <a:pt x="3859" y="222"/>
                    </a:lnTo>
                    <a:lnTo>
                      <a:pt x="3910" y="224"/>
                    </a:lnTo>
                    <a:lnTo>
                      <a:pt x="3963" y="224"/>
                    </a:lnTo>
                    <a:lnTo>
                      <a:pt x="3975" y="226"/>
                    </a:lnTo>
                    <a:lnTo>
                      <a:pt x="3985" y="226"/>
                    </a:lnTo>
                    <a:lnTo>
                      <a:pt x="3996" y="228"/>
                    </a:lnTo>
                    <a:lnTo>
                      <a:pt x="4008" y="230"/>
                    </a:lnTo>
                    <a:lnTo>
                      <a:pt x="4031" y="235"/>
                    </a:lnTo>
                    <a:lnTo>
                      <a:pt x="4055" y="242"/>
                    </a:lnTo>
                    <a:lnTo>
                      <a:pt x="4079" y="250"/>
                    </a:lnTo>
                    <a:lnTo>
                      <a:pt x="4103" y="260"/>
                    </a:lnTo>
                    <a:lnTo>
                      <a:pt x="4126" y="271"/>
                    </a:lnTo>
                    <a:lnTo>
                      <a:pt x="4150" y="282"/>
                    </a:lnTo>
                    <a:lnTo>
                      <a:pt x="4199" y="305"/>
                    </a:lnTo>
                    <a:lnTo>
                      <a:pt x="4247" y="329"/>
                    </a:lnTo>
                    <a:lnTo>
                      <a:pt x="4269" y="340"/>
                    </a:lnTo>
                    <a:lnTo>
                      <a:pt x="4292" y="350"/>
                    </a:lnTo>
                    <a:lnTo>
                      <a:pt x="4315" y="358"/>
                    </a:lnTo>
                    <a:lnTo>
                      <a:pt x="4337" y="366"/>
                    </a:lnTo>
                    <a:lnTo>
                      <a:pt x="4356" y="370"/>
                    </a:lnTo>
                    <a:lnTo>
                      <a:pt x="4375" y="374"/>
                    </a:lnTo>
                    <a:lnTo>
                      <a:pt x="4392" y="375"/>
                    </a:lnTo>
                    <a:lnTo>
                      <a:pt x="4410" y="374"/>
                    </a:lnTo>
                    <a:lnTo>
                      <a:pt x="4427" y="372"/>
                    </a:lnTo>
                    <a:lnTo>
                      <a:pt x="4444" y="369"/>
                    </a:lnTo>
                    <a:lnTo>
                      <a:pt x="4461" y="366"/>
                    </a:lnTo>
                    <a:lnTo>
                      <a:pt x="4477" y="361"/>
                    </a:lnTo>
                    <a:lnTo>
                      <a:pt x="4510" y="350"/>
                    </a:lnTo>
                    <a:lnTo>
                      <a:pt x="4544" y="337"/>
                    </a:lnTo>
                    <a:lnTo>
                      <a:pt x="4578" y="324"/>
                    </a:lnTo>
                    <a:lnTo>
                      <a:pt x="4615" y="312"/>
                    </a:lnTo>
                    <a:lnTo>
                      <a:pt x="4632" y="308"/>
                    </a:lnTo>
                    <a:lnTo>
                      <a:pt x="4649" y="305"/>
                    </a:lnTo>
                    <a:lnTo>
                      <a:pt x="4666" y="305"/>
                    </a:lnTo>
                    <a:lnTo>
                      <a:pt x="4682" y="307"/>
                    </a:lnTo>
                    <a:lnTo>
                      <a:pt x="4699" y="309"/>
                    </a:lnTo>
                    <a:lnTo>
                      <a:pt x="4716" y="311"/>
                    </a:lnTo>
                    <a:lnTo>
                      <a:pt x="4732" y="315"/>
                    </a:lnTo>
                    <a:lnTo>
                      <a:pt x="4748" y="320"/>
                    </a:lnTo>
                    <a:lnTo>
                      <a:pt x="4781" y="328"/>
                    </a:lnTo>
                    <a:lnTo>
                      <a:pt x="4813" y="337"/>
                    </a:lnTo>
                    <a:lnTo>
                      <a:pt x="4830" y="341"/>
                    </a:lnTo>
                    <a:lnTo>
                      <a:pt x="4846" y="343"/>
                    </a:lnTo>
                    <a:lnTo>
                      <a:pt x="4862" y="345"/>
                    </a:lnTo>
                    <a:lnTo>
                      <a:pt x="4878" y="347"/>
                    </a:lnTo>
                    <a:lnTo>
                      <a:pt x="4878" y="347"/>
                    </a:lnTo>
                    <a:lnTo>
                      <a:pt x="4878" y="1298"/>
                    </a:lnTo>
                    <a:lnTo>
                      <a:pt x="4869" y="1304"/>
                    </a:lnTo>
                    <a:lnTo>
                      <a:pt x="4858" y="1310"/>
                    </a:lnTo>
                    <a:lnTo>
                      <a:pt x="4847" y="1315"/>
                    </a:lnTo>
                    <a:lnTo>
                      <a:pt x="4835" y="1321"/>
                    </a:lnTo>
                    <a:lnTo>
                      <a:pt x="4809" y="1329"/>
                    </a:lnTo>
                    <a:lnTo>
                      <a:pt x="4782" y="1337"/>
                    </a:lnTo>
                    <a:lnTo>
                      <a:pt x="4755" y="1344"/>
                    </a:lnTo>
                    <a:lnTo>
                      <a:pt x="4728" y="1352"/>
                    </a:lnTo>
                    <a:lnTo>
                      <a:pt x="4702" y="1360"/>
                    </a:lnTo>
                    <a:lnTo>
                      <a:pt x="4678" y="1368"/>
                    </a:lnTo>
                    <a:lnTo>
                      <a:pt x="4662" y="1375"/>
                    </a:lnTo>
                    <a:lnTo>
                      <a:pt x="4645" y="1382"/>
                    </a:lnTo>
                    <a:lnTo>
                      <a:pt x="4630" y="1391"/>
                    </a:lnTo>
                    <a:lnTo>
                      <a:pt x="4615" y="1400"/>
                    </a:lnTo>
                    <a:lnTo>
                      <a:pt x="4586" y="1418"/>
                    </a:lnTo>
                    <a:lnTo>
                      <a:pt x="4557" y="1435"/>
                    </a:lnTo>
                    <a:lnTo>
                      <a:pt x="4542" y="1444"/>
                    </a:lnTo>
                    <a:lnTo>
                      <a:pt x="4527" y="1451"/>
                    </a:lnTo>
                    <a:lnTo>
                      <a:pt x="4511" y="1459"/>
                    </a:lnTo>
                    <a:lnTo>
                      <a:pt x="4495" y="1465"/>
                    </a:lnTo>
                    <a:lnTo>
                      <a:pt x="4479" y="1470"/>
                    </a:lnTo>
                    <a:lnTo>
                      <a:pt x="4461" y="1474"/>
                    </a:lnTo>
                    <a:lnTo>
                      <a:pt x="4442" y="1476"/>
                    </a:lnTo>
                    <a:lnTo>
                      <a:pt x="4422" y="1477"/>
                    </a:lnTo>
                    <a:lnTo>
                      <a:pt x="4404" y="1477"/>
                    </a:lnTo>
                    <a:lnTo>
                      <a:pt x="4384" y="1481"/>
                    </a:lnTo>
                    <a:lnTo>
                      <a:pt x="4364" y="1484"/>
                    </a:lnTo>
                    <a:lnTo>
                      <a:pt x="4343" y="1489"/>
                    </a:lnTo>
                    <a:lnTo>
                      <a:pt x="4324" y="1495"/>
                    </a:lnTo>
                    <a:lnTo>
                      <a:pt x="4304" y="1502"/>
                    </a:lnTo>
                    <a:lnTo>
                      <a:pt x="4287" y="1511"/>
                    </a:lnTo>
                    <a:lnTo>
                      <a:pt x="4270" y="1520"/>
                    </a:lnTo>
                    <a:lnTo>
                      <a:pt x="4260" y="1532"/>
                    </a:lnTo>
                    <a:lnTo>
                      <a:pt x="4247" y="1544"/>
                    </a:lnTo>
                    <a:lnTo>
                      <a:pt x="4233" y="1556"/>
                    </a:lnTo>
                    <a:lnTo>
                      <a:pt x="4217" y="1567"/>
                    </a:lnTo>
                    <a:lnTo>
                      <a:pt x="4186" y="1591"/>
                    </a:lnTo>
                    <a:lnTo>
                      <a:pt x="4152" y="1613"/>
                    </a:lnTo>
                    <a:lnTo>
                      <a:pt x="4118" y="1635"/>
                    </a:lnTo>
                    <a:lnTo>
                      <a:pt x="4083" y="1655"/>
                    </a:lnTo>
                    <a:lnTo>
                      <a:pt x="4050" y="1675"/>
                    </a:lnTo>
                    <a:lnTo>
                      <a:pt x="4021" y="1693"/>
                    </a:lnTo>
                    <a:lnTo>
                      <a:pt x="3998" y="1707"/>
                    </a:lnTo>
                    <a:lnTo>
                      <a:pt x="3975" y="1722"/>
                    </a:lnTo>
                    <a:lnTo>
                      <a:pt x="3950" y="1738"/>
                    </a:lnTo>
                    <a:lnTo>
                      <a:pt x="3926" y="1754"/>
                    </a:lnTo>
                    <a:lnTo>
                      <a:pt x="3902" y="1771"/>
                    </a:lnTo>
                    <a:lnTo>
                      <a:pt x="3878" y="1787"/>
                    </a:lnTo>
                    <a:lnTo>
                      <a:pt x="3858" y="1806"/>
                    </a:lnTo>
                    <a:lnTo>
                      <a:pt x="3838" y="1824"/>
                    </a:lnTo>
                    <a:lnTo>
                      <a:pt x="3832" y="1829"/>
                    </a:lnTo>
                    <a:lnTo>
                      <a:pt x="3827" y="1836"/>
                    </a:lnTo>
                    <a:lnTo>
                      <a:pt x="3824" y="1841"/>
                    </a:lnTo>
                    <a:lnTo>
                      <a:pt x="3821" y="1846"/>
                    </a:lnTo>
                    <a:lnTo>
                      <a:pt x="3820" y="1851"/>
                    </a:lnTo>
                    <a:lnTo>
                      <a:pt x="3819" y="1855"/>
                    </a:lnTo>
                    <a:lnTo>
                      <a:pt x="3817" y="1860"/>
                    </a:lnTo>
                    <a:lnTo>
                      <a:pt x="3817" y="1865"/>
                    </a:lnTo>
                    <a:lnTo>
                      <a:pt x="3821" y="1884"/>
                    </a:lnTo>
                    <a:lnTo>
                      <a:pt x="3825" y="1910"/>
                    </a:lnTo>
                    <a:lnTo>
                      <a:pt x="3825" y="1928"/>
                    </a:lnTo>
                    <a:lnTo>
                      <a:pt x="3823" y="1945"/>
                    </a:lnTo>
                    <a:lnTo>
                      <a:pt x="3819" y="1962"/>
                    </a:lnTo>
                    <a:lnTo>
                      <a:pt x="3813" y="1978"/>
                    </a:lnTo>
                    <a:lnTo>
                      <a:pt x="3806" y="1994"/>
                    </a:lnTo>
                    <a:lnTo>
                      <a:pt x="3796" y="2009"/>
                    </a:lnTo>
                    <a:lnTo>
                      <a:pt x="3785" y="2022"/>
                    </a:lnTo>
                    <a:lnTo>
                      <a:pt x="3772" y="2035"/>
                    </a:lnTo>
                    <a:lnTo>
                      <a:pt x="3842" y="2249"/>
                    </a:lnTo>
                    <a:lnTo>
                      <a:pt x="3897" y="2753"/>
                    </a:lnTo>
                    <a:lnTo>
                      <a:pt x="3918" y="3502"/>
                    </a:lnTo>
                    <a:lnTo>
                      <a:pt x="122" y="3502"/>
                    </a:lnTo>
                    <a:lnTo>
                      <a:pt x="87" y="3644"/>
                    </a:lnTo>
                    <a:lnTo>
                      <a:pt x="29" y="3884"/>
                    </a:lnTo>
                    <a:lnTo>
                      <a:pt x="16" y="4015"/>
                    </a:lnTo>
                    <a:lnTo>
                      <a:pt x="15" y="4021"/>
                    </a:lnTo>
                    <a:lnTo>
                      <a:pt x="15" y="4022"/>
                    </a:lnTo>
                    <a:lnTo>
                      <a:pt x="14" y="4019"/>
                    </a:lnTo>
                    <a:lnTo>
                      <a:pt x="14" y="4013"/>
                    </a:lnTo>
                    <a:lnTo>
                      <a:pt x="6" y="3979"/>
                    </a:lnTo>
                    <a:lnTo>
                      <a:pt x="1" y="3943"/>
                    </a:lnTo>
                    <a:lnTo>
                      <a:pt x="0" y="3925"/>
                    </a:lnTo>
                    <a:lnTo>
                      <a:pt x="0" y="3907"/>
                    </a:lnTo>
                    <a:lnTo>
                      <a:pt x="1" y="3890"/>
                    </a:lnTo>
                    <a:lnTo>
                      <a:pt x="4" y="3875"/>
                    </a:lnTo>
                    <a:lnTo>
                      <a:pt x="13" y="3837"/>
                    </a:lnTo>
                    <a:lnTo>
                      <a:pt x="20" y="3799"/>
                    </a:lnTo>
                    <a:lnTo>
                      <a:pt x="28" y="3760"/>
                    </a:lnTo>
                    <a:lnTo>
                      <a:pt x="33" y="3722"/>
                    </a:lnTo>
                    <a:lnTo>
                      <a:pt x="39" y="3683"/>
                    </a:lnTo>
                    <a:lnTo>
                      <a:pt x="43" y="3644"/>
                    </a:lnTo>
                    <a:lnTo>
                      <a:pt x="47" y="3604"/>
                    </a:lnTo>
                    <a:lnTo>
                      <a:pt x="51" y="3564"/>
                    </a:lnTo>
                    <a:lnTo>
                      <a:pt x="57" y="3484"/>
                    </a:lnTo>
                    <a:lnTo>
                      <a:pt x="64" y="3403"/>
                    </a:lnTo>
                    <a:lnTo>
                      <a:pt x="70" y="3324"/>
                    </a:lnTo>
                    <a:lnTo>
                      <a:pt x="80" y="3245"/>
                    </a:lnTo>
                    <a:lnTo>
                      <a:pt x="86" y="3229"/>
                    </a:lnTo>
                    <a:lnTo>
                      <a:pt x="91" y="3210"/>
                    </a:lnTo>
                    <a:lnTo>
                      <a:pt x="94" y="3188"/>
                    </a:lnTo>
                    <a:lnTo>
                      <a:pt x="97" y="3165"/>
                    </a:lnTo>
                    <a:lnTo>
                      <a:pt x="99" y="3142"/>
                    </a:lnTo>
                    <a:lnTo>
                      <a:pt x="100" y="3120"/>
                    </a:lnTo>
                    <a:lnTo>
                      <a:pt x="100" y="3099"/>
                    </a:lnTo>
                    <a:lnTo>
                      <a:pt x="101" y="3082"/>
                    </a:lnTo>
                    <a:lnTo>
                      <a:pt x="101" y="3063"/>
                    </a:lnTo>
                    <a:lnTo>
                      <a:pt x="104" y="3045"/>
                    </a:lnTo>
                    <a:lnTo>
                      <a:pt x="108" y="3029"/>
                    </a:lnTo>
                    <a:lnTo>
                      <a:pt x="112" y="3013"/>
                    </a:lnTo>
                    <a:lnTo>
                      <a:pt x="118" y="2998"/>
                    </a:lnTo>
                    <a:lnTo>
                      <a:pt x="124" y="2983"/>
                    </a:lnTo>
                    <a:lnTo>
                      <a:pt x="132" y="2968"/>
                    </a:lnTo>
                    <a:lnTo>
                      <a:pt x="139" y="2954"/>
                    </a:lnTo>
                    <a:lnTo>
                      <a:pt x="156" y="2926"/>
                    </a:lnTo>
                    <a:lnTo>
                      <a:pt x="172" y="2896"/>
                    </a:lnTo>
                    <a:lnTo>
                      <a:pt x="181" y="2881"/>
                    </a:lnTo>
                    <a:lnTo>
                      <a:pt x="188" y="2865"/>
                    </a:lnTo>
                    <a:lnTo>
                      <a:pt x="195" y="2849"/>
                    </a:lnTo>
                    <a:lnTo>
                      <a:pt x="201" y="2832"/>
                    </a:lnTo>
                    <a:lnTo>
                      <a:pt x="213" y="2793"/>
                    </a:lnTo>
                    <a:lnTo>
                      <a:pt x="225" y="2753"/>
                    </a:lnTo>
                    <a:lnTo>
                      <a:pt x="230" y="2733"/>
                    </a:lnTo>
                    <a:lnTo>
                      <a:pt x="237" y="2714"/>
                    </a:lnTo>
                    <a:lnTo>
                      <a:pt x="243" y="2696"/>
                    </a:lnTo>
                    <a:lnTo>
                      <a:pt x="251" y="2676"/>
                    </a:lnTo>
                    <a:lnTo>
                      <a:pt x="260" y="2658"/>
                    </a:lnTo>
                    <a:lnTo>
                      <a:pt x="268" y="2640"/>
                    </a:lnTo>
                    <a:lnTo>
                      <a:pt x="279" y="2623"/>
                    </a:lnTo>
                    <a:lnTo>
                      <a:pt x="290" y="2607"/>
                    </a:lnTo>
                    <a:lnTo>
                      <a:pt x="303" y="2592"/>
                    </a:lnTo>
                    <a:lnTo>
                      <a:pt x="317" y="2578"/>
                    </a:lnTo>
                    <a:lnTo>
                      <a:pt x="333" y="2565"/>
                    </a:lnTo>
                    <a:lnTo>
                      <a:pt x="352" y="2553"/>
                    </a:lnTo>
                    <a:lnTo>
                      <a:pt x="358" y="2548"/>
                    </a:lnTo>
                    <a:lnTo>
                      <a:pt x="363" y="2541"/>
                    </a:lnTo>
                    <a:lnTo>
                      <a:pt x="367" y="2536"/>
                    </a:lnTo>
                    <a:lnTo>
                      <a:pt x="370" y="2530"/>
                    </a:lnTo>
                    <a:lnTo>
                      <a:pt x="373" y="2519"/>
                    </a:lnTo>
                    <a:lnTo>
                      <a:pt x="377" y="2512"/>
                    </a:lnTo>
                    <a:lnTo>
                      <a:pt x="379" y="2509"/>
                    </a:lnTo>
                    <a:lnTo>
                      <a:pt x="381" y="2507"/>
                    </a:lnTo>
                    <a:lnTo>
                      <a:pt x="383" y="2507"/>
                    </a:lnTo>
                    <a:lnTo>
                      <a:pt x="386" y="2507"/>
                    </a:lnTo>
                    <a:lnTo>
                      <a:pt x="390" y="2509"/>
                    </a:lnTo>
                    <a:lnTo>
                      <a:pt x="395" y="2513"/>
                    </a:lnTo>
                    <a:lnTo>
                      <a:pt x="402" y="2518"/>
                    </a:lnTo>
                    <a:lnTo>
                      <a:pt x="410" y="2525"/>
                    </a:lnTo>
                    <a:lnTo>
                      <a:pt x="414" y="2528"/>
                    </a:lnTo>
                    <a:lnTo>
                      <a:pt x="417" y="2529"/>
                    </a:lnTo>
                    <a:lnTo>
                      <a:pt x="421" y="2531"/>
                    </a:lnTo>
                    <a:lnTo>
                      <a:pt x="426" y="2532"/>
                    </a:lnTo>
                    <a:lnTo>
                      <a:pt x="435" y="2534"/>
                    </a:lnTo>
                    <a:lnTo>
                      <a:pt x="446" y="2532"/>
                    </a:lnTo>
                    <a:lnTo>
                      <a:pt x="458" y="2530"/>
                    </a:lnTo>
                    <a:lnTo>
                      <a:pt x="471" y="2527"/>
                    </a:lnTo>
                    <a:lnTo>
                      <a:pt x="484" y="2523"/>
                    </a:lnTo>
                    <a:lnTo>
                      <a:pt x="497" y="2517"/>
                    </a:lnTo>
                    <a:lnTo>
                      <a:pt x="509" y="2512"/>
                    </a:lnTo>
                    <a:lnTo>
                      <a:pt x="522" y="2504"/>
                    </a:lnTo>
                    <a:lnTo>
                      <a:pt x="534" y="2498"/>
                    </a:lnTo>
                    <a:lnTo>
                      <a:pt x="544" y="2490"/>
                    </a:lnTo>
                    <a:lnTo>
                      <a:pt x="553" y="2483"/>
                    </a:lnTo>
                    <a:lnTo>
                      <a:pt x="562" y="2475"/>
                    </a:lnTo>
                    <a:lnTo>
                      <a:pt x="567" y="2468"/>
                    </a:lnTo>
                    <a:lnTo>
                      <a:pt x="572" y="2460"/>
                    </a:lnTo>
                    <a:lnTo>
                      <a:pt x="577" y="2449"/>
                    </a:lnTo>
                    <a:lnTo>
                      <a:pt x="582" y="2437"/>
                    </a:lnTo>
                    <a:lnTo>
                      <a:pt x="585" y="2426"/>
                    </a:lnTo>
                    <a:lnTo>
                      <a:pt x="588" y="2414"/>
                    </a:lnTo>
                    <a:lnTo>
                      <a:pt x="592" y="2391"/>
                    </a:lnTo>
                    <a:lnTo>
                      <a:pt x="596" y="2367"/>
                    </a:lnTo>
                    <a:lnTo>
                      <a:pt x="600" y="2345"/>
                    </a:lnTo>
                    <a:lnTo>
                      <a:pt x="606" y="2322"/>
                    </a:lnTo>
                    <a:lnTo>
                      <a:pt x="612" y="2310"/>
                    </a:lnTo>
                    <a:lnTo>
                      <a:pt x="617" y="2299"/>
                    </a:lnTo>
                    <a:lnTo>
                      <a:pt x="624" y="2287"/>
                    </a:lnTo>
                    <a:lnTo>
                      <a:pt x="631" y="2276"/>
                    </a:lnTo>
                    <a:lnTo>
                      <a:pt x="643" y="2264"/>
                    </a:lnTo>
                    <a:lnTo>
                      <a:pt x="655" y="2253"/>
                    </a:lnTo>
                    <a:lnTo>
                      <a:pt x="666" y="2245"/>
                    </a:lnTo>
                    <a:lnTo>
                      <a:pt x="677" y="2237"/>
                    </a:lnTo>
                    <a:lnTo>
                      <a:pt x="682" y="2232"/>
                    </a:lnTo>
                    <a:lnTo>
                      <a:pt x="687" y="2228"/>
                    </a:lnTo>
                    <a:lnTo>
                      <a:pt x="691" y="2224"/>
                    </a:lnTo>
                    <a:lnTo>
                      <a:pt x="695" y="2217"/>
                    </a:lnTo>
                    <a:lnTo>
                      <a:pt x="700" y="2211"/>
                    </a:lnTo>
                    <a:lnTo>
                      <a:pt x="703" y="2203"/>
                    </a:lnTo>
                    <a:lnTo>
                      <a:pt x="706" y="2194"/>
                    </a:lnTo>
                    <a:lnTo>
                      <a:pt x="708" y="2184"/>
                    </a:lnTo>
                    <a:lnTo>
                      <a:pt x="712" y="2162"/>
                    </a:lnTo>
                    <a:lnTo>
                      <a:pt x="713" y="2139"/>
                    </a:lnTo>
                    <a:lnTo>
                      <a:pt x="713" y="2114"/>
                    </a:lnTo>
                    <a:lnTo>
                      <a:pt x="714" y="2090"/>
                    </a:lnTo>
                    <a:lnTo>
                      <a:pt x="715" y="2078"/>
                    </a:lnTo>
                    <a:lnTo>
                      <a:pt x="716" y="2066"/>
                    </a:lnTo>
                    <a:lnTo>
                      <a:pt x="718" y="2054"/>
                    </a:lnTo>
                    <a:lnTo>
                      <a:pt x="721" y="2042"/>
                    </a:lnTo>
                    <a:lnTo>
                      <a:pt x="725" y="2031"/>
                    </a:lnTo>
                    <a:lnTo>
                      <a:pt x="729" y="2022"/>
                    </a:lnTo>
                    <a:lnTo>
                      <a:pt x="734" y="2012"/>
                    </a:lnTo>
                    <a:lnTo>
                      <a:pt x="741" y="2002"/>
                    </a:lnTo>
                    <a:lnTo>
                      <a:pt x="746" y="1997"/>
                    </a:lnTo>
                    <a:lnTo>
                      <a:pt x="752" y="1990"/>
                    </a:lnTo>
                    <a:lnTo>
                      <a:pt x="756" y="1983"/>
                    </a:lnTo>
                    <a:lnTo>
                      <a:pt x="759" y="1976"/>
                    </a:lnTo>
                    <a:lnTo>
                      <a:pt x="763" y="1969"/>
                    </a:lnTo>
                    <a:lnTo>
                      <a:pt x="764" y="1961"/>
                    </a:lnTo>
                    <a:lnTo>
                      <a:pt x="763" y="1954"/>
                    </a:lnTo>
                    <a:lnTo>
                      <a:pt x="760" y="1946"/>
                    </a:lnTo>
                    <a:lnTo>
                      <a:pt x="757" y="1940"/>
                    </a:lnTo>
                    <a:lnTo>
                      <a:pt x="756" y="1934"/>
                    </a:lnTo>
                    <a:lnTo>
                      <a:pt x="755" y="1929"/>
                    </a:lnTo>
                    <a:lnTo>
                      <a:pt x="755" y="1923"/>
                    </a:lnTo>
                    <a:lnTo>
                      <a:pt x="756" y="1919"/>
                    </a:lnTo>
                    <a:lnTo>
                      <a:pt x="758" y="1915"/>
                    </a:lnTo>
                    <a:lnTo>
                      <a:pt x="761" y="1910"/>
                    </a:lnTo>
                    <a:lnTo>
                      <a:pt x="764" y="1906"/>
                    </a:lnTo>
                    <a:lnTo>
                      <a:pt x="781" y="1892"/>
                    </a:lnTo>
                    <a:lnTo>
                      <a:pt x="799" y="1877"/>
                    </a:lnTo>
                    <a:lnTo>
                      <a:pt x="812" y="1871"/>
                    </a:lnTo>
                    <a:lnTo>
                      <a:pt x="825" y="1866"/>
                    </a:lnTo>
                    <a:lnTo>
                      <a:pt x="837" y="1857"/>
                    </a:lnTo>
                    <a:lnTo>
                      <a:pt x="849" y="1849"/>
                    </a:lnTo>
                    <a:lnTo>
                      <a:pt x="860" y="1839"/>
                    </a:lnTo>
                    <a:lnTo>
                      <a:pt x="870" y="1828"/>
                    </a:lnTo>
                    <a:lnTo>
                      <a:pt x="878" y="1816"/>
                    </a:lnTo>
                    <a:lnTo>
                      <a:pt x="886" y="1805"/>
                    </a:lnTo>
                    <a:lnTo>
                      <a:pt x="893" y="1792"/>
                    </a:lnTo>
                    <a:lnTo>
                      <a:pt x="898" y="1779"/>
                    </a:lnTo>
                    <a:lnTo>
                      <a:pt x="901" y="1765"/>
                    </a:lnTo>
                    <a:lnTo>
                      <a:pt x="902" y="1751"/>
                    </a:lnTo>
                    <a:lnTo>
                      <a:pt x="902" y="1744"/>
                    </a:lnTo>
                    <a:lnTo>
                      <a:pt x="901" y="1738"/>
                    </a:lnTo>
                    <a:lnTo>
                      <a:pt x="900" y="1730"/>
                    </a:lnTo>
                    <a:lnTo>
                      <a:pt x="898" y="1724"/>
                    </a:lnTo>
                    <a:lnTo>
                      <a:pt x="896" y="1717"/>
                    </a:lnTo>
                    <a:lnTo>
                      <a:pt x="893" y="1711"/>
                    </a:lnTo>
                    <a:lnTo>
                      <a:pt x="889" y="1704"/>
                    </a:lnTo>
                    <a:lnTo>
                      <a:pt x="885" y="1698"/>
                    </a:lnTo>
                    <a:lnTo>
                      <a:pt x="875" y="1695"/>
                    </a:lnTo>
                    <a:lnTo>
                      <a:pt x="864" y="1692"/>
                    </a:lnTo>
                    <a:lnTo>
                      <a:pt x="855" y="1690"/>
                    </a:lnTo>
                    <a:lnTo>
                      <a:pt x="842" y="1689"/>
                    </a:lnTo>
                    <a:lnTo>
                      <a:pt x="854" y="1673"/>
                    </a:lnTo>
                    <a:lnTo>
                      <a:pt x="881" y="1637"/>
                    </a:lnTo>
                    <a:lnTo>
                      <a:pt x="896" y="1617"/>
                    </a:lnTo>
                    <a:lnTo>
                      <a:pt x="910" y="1597"/>
                    </a:lnTo>
                    <a:lnTo>
                      <a:pt x="922" y="1580"/>
                    </a:lnTo>
                    <a:lnTo>
                      <a:pt x="928" y="1568"/>
                    </a:lnTo>
                    <a:lnTo>
                      <a:pt x="935" y="1555"/>
                    </a:lnTo>
                    <a:lnTo>
                      <a:pt x="939" y="1541"/>
                    </a:lnTo>
                    <a:lnTo>
                      <a:pt x="944" y="1527"/>
                    </a:lnTo>
                    <a:lnTo>
                      <a:pt x="948" y="1513"/>
                    </a:lnTo>
                    <a:lnTo>
                      <a:pt x="957" y="1486"/>
                    </a:lnTo>
                    <a:lnTo>
                      <a:pt x="966" y="1458"/>
                    </a:lnTo>
                    <a:lnTo>
                      <a:pt x="971" y="1449"/>
                    </a:lnTo>
                    <a:lnTo>
                      <a:pt x="975" y="1439"/>
                    </a:lnTo>
                    <a:lnTo>
                      <a:pt x="980" y="1432"/>
                    </a:lnTo>
                    <a:lnTo>
                      <a:pt x="986" y="1423"/>
                    </a:lnTo>
                    <a:lnTo>
                      <a:pt x="999" y="1407"/>
                    </a:lnTo>
                    <a:lnTo>
                      <a:pt x="1012" y="1392"/>
                    </a:lnTo>
                    <a:lnTo>
                      <a:pt x="1026" y="1377"/>
                    </a:lnTo>
                    <a:lnTo>
                      <a:pt x="1039" y="1361"/>
                    </a:lnTo>
                    <a:lnTo>
                      <a:pt x="1052" y="1343"/>
                    </a:lnTo>
                    <a:lnTo>
                      <a:pt x="1063" y="1325"/>
                    </a:lnTo>
                    <a:lnTo>
                      <a:pt x="1153" y="1159"/>
                    </a:lnTo>
                    <a:lnTo>
                      <a:pt x="1170" y="1126"/>
                    </a:lnTo>
                    <a:lnTo>
                      <a:pt x="1185" y="1093"/>
                    </a:lnTo>
                    <a:lnTo>
                      <a:pt x="1201" y="1059"/>
                    </a:lnTo>
                    <a:lnTo>
                      <a:pt x="1219" y="1027"/>
                    </a:lnTo>
                    <a:lnTo>
                      <a:pt x="1229" y="1015"/>
                    </a:lnTo>
                    <a:lnTo>
                      <a:pt x="1244" y="999"/>
                    </a:lnTo>
                    <a:lnTo>
                      <a:pt x="1262" y="982"/>
                    </a:lnTo>
                    <a:lnTo>
                      <a:pt x="1283" y="961"/>
                    </a:lnTo>
                    <a:lnTo>
                      <a:pt x="1292" y="951"/>
                    </a:lnTo>
                    <a:lnTo>
                      <a:pt x="1301" y="942"/>
                    </a:lnTo>
                    <a:lnTo>
                      <a:pt x="1309" y="932"/>
                    </a:lnTo>
                    <a:lnTo>
                      <a:pt x="1314" y="922"/>
                    </a:lnTo>
                    <a:lnTo>
                      <a:pt x="1318" y="912"/>
                    </a:lnTo>
                    <a:lnTo>
                      <a:pt x="1322" y="905"/>
                    </a:lnTo>
                    <a:lnTo>
                      <a:pt x="1322" y="901"/>
                    </a:lnTo>
                    <a:lnTo>
                      <a:pt x="1321" y="896"/>
                    </a:lnTo>
                    <a:lnTo>
                      <a:pt x="1320" y="893"/>
                    </a:lnTo>
                    <a:lnTo>
                      <a:pt x="1318" y="890"/>
                    </a:lnTo>
                    <a:lnTo>
                      <a:pt x="1304" y="864"/>
                    </a:lnTo>
                    <a:lnTo>
                      <a:pt x="1290" y="841"/>
                    </a:lnTo>
                    <a:lnTo>
                      <a:pt x="1287" y="837"/>
                    </a:lnTo>
                    <a:lnTo>
                      <a:pt x="1284" y="835"/>
                    </a:lnTo>
                    <a:lnTo>
                      <a:pt x="1279" y="834"/>
                    </a:lnTo>
                    <a:lnTo>
                      <a:pt x="1275" y="834"/>
                    </a:lnTo>
                    <a:lnTo>
                      <a:pt x="1270" y="835"/>
                    </a:lnTo>
                    <a:lnTo>
                      <a:pt x="1264" y="839"/>
                    </a:lnTo>
                    <a:lnTo>
                      <a:pt x="1258" y="844"/>
                    </a:lnTo>
                    <a:lnTo>
                      <a:pt x="1251" y="852"/>
                    </a:lnTo>
                    <a:lnTo>
                      <a:pt x="1237" y="871"/>
                    </a:lnTo>
                    <a:lnTo>
                      <a:pt x="1214" y="906"/>
                    </a:lnTo>
                    <a:lnTo>
                      <a:pt x="1185" y="949"/>
                    </a:lnTo>
                    <a:lnTo>
                      <a:pt x="1153" y="997"/>
                    </a:lnTo>
                    <a:lnTo>
                      <a:pt x="1120" y="1043"/>
                    </a:lnTo>
                    <a:lnTo>
                      <a:pt x="1091" y="1082"/>
                    </a:lnTo>
                    <a:lnTo>
                      <a:pt x="1079" y="1097"/>
                    </a:lnTo>
                    <a:lnTo>
                      <a:pt x="1068" y="1109"/>
                    </a:lnTo>
                    <a:lnTo>
                      <a:pt x="1063" y="1114"/>
                    </a:lnTo>
                    <a:lnTo>
                      <a:pt x="1059" y="1118"/>
                    </a:lnTo>
                    <a:lnTo>
                      <a:pt x="1056" y="1119"/>
                    </a:lnTo>
                    <a:lnTo>
                      <a:pt x="1053" y="1120"/>
                    </a:lnTo>
                    <a:lnTo>
                      <a:pt x="1053" y="1113"/>
                    </a:lnTo>
                    <a:lnTo>
                      <a:pt x="1054" y="1107"/>
                    </a:lnTo>
                    <a:lnTo>
                      <a:pt x="1056" y="1099"/>
                    </a:lnTo>
                    <a:lnTo>
                      <a:pt x="1058" y="1092"/>
                    </a:lnTo>
                    <a:lnTo>
                      <a:pt x="1066" y="1074"/>
                    </a:lnTo>
                    <a:lnTo>
                      <a:pt x="1075" y="1056"/>
                    </a:lnTo>
                    <a:lnTo>
                      <a:pt x="1085" y="1037"/>
                    </a:lnTo>
                    <a:lnTo>
                      <a:pt x="1098" y="1016"/>
                    </a:lnTo>
                    <a:lnTo>
                      <a:pt x="1111" y="996"/>
                    </a:lnTo>
                    <a:lnTo>
                      <a:pt x="1127" y="975"/>
                    </a:lnTo>
                    <a:lnTo>
                      <a:pt x="1156" y="934"/>
                    </a:lnTo>
                    <a:lnTo>
                      <a:pt x="1186" y="896"/>
                    </a:lnTo>
                    <a:lnTo>
                      <a:pt x="1212" y="865"/>
                    </a:lnTo>
                    <a:lnTo>
                      <a:pt x="1234" y="842"/>
                    </a:lnTo>
                    <a:lnTo>
                      <a:pt x="1251" y="825"/>
                    </a:lnTo>
                    <a:lnTo>
                      <a:pt x="1270" y="810"/>
                    </a:lnTo>
                    <a:lnTo>
                      <a:pt x="1288" y="795"/>
                    </a:lnTo>
                    <a:lnTo>
                      <a:pt x="1307" y="780"/>
                    </a:lnTo>
                    <a:lnTo>
                      <a:pt x="1344" y="753"/>
                    </a:lnTo>
                    <a:lnTo>
                      <a:pt x="1385" y="725"/>
                    </a:lnTo>
                    <a:lnTo>
                      <a:pt x="1398" y="714"/>
                    </a:lnTo>
                    <a:lnTo>
                      <a:pt x="1411" y="703"/>
                    </a:lnTo>
                    <a:lnTo>
                      <a:pt x="1423" y="691"/>
                    </a:lnTo>
                    <a:lnTo>
                      <a:pt x="1433" y="678"/>
                    </a:lnTo>
                    <a:lnTo>
                      <a:pt x="1455" y="650"/>
                    </a:lnTo>
                    <a:lnTo>
                      <a:pt x="1476" y="622"/>
                    </a:lnTo>
                    <a:lnTo>
                      <a:pt x="1496" y="592"/>
                    </a:lnTo>
                    <a:lnTo>
                      <a:pt x="1517" y="564"/>
                    </a:lnTo>
                    <a:lnTo>
                      <a:pt x="1527" y="548"/>
                    </a:lnTo>
                    <a:lnTo>
                      <a:pt x="1538" y="536"/>
                    </a:lnTo>
                    <a:lnTo>
                      <a:pt x="1549" y="521"/>
                    </a:lnTo>
                    <a:lnTo>
                      <a:pt x="1561" y="510"/>
                    </a:lnTo>
                    <a:lnTo>
                      <a:pt x="1585" y="484"/>
                    </a:lnTo>
                    <a:lnTo>
                      <a:pt x="1609" y="459"/>
                    </a:lnTo>
                    <a:lnTo>
                      <a:pt x="1633" y="435"/>
                    </a:lnTo>
                    <a:lnTo>
                      <a:pt x="1658" y="412"/>
                    </a:lnTo>
                    <a:lnTo>
                      <a:pt x="1683" y="390"/>
                    </a:lnTo>
                    <a:lnTo>
                      <a:pt x="1710" y="368"/>
                    </a:lnTo>
                    <a:lnTo>
                      <a:pt x="1737" y="348"/>
                    </a:lnTo>
                    <a:lnTo>
                      <a:pt x="1765" y="326"/>
                    </a:lnTo>
                    <a:lnTo>
                      <a:pt x="1784" y="311"/>
                    </a:lnTo>
                    <a:lnTo>
                      <a:pt x="1803" y="294"/>
                    </a:lnTo>
                    <a:lnTo>
                      <a:pt x="1821" y="275"/>
                    </a:lnTo>
                    <a:lnTo>
                      <a:pt x="1839" y="256"/>
                    </a:lnTo>
                    <a:lnTo>
                      <a:pt x="1857" y="236"/>
                    </a:lnTo>
                    <a:lnTo>
                      <a:pt x="1874" y="218"/>
                    </a:lnTo>
                    <a:lnTo>
                      <a:pt x="1894" y="200"/>
                    </a:lnTo>
                    <a:lnTo>
                      <a:pt x="1913" y="183"/>
                    </a:lnTo>
                    <a:lnTo>
                      <a:pt x="1942" y="165"/>
                    </a:lnTo>
                    <a:lnTo>
                      <a:pt x="1971" y="147"/>
                    </a:lnTo>
                    <a:lnTo>
                      <a:pt x="1985" y="137"/>
                    </a:lnTo>
                    <a:lnTo>
                      <a:pt x="1999" y="127"/>
                    </a:lnTo>
                    <a:lnTo>
                      <a:pt x="2004" y="122"/>
                    </a:lnTo>
                    <a:lnTo>
                      <a:pt x="2010" y="115"/>
                    </a:lnTo>
                    <a:lnTo>
                      <a:pt x="2015" y="109"/>
                    </a:lnTo>
                    <a:lnTo>
                      <a:pt x="2020" y="102"/>
                    </a:lnTo>
                    <a:lnTo>
                      <a:pt x="2028" y="82"/>
                    </a:lnTo>
                    <a:lnTo>
                      <a:pt x="2034" y="67"/>
                    </a:lnTo>
                    <a:lnTo>
                      <a:pt x="2036" y="64"/>
                    </a:lnTo>
                    <a:lnTo>
                      <a:pt x="2038" y="61"/>
                    </a:lnTo>
                    <a:lnTo>
                      <a:pt x="2041" y="58"/>
                    </a:lnTo>
                    <a:lnTo>
                      <a:pt x="2045" y="56"/>
                    </a:lnTo>
                    <a:lnTo>
                      <a:pt x="2055" y="50"/>
                    </a:lnTo>
                    <a:lnTo>
                      <a:pt x="2071" y="44"/>
                    </a:lnTo>
                    <a:lnTo>
                      <a:pt x="2074" y="42"/>
                    </a:lnTo>
                    <a:lnTo>
                      <a:pt x="2077" y="40"/>
                    </a:lnTo>
                    <a:lnTo>
                      <a:pt x="2080" y="35"/>
                    </a:lnTo>
                    <a:lnTo>
                      <a:pt x="2085" y="30"/>
                    </a:lnTo>
                    <a:lnTo>
                      <a:pt x="2091" y="17"/>
                    </a:lnTo>
                    <a:lnTo>
                      <a:pt x="2099" y="0"/>
                    </a:lnTo>
                    <a:lnTo>
                      <a:pt x="209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94" name="Freeform 9">
                <a:extLst>
                  <a:ext uri="{FF2B5EF4-FFF2-40B4-BE49-F238E27FC236}">
                    <a16:creationId xmlns:a16="http://schemas.microsoft.com/office/drawing/2014/main" id="{FCECD2F1-1B13-426F-9C83-A7BD036193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75913" y="897344"/>
                <a:ext cx="1401763" cy="1290638"/>
              </a:xfrm>
              <a:custGeom>
                <a:avLst/>
                <a:gdLst>
                  <a:gd name="T0" fmla="*/ 2222 w 3530"/>
                  <a:gd name="T1" fmla="*/ 162 h 3251"/>
                  <a:gd name="T2" fmla="*/ 2241 w 3530"/>
                  <a:gd name="T3" fmla="*/ 345 h 3251"/>
                  <a:gd name="T4" fmla="*/ 2238 w 3530"/>
                  <a:gd name="T5" fmla="*/ 460 h 3251"/>
                  <a:gd name="T6" fmla="*/ 2328 w 3530"/>
                  <a:gd name="T7" fmla="*/ 498 h 3251"/>
                  <a:gd name="T8" fmla="*/ 2435 w 3530"/>
                  <a:gd name="T9" fmla="*/ 698 h 3251"/>
                  <a:gd name="T10" fmla="*/ 2348 w 3530"/>
                  <a:gd name="T11" fmla="*/ 770 h 3251"/>
                  <a:gd name="T12" fmla="*/ 2239 w 3530"/>
                  <a:gd name="T13" fmla="*/ 837 h 3251"/>
                  <a:gd name="T14" fmla="*/ 2332 w 3530"/>
                  <a:gd name="T15" fmla="*/ 939 h 3251"/>
                  <a:gd name="T16" fmla="*/ 2404 w 3530"/>
                  <a:gd name="T17" fmla="*/ 1085 h 3251"/>
                  <a:gd name="T18" fmla="*/ 2535 w 3530"/>
                  <a:gd name="T19" fmla="*/ 1125 h 3251"/>
                  <a:gd name="T20" fmla="*/ 2638 w 3530"/>
                  <a:gd name="T21" fmla="*/ 1157 h 3251"/>
                  <a:gd name="T22" fmla="*/ 2740 w 3530"/>
                  <a:gd name="T23" fmla="*/ 892 h 3251"/>
                  <a:gd name="T24" fmla="*/ 2914 w 3530"/>
                  <a:gd name="T25" fmla="*/ 971 h 3251"/>
                  <a:gd name="T26" fmla="*/ 3058 w 3530"/>
                  <a:gd name="T27" fmla="*/ 911 h 3251"/>
                  <a:gd name="T28" fmla="*/ 3140 w 3530"/>
                  <a:gd name="T29" fmla="*/ 829 h 3251"/>
                  <a:gd name="T30" fmla="*/ 3274 w 3530"/>
                  <a:gd name="T31" fmla="*/ 870 h 3251"/>
                  <a:gd name="T32" fmla="*/ 3431 w 3530"/>
                  <a:gd name="T33" fmla="*/ 952 h 3251"/>
                  <a:gd name="T34" fmla="*/ 3360 w 3530"/>
                  <a:gd name="T35" fmla="*/ 1128 h 3251"/>
                  <a:gd name="T36" fmla="*/ 3396 w 3530"/>
                  <a:gd name="T37" fmla="*/ 1303 h 3251"/>
                  <a:gd name="T38" fmla="*/ 3527 w 3530"/>
                  <a:gd name="T39" fmla="*/ 1320 h 3251"/>
                  <a:gd name="T40" fmla="*/ 3446 w 3530"/>
                  <a:gd name="T41" fmla="*/ 1513 h 3251"/>
                  <a:gd name="T42" fmla="*/ 3441 w 3530"/>
                  <a:gd name="T43" fmla="*/ 1665 h 3251"/>
                  <a:gd name="T44" fmla="*/ 3364 w 3530"/>
                  <a:gd name="T45" fmla="*/ 1812 h 3251"/>
                  <a:gd name="T46" fmla="*/ 3145 w 3530"/>
                  <a:gd name="T47" fmla="*/ 1863 h 3251"/>
                  <a:gd name="T48" fmla="*/ 2842 w 3530"/>
                  <a:gd name="T49" fmla="*/ 1826 h 3251"/>
                  <a:gd name="T50" fmla="*/ 2530 w 3530"/>
                  <a:gd name="T51" fmla="*/ 1970 h 3251"/>
                  <a:gd name="T52" fmla="*/ 2199 w 3530"/>
                  <a:gd name="T53" fmla="*/ 2090 h 3251"/>
                  <a:gd name="T54" fmla="*/ 1982 w 3530"/>
                  <a:gd name="T55" fmla="*/ 2267 h 3251"/>
                  <a:gd name="T56" fmla="*/ 1788 w 3530"/>
                  <a:gd name="T57" fmla="*/ 2395 h 3251"/>
                  <a:gd name="T58" fmla="*/ 1688 w 3530"/>
                  <a:gd name="T59" fmla="*/ 2444 h 3251"/>
                  <a:gd name="T60" fmla="*/ 1365 w 3530"/>
                  <a:gd name="T61" fmla="*/ 2679 h 3251"/>
                  <a:gd name="T62" fmla="*/ 1068 w 3530"/>
                  <a:gd name="T63" fmla="*/ 2946 h 3251"/>
                  <a:gd name="T64" fmla="*/ 937 w 3530"/>
                  <a:gd name="T65" fmla="*/ 2800 h 3251"/>
                  <a:gd name="T66" fmla="*/ 866 w 3530"/>
                  <a:gd name="T67" fmla="*/ 2728 h 3251"/>
                  <a:gd name="T68" fmla="*/ 816 w 3530"/>
                  <a:gd name="T69" fmla="*/ 2549 h 3251"/>
                  <a:gd name="T70" fmla="*/ 788 w 3530"/>
                  <a:gd name="T71" fmla="*/ 2376 h 3251"/>
                  <a:gd name="T72" fmla="*/ 881 w 3530"/>
                  <a:gd name="T73" fmla="*/ 2282 h 3251"/>
                  <a:gd name="T74" fmla="*/ 860 w 3530"/>
                  <a:gd name="T75" fmla="*/ 2102 h 3251"/>
                  <a:gd name="T76" fmla="*/ 725 w 3530"/>
                  <a:gd name="T77" fmla="*/ 1888 h 3251"/>
                  <a:gd name="T78" fmla="*/ 591 w 3530"/>
                  <a:gd name="T79" fmla="*/ 1958 h 3251"/>
                  <a:gd name="T80" fmla="*/ 518 w 3530"/>
                  <a:gd name="T81" fmla="*/ 1949 h 3251"/>
                  <a:gd name="T82" fmla="*/ 395 w 3530"/>
                  <a:gd name="T83" fmla="*/ 1953 h 3251"/>
                  <a:gd name="T84" fmla="*/ 294 w 3530"/>
                  <a:gd name="T85" fmla="*/ 1907 h 3251"/>
                  <a:gd name="T86" fmla="*/ 139 w 3530"/>
                  <a:gd name="T87" fmla="*/ 1875 h 3251"/>
                  <a:gd name="T88" fmla="*/ 40 w 3530"/>
                  <a:gd name="T89" fmla="*/ 1824 h 3251"/>
                  <a:gd name="T90" fmla="*/ 206 w 3530"/>
                  <a:gd name="T91" fmla="*/ 1473 h 3251"/>
                  <a:gd name="T92" fmla="*/ 403 w 3530"/>
                  <a:gd name="T93" fmla="*/ 897 h 3251"/>
                  <a:gd name="T94" fmla="*/ 188 w 3530"/>
                  <a:gd name="T95" fmla="*/ 611 h 3251"/>
                  <a:gd name="T96" fmla="*/ 195 w 3530"/>
                  <a:gd name="T97" fmla="*/ 405 h 3251"/>
                  <a:gd name="T98" fmla="*/ 271 w 3530"/>
                  <a:gd name="T99" fmla="*/ 387 h 3251"/>
                  <a:gd name="T100" fmla="*/ 475 w 3530"/>
                  <a:gd name="T101" fmla="*/ 269 h 3251"/>
                  <a:gd name="T102" fmla="*/ 621 w 3530"/>
                  <a:gd name="T103" fmla="*/ 283 h 3251"/>
                  <a:gd name="T104" fmla="*/ 753 w 3530"/>
                  <a:gd name="T105" fmla="*/ 374 h 3251"/>
                  <a:gd name="T106" fmla="*/ 893 w 3530"/>
                  <a:gd name="T107" fmla="*/ 357 h 3251"/>
                  <a:gd name="T108" fmla="*/ 1058 w 3530"/>
                  <a:gd name="T109" fmla="*/ 241 h 3251"/>
                  <a:gd name="T110" fmla="*/ 1233 w 3530"/>
                  <a:gd name="T111" fmla="*/ 312 h 3251"/>
                  <a:gd name="T112" fmla="*/ 1482 w 3530"/>
                  <a:gd name="T113" fmla="*/ 297 h 3251"/>
                  <a:gd name="T114" fmla="*/ 1765 w 3530"/>
                  <a:gd name="T115" fmla="*/ 246 h 3251"/>
                  <a:gd name="T116" fmla="*/ 1953 w 3530"/>
                  <a:gd name="T117" fmla="*/ 296 h 3251"/>
                  <a:gd name="T118" fmla="*/ 2047 w 3530"/>
                  <a:gd name="T119" fmla="*/ 124 h 3251"/>
                  <a:gd name="T120" fmla="*/ 2276 w 3530"/>
                  <a:gd name="T121" fmla="*/ 7 h 3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530" h="3251">
                    <a:moveTo>
                      <a:pt x="2276" y="7"/>
                    </a:moveTo>
                    <a:lnTo>
                      <a:pt x="2206" y="53"/>
                    </a:lnTo>
                    <a:lnTo>
                      <a:pt x="2198" y="64"/>
                    </a:lnTo>
                    <a:lnTo>
                      <a:pt x="2187" y="75"/>
                    </a:lnTo>
                    <a:lnTo>
                      <a:pt x="2182" y="82"/>
                    </a:lnTo>
                    <a:lnTo>
                      <a:pt x="2179" y="90"/>
                    </a:lnTo>
                    <a:lnTo>
                      <a:pt x="2178" y="96"/>
                    </a:lnTo>
                    <a:lnTo>
                      <a:pt x="2178" y="104"/>
                    </a:lnTo>
                    <a:lnTo>
                      <a:pt x="2180" y="112"/>
                    </a:lnTo>
                    <a:lnTo>
                      <a:pt x="2184" y="118"/>
                    </a:lnTo>
                    <a:lnTo>
                      <a:pt x="2188" y="122"/>
                    </a:lnTo>
                    <a:lnTo>
                      <a:pt x="2192" y="124"/>
                    </a:lnTo>
                    <a:lnTo>
                      <a:pt x="2204" y="125"/>
                    </a:lnTo>
                    <a:lnTo>
                      <a:pt x="2219" y="129"/>
                    </a:lnTo>
                    <a:lnTo>
                      <a:pt x="2224" y="132"/>
                    </a:lnTo>
                    <a:lnTo>
                      <a:pt x="2226" y="134"/>
                    </a:lnTo>
                    <a:lnTo>
                      <a:pt x="2228" y="138"/>
                    </a:lnTo>
                    <a:lnTo>
                      <a:pt x="2228" y="141"/>
                    </a:lnTo>
                    <a:lnTo>
                      <a:pt x="2226" y="151"/>
                    </a:lnTo>
                    <a:lnTo>
                      <a:pt x="2222" y="162"/>
                    </a:lnTo>
                    <a:lnTo>
                      <a:pt x="2217" y="174"/>
                    </a:lnTo>
                    <a:lnTo>
                      <a:pt x="2212" y="186"/>
                    </a:lnTo>
                    <a:lnTo>
                      <a:pt x="2211" y="192"/>
                    </a:lnTo>
                    <a:lnTo>
                      <a:pt x="2210" y="199"/>
                    </a:lnTo>
                    <a:lnTo>
                      <a:pt x="2210" y="204"/>
                    </a:lnTo>
                    <a:lnTo>
                      <a:pt x="2211" y="210"/>
                    </a:lnTo>
                    <a:lnTo>
                      <a:pt x="2212" y="219"/>
                    </a:lnTo>
                    <a:lnTo>
                      <a:pt x="2213" y="229"/>
                    </a:lnTo>
                    <a:lnTo>
                      <a:pt x="2213" y="239"/>
                    </a:lnTo>
                    <a:lnTo>
                      <a:pt x="2213" y="249"/>
                    </a:lnTo>
                    <a:lnTo>
                      <a:pt x="2212" y="272"/>
                    </a:lnTo>
                    <a:lnTo>
                      <a:pt x="2212" y="294"/>
                    </a:lnTo>
                    <a:lnTo>
                      <a:pt x="2213" y="304"/>
                    </a:lnTo>
                    <a:lnTo>
                      <a:pt x="2214" y="313"/>
                    </a:lnTo>
                    <a:lnTo>
                      <a:pt x="2217" y="323"/>
                    </a:lnTo>
                    <a:lnTo>
                      <a:pt x="2220" y="330"/>
                    </a:lnTo>
                    <a:lnTo>
                      <a:pt x="2226" y="337"/>
                    </a:lnTo>
                    <a:lnTo>
                      <a:pt x="2232" y="341"/>
                    </a:lnTo>
                    <a:lnTo>
                      <a:pt x="2237" y="343"/>
                    </a:lnTo>
                    <a:lnTo>
                      <a:pt x="2241" y="345"/>
                    </a:lnTo>
                    <a:lnTo>
                      <a:pt x="2246" y="345"/>
                    </a:lnTo>
                    <a:lnTo>
                      <a:pt x="2252" y="347"/>
                    </a:lnTo>
                    <a:lnTo>
                      <a:pt x="2266" y="348"/>
                    </a:lnTo>
                    <a:lnTo>
                      <a:pt x="2277" y="350"/>
                    </a:lnTo>
                    <a:lnTo>
                      <a:pt x="2285" y="352"/>
                    </a:lnTo>
                    <a:lnTo>
                      <a:pt x="2291" y="355"/>
                    </a:lnTo>
                    <a:lnTo>
                      <a:pt x="2295" y="360"/>
                    </a:lnTo>
                    <a:lnTo>
                      <a:pt x="2296" y="364"/>
                    </a:lnTo>
                    <a:lnTo>
                      <a:pt x="2296" y="369"/>
                    </a:lnTo>
                    <a:lnTo>
                      <a:pt x="2295" y="375"/>
                    </a:lnTo>
                    <a:lnTo>
                      <a:pt x="2292" y="380"/>
                    </a:lnTo>
                    <a:lnTo>
                      <a:pt x="2289" y="387"/>
                    </a:lnTo>
                    <a:lnTo>
                      <a:pt x="2283" y="393"/>
                    </a:lnTo>
                    <a:lnTo>
                      <a:pt x="2278" y="399"/>
                    </a:lnTo>
                    <a:lnTo>
                      <a:pt x="2266" y="414"/>
                    </a:lnTo>
                    <a:lnTo>
                      <a:pt x="2253" y="428"/>
                    </a:lnTo>
                    <a:lnTo>
                      <a:pt x="2250" y="433"/>
                    </a:lnTo>
                    <a:lnTo>
                      <a:pt x="2245" y="441"/>
                    </a:lnTo>
                    <a:lnTo>
                      <a:pt x="2241" y="450"/>
                    </a:lnTo>
                    <a:lnTo>
                      <a:pt x="2238" y="460"/>
                    </a:lnTo>
                    <a:lnTo>
                      <a:pt x="2236" y="470"/>
                    </a:lnTo>
                    <a:lnTo>
                      <a:pt x="2236" y="478"/>
                    </a:lnTo>
                    <a:lnTo>
                      <a:pt x="2237" y="482"/>
                    </a:lnTo>
                    <a:lnTo>
                      <a:pt x="2238" y="485"/>
                    </a:lnTo>
                    <a:lnTo>
                      <a:pt x="2241" y="488"/>
                    </a:lnTo>
                    <a:lnTo>
                      <a:pt x="2244" y="489"/>
                    </a:lnTo>
                    <a:lnTo>
                      <a:pt x="2254" y="491"/>
                    </a:lnTo>
                    <a:lnTo>
                      <a:pt x="2264" y="490"/>
                    </a:lnTo>
                    <a:lnTo>
                      <a:pt x="2275" y="489"/>
                    </a:lnTo>
                    <a:lnTo>
                      <a:pt x="2285" y="487"/>
                    </a:lnTo>
                    <a:lnTo>
                      <a:pt x="2296" y="485"/>
                    </a:lnTo>
                    <a:lnTo>
                      <a:pt x="2306" y="485"/>
                    </a:lnTo>
                    <a:lnTo>
                      <a:pt x="2311" y="485"/>
                    </a:lnTo>
                    <a:lnTo>
                      <a:pt x="2317" y="485"/>
                    </a:lnTo>
                    <a:lnTo>
                      <a:pt x="2321" y="486"/>
                    </a:lnTo>
                    <a:lnTo>
                      <a:pt x="2326" y="488"/>
                    </a:lnTo>
                    <a:lnTo>
                      <a:pt x="2328" y="489"/>
                    </a:lnTo>
                    <a:lnTo>
                      <a:pt x="2328" y="491"/>
                    </a:lnTo>
                    <a:lnTo>
                      <a:pt x="2328" y="495"/>
                    </a:lnTo>
                    <a:lnTo>
                      <a:pt x="2328" y="498"/>
                    </a:lnTo>
                    <a:lnTo>
                      <a:pt x="2327" y="504"/>
                    </a:lnTo>
                    <a:lnTo>
                      <a:pt x="2326" y="510"/>
                    </a:lnTo>
                    <a:lnTo>
                      <a:pt x="2326" y="516"/>
                    </a:lnTo>
                    <a:lnTo>
                      <a:pt x="2327" y="524"/>
                    </a:lnTo>
                    <a:lnTo>
                      <a:pt x="2329" y="532"/>
                    </a:lnTo>
                    <a:lnTo>
                      <a:pt x="2332" y="540"/>
                    </a:lnTo>
                    <a:lnTo>
                      <a:pt x="2339" y="556"/>
                    </a:lnTo>
                    <a:lnTo>
                      <a:pt x="2347" y="573"/>
                    </a:lnTo>
                    <a:lnTo>
                      <a:pt x="2357" y="590"/>
                    </a:lnTo>
                    <a:lnTo>
                      <a:pt x="2367" y="605"/>
                    </a:lnTo>
                    <a:lnTo>
                      <a:pt x="2376" y="618"/>
                    </a:lnTo>
                    <a:lnTo>
                      <a:pt x="2385" y="630"/>
                    </a:lnTo>
                    <a:lnTo>
                      <a:pt x="2401" y="647"/>
                    </a:lnTo>
                    <a:lnTo>
                      <a:pt x="2420" y="665"/>
                    </a:lnTo>
                    <a:lnTo>
                      <a:pt x="2424" y="671"/>
                    </a:lnTo>
                    <a:lnTo>
                      <a:pt x="2427" y="675"/>
                    </a:lnTo>
                    <a:lnTo>
                      <a:pt x="2431" y="680"/>
                    </a:lnTo>
                    <a:lnTo>
                      <a:pt x="2433" y="686"/>
                    </a:lnTo>
                    <a:lnTo>
                      <a:pt x="2435" y="692"/>
                    </a:lnTo>
                    <a:lnTo>
                      <a:pt x="2435" y="698"/>
                    </a:lnTo>
                    <a:lnTo>
                      <a:pt x="2435" y="704"/>
                    </a:lnTo>
                    <a:lnTo>
                      <a:pt x="2434" y="709"/>
                    </a:lnTo>
                    <a:lnTo>
                      <a:pt x="2432" y="714"/>
                    </a:lnTo>
                    <a:lnTo>
                      <a:pt x="2430" y="717"/>
                    </a:lnTo>
                    <a:lnTo>
                      <a:pt x="2426" y="719"/>
                    </a:lnTo>
                    <a:lnTo>
                      <a:pt x="2422" y="720"/>
                    </a:lnTo>
                    <a:lnTo>
                      <a:pt x="2413" y="721"/>
                    </a:lnTo>
                    <a:lnTo>
                      <a:pt x="2404" y="721"/>
                    </a:lnTo>
                    <a:lnTo>
                      <a:pt x="2394" y="720"/>
                    </a:lnTo>
                    <a:lnTo>
                      <a:pt x="2384" y="719"/>
                    </a:lnTo>
                    <a:lnTo>
                      <a:pt x="2380" y="719"/>
                    </a:lnTo>
                    <a:lnTo>
                      <a:pt x="2375" y="720"/>
                    </a:lnTo>
                    <a:lnTo>
                      <a:pt x="2371" y="722"/>
                    </a:lnTo>
                    <a:lnTo>
                      <a:pt x="2368" y="725"/>
                    </a:lnTo>
                    <a:lnTo>
                      <a:pt x="2363" y="730"/>
                    </a:lnTo>
                    <a:lnTo>
                      <a:pt x="2360" y="735"/>
                    </a:lnTo>
                    <a:lnTo>
                      <a:pt x="2357" y="742"/>
                    </a:lnTo>
                    <a:lnTo>
                      <a:pt x="2355" y="747"/>
                    </a:lnTo>
                    <a:lnTo>
                      <a:pt x="2352" y="759"/>
                    </a:lnTo>
                    <a:lnTo>
                      <a:pt x="2348" y="770"/>
                    </a:lnTo>
                    <a:lnTo>
                      <a:pt x="2346" y="775"/>
                    </a:lnTo>
                    <a:lnTo>
                      <a:pt x="2343" y="780"/>
                    </a:lnTo>
                    <a:lnTo>
                      <a:pt x="2340" y="784"/>
                    </a:lnTo>
                    <a:lnTo>
                      <a:pt x="2334" y="788"/>
                    </a:lnTo>
                    <a:lnTo>
                      <a:pt x="2328" y="790"/>
                    </a:lnTo>
                    <a:lnTo>
                      <a:pt x="2320" y="793"/>
                    </a:lnTo>
                    <a:lnTo>
                      <a:pt x="2310" y="795"/>
                    </a:lnTo>
                    <a:lnTo>
                      <a:pt x="2298" y="795"/>
                    </a:lnTo>
                    <a:lnTo>
                      <a:pt x="2288" y="795"/>
                    </a:lnTo>
                    <a:lnTo>
                      <a:pt x="2275" y="795"/>
                    </a:lnTo>
                    <a:lnTo>
                      <a:pt x="2263" y="796"/>
                    </a:lnTo>
                    <a:lnTo>
                      <a:pt x="2252" y="799"/>
                    </a:lnTo>
                    <a:lnTo>
                      <a:pt x="2246" y="801"/>
                    </a:lnTo>
                    <a:lnTo>
                      <a:pt x="2242" y="803"/>
                    </a:lnTo>
                    <a:lnTo>
                      <a:pt x="2239" y="807"/>
                    </a:lnTo>
                    <a:lnTo>
                      <a:pt x="2237" y="811"/>
                    </a:lnTo>
                    <a:lnTo>
                      <a:pt x="2236" y="816"/>
                    </a:lnTo>
                    <a:lnTo>
                      <a:pt x="2236" y="822"/>
                    </a:lnTo>
                    <a:lnTo>
                      <a:pt x="2237" y="829"/>
                    </a:lnTo>
                    <a:lnTo>
                      <a:pt x="2239" y="837"/>
                    </a:lnTo>
                    <a:lnTo>
                      <a:pt x="2243" y="853"/>
                    </a:lnTo>
                    <a:lnTo>
                      <a:pt x="2245" y="870"/>
                    </a:lnTo>
                    <a:lnTo>
                      <a:pt x="2248" y="878"/>
                    </a:lnTo>
                    <a:lnTo>
                      <a:pt x="2250" y="887"/>
                    </a:lnTo>
                    <a:lnTo>
                      <a:pt x="2252" y="894"/>
                    </a:lnTo>
                    <a:lnTo>
                      <a:pt x="2256" y="901"/>
                    </a:lnTo>
                    <a:lnTo>
                      <a:pt x="2259" y="904"/>
                    </a:lnTo>
                    <a:lnTo>
                      <a:pt x="2263" y="906"/>
                    </a:lnTo>
                    <a:lnTo>
                      <a:pt x="2266" y="906"/>
                    </a:lnTo>
                    <a:lnTo>
                      <a:pt x="2270" y="906"/>
                    </a:lnTo>
                    <a:lnTo>
                      <a:pt x="2279" y="903"/>
                    </a:lnTo>
                    <a:lnTo>
                      <a:pt x="2288" y="900"/>
                    </a:lnTo>
                    <a:lnTo>
                      <a:pt x="2293" y="900"/>
                    </a:lnTo>
                    <a:lnTo>
                      <a:pt x="2297" y="900"/>
                    </a:lnTo>
                    <a:lnTo>
                      <a:pt x="2303" y="901"/>
                    </a:lnTo>
                    <a:lnTo>
                      <a:pt x="2308" y="904"/>
                    </a:lnTo>
                    <a:lnTo>
                      <a:pt x="2314" y="909"/>
                    </a:lnTo>
                    <a:lnTo>
                      <a:pt x="2320" y="917"/>
                    </a:lnTo>
                    <a:lnTo>
                      <a:pt x="2326" y="927"/>
                    </a:lnTo>
                    <a:lnTo>
                      <a:pt x="2332" y="939"/>
                    </a:lnTo>
                    <a:lnTo>
                      <a:pt x="2340" y="958"/>
                    </a:lnTo>
                    <a:lnTo>
                      <a:pt x="2345" y="972"/>
                    </a:lnTo>
                    <a:lnTo>
                      <a:pt x="2348" y="985"/>
                    </a:lnTo>
                    <a:lnTo>
                      <a:pt x="2349" y="996"/>
                    </a:lnTo>
                    <a:lnTo>
                      <a:pt x="2348" y="1006"/>
                    </a:lnTo>
                    <a:lnTo>
                      <a:pt x="2345" y="1018"/>
                    </a:lnTo>
                    <a:lnTo>
                      <a:pt x="2340" y="1032"/>
                    </a:lnTo>
                    <a:lnTo>
                      <a:pt x="2332" y="1050"/>
                    </a:lnTo>
                    <a:lnTo>
                      <a:pt x="2328" y="1060"/>
                    </a:lnTo>
                    <a:lnTo>
                      <a:pt x="2326" y="1070"/>
                    </a:lnTo>
                    <a:lnTo>
                      <a:pt x="2324" y="1077"/>
                    </a:lnTo>
                    <a:lnTo>
                      <a:pt x="2326" y="1083"/>
                    </a:lnTo>
                    <a:lnTo>
                      <a:pt x="2329" y="1087"/>
                    </a:lnTo>
                    <a:lnTo>
                      <a:pt x="2333" y="1091"/>
                    </a:lnTo>
                    <a:lnTo>
                      <a:pt x="2337" y="1092"/>
                    </a:lnTo>
                    <a:lnTo>
                      <a:pt x="2344" y="1093"/>
                    </a:lnTo>
                    <a:lnTo>
                      <a:pt x="2358" y="1093"/>
                    </a:lnTo>
                    <a:lnTo>
                      <a:pt x="2374" y="1091"/>
                    </a:lnTo>
                    <a:lnTo>
                      <a:pt x="2389" y="1087"/>
                    </a:lnTo>
                    <a:lnTo>
                      <a:pt x="2404" y="1085"/>
                    </a:lnTo>
                    <a:lnTo>
                      <a:pt x="2413" y="1085"/>
                    </a:lnTo>
                    <a:lnTo>
                      <a:pt x="2421" y="1086"/>
                    </a:lnTo>
                    <a:lnTo>
                      <a:pt x="2428" y="1087"/>
                    </a:lnTo>
                    <a:lnTo>
                      <a:pt x="2434" y="1091"/>
                    </a:lnTo>
                    <a:lnTo>
                      <a:pt x="2439" y="1095"/>
                    </a:lnTo>
                    <a:lnTo>
                      <a:pt x="2444" y="1099"/>
                    </a:lnTo>
                    <a:lnTo>
                      <a:pt x="2448" y="1105"/>
                    </a:lnTo>
                    <a:lnTo>
                      <a:pt x="2452" y="1109"/>
                    </a:lnTo>
                    <a:lnTo>
                      <a:pt x="2459" y="1120"/>
                    </a:lnTo>
                    <a:lnTo>
                      <a:pt x="2465" y="1130"/>
                    </a:lnTo>
                    <a:lnTo>
                      <a:pt x="2469" y="1133"/>
                    </a:lnTo>
                    <a:lnTo>
                      <a:pt x="2473" y="1136"/>
                    </a:lnTo>
                    <a:lnTo>
                      <a:pt x="2477" y="1138"/>
                    </a:lnTo>
                    <a:lnTo>
                      <a:pt x="2483" y="1138"/>
                    </a:lnTo>
                    <a:lnTo>
                      <a:pt x="2494" y="1137"/>
                    </a:lnTo>
                    <a:lnTo>
                      <a:pt x="2502" y="1135"/>
                    </a:lnTo>
                    <a:lnTo>
                      <a:pt x="2510" y="1132"/>
                    </a:lnTo>
                    <a:lnTo>
                      <a:pt x="2517" y="1128"/>
                    </a:lnTo>
                    <a:lnTo>
                      <a:pt x="2526" y="1126"/>
                    </a:lnTo>
                    <a:lnTo>
                      <a:pt x="2535" y="1125"/>
                    </a:lnTo>
                    <a:lnTo>
                      <a:pt x="2539" y="1126"/>
                    </a:lnTo>
                    <a:lnTo>
                      <a:pt x="2544" y="1127"/>
                    </a:lnTo>
                    <a:lnTo>
                      <a:pt x="2550" y="1130"/>
                    </a:lnTo>
                    <a:lnTo>
                      <a:pt x="2556" y="1132"/>
                    </a:lnTo>
                    <a:lnTo>
                      <a:pt x="2576" y="1148"/>
                    </a:lnTo>
                    <a:lnTo>
                      <a:pt x="2605" y="1175"/>
                    </a:lnTo>
                    <a:lnTo>
                      <a:pt x="2613" y="1180"/>
                    </a:lnTo>
                    <a:lnTo>
                      <a:pt x="2619" y="1186"/>
                    </a:lnTo>
                    <a:lnTo>
                      <a:pt x="2626" y="1190"/>
                    </a:lnTo>
                    <a:lnTo>
                      <a:pt x="2632" y="1193"/>
                    </a:lnTo>
                    <a:lnTo>
                      <a:pt x="2637" y="1194"/>
                    </a:lnTo>
                    <a:lnTo>
                      <a:pt x="2641" y="1193"/>
                    </a:lnTo>
                    <a:lnTo>
                      <a:pt x="2642" y="1192"/>
                    </a:lnTo>
                    <a:lnTo>
                      <a:pt x="2643" y="1190"/>
                    </a:lnTo>
                    <a:lnTo>
                      <a:pt x="2644" y="1188"/>
                    </a:lnTo>
                    <a:lnTo>
                      <a:pt x="2644" y="1185"/>
                    </a:lnTo>
                    <a:lnTo>
                      <a:pt x="2644" y="1177"/>
                    </a:lnTo>
                    <a:lnTo>
                      <a:pt x="2643" y="1171"/>
                    </a:lnTo>
                    <a:lnTo>
                      <a:pt x="2641" y="1163"/>
                    </a:lnTo>
                    <a:lnTo>
                      <a:pt x="2638" y="1157"/>
                    </a:lnTo>
                    <a:lnTo>
                      <a:pt x="2631" y="1144"/>
                    </a:lnTo>
                    <a:lnTo>
                      <a:pt x="2624" y="1131"/>
                    </a:lnTo>
                    <a:lnTo>
                      <a:pt x="2620" y="1124"/>
                    </a:lnTo>
                    <a:lnTo>
                      <a:pt x="2618" y="1118"/>
                    </a:lnTo>
                    <a:lnTo>
                      <a:pt x="2616" y="1111"/>
                    </a:lnTo>
                    <a:lnTo>
                      <a:pt x="2615" y="1105"/>
                    </a:lnTo>
                    <a:lnTo>
                      <a:pt x="2616" y="1098"/>
                    </a:lnTo>
                    <a:lnTo>
                      <a:pt x="2617" y="1092"/>
                    </a:lnTo>
                    <a:lnTo>
                      <a:pt x="2620" y="1085"/>
                    </a:lnTo>
                    <a:lnTo>
                      <a:pt x="2626" y="1079"/>
                    </a:lnTo>
                    <a:lnTo>
                      <a:pt x="2643" y="1059"/>
                    </a:lnTo>
                    <a:lnTo>
                      <a:pt x="2658" y="1041"/>
                    </a:lnTo>
                    <a:lnTo>
                      <a:pt x="2672" y="1023"/>
                    </a:lnTo>
                    <a:lnTo>
                      <a:pt x="2684" y="1004"/>
                    </a:lnTo>
                    <a:lnTo>
                      <a:pt x="2696" y="985"/>
                    </a:lnTo>
                    <a:lnTo>
                      <a:pt x="2707" y="963"/>
                    </a:lnTo>
                    <a:lnTo>
                      <a:pt x="2717" y="942"/>
                    </a:lnTo>
                    <a:lnTo>
                      <a:pt x="2728" y="918"/>
                    </a:lnTo>
                    <a:lnTo>
                      <a:pt x="2734" y="903"/>
                    </a:lnTo>
                    <a:lnTo>
                      <a:pt x="2740" y="892"/>
                    </a:lnTo>
                    <a:lnTo>
                      <a:pt x="2746" y="883"/>
                    </a:lnTo>
                    <a:lnTo>
                      <a:pt x="2751" y="878"/>
                    </a:lnTo>
                    <a:lnTo>
                      <a:pt x="2757" y="875"/>
                    </a:lnTo>
                    <a:lnTo>
                      <a:pt x="2762" y="875"/>
                    </a:lnTo>
                    <a:lnTo>
                      <a:pt x="2769" y="876"/>
                    </a:lnTo>
                    <a:lnTo>
                      <a:pt x="2774" y="879"/>
                    </a:lnTo>
                    <a:lnTo>
                      <a:pt x="2787" y="889"/>
                    </a:lnTo>
                    <a:lnTo>
                      <a:pt x="2800" y="903"/>
                    </a:lnTo>
                    <a:lnTo>
                      <a:pt x="2815" y="918"/>
                    </a:lnTo>
                    <a:lnTo>
                      <a:pt x="2834" y="933"/>
                    </a:lnTo>
                    <a:lnTo>
                      <a:pt x="2845" y="944"/>
                    </a:lnTo>
                    <a:lnTo>
                      <a:pt x="2855" y="955"/>
                    </a:lnTo>
                    <a:lnTo>
                      <a:pt x="2866" y="964"/>
                    </a:lnTo>
                    <a:lnTo>
                      <a:pt x="2877" y="971"/>
                    </a:lnTo>
                    <a:lnTo>
                      <a:pt x="2884" y="974"/>
                    </a:lnTo>
                    <a:lnTo>
                      <a:pt x="2889" y="975"/>
                    </a:lnTo>
                    <a:lnTo>
                      <a:pt x="2896" y="976"/>
                    </a:lnTo>
                    <a:lnTo>
                      <a:pt x="2901" y="976"/>
                    </a:lnTo>
                    <a:lnTo>
                      <a:pt x="2907" y="974"/>
                    </a:lnTo>
                    <a:lnTo>
                      <a:pt x="2914" y="971"/>
                    </a:lnTo>
                    <a:lnTo>
                      <a:pt x="2920" y="966"/>
                    </a:lnTo>
                    <a:lnTo>
                      <a:pt x="2927" y="960"/>
                    </a:lnTo>
                    <a:lnTo>
                      <a:pt x="2936" y="952"/>
                    </a:lnTo>
                    <a:lnTo>
                      <a:pt x="2943" y="946"/>
                    </a:lnTo>
                    <a:lnTo>
                      <a:pt x="2951" y="942"/>
                    </a:lnTo>
                    <a:lnTo>
                      <a:pt x="2957" y="937"/>
                    </a:lnTo>
                    <a:lnTo>
                      <a:pt x="2964" y="935"/>
                    </a:lnTo>
                    <a:lnTo>
                      <a:pt x="2969" y="933"/>
                    </a:lnTo>
                    <a:lnTo>
                      <a:pt x="2976" y="933"/>
                    </a:lnTo>
                    <a:lnTo>
                      <a:pt x="2981" y="933"/>
                    </a:lnTo>
                    <a:lnTo>
                      <a:pt x="3005" y="938"/>
                    </a:lnTo>
                    <a:lnTo>
                      <a:pt x="3036" y="948"/>
                    </a:lnTo>
                    <a:lnTo>
                      <a:pt x="3042" y="948"/>
                    </a:lnTo>
                    <a:lnTo>
                      <a:pt x="3047" y="947"/>
                    </a:lnTo>
                    <a:lnTo>
                      <a:pt x="3051" y="944"/>
                    </a:lnTo>
                    <a:lnTo>
                      <a:pt x="3054" y="939"/>
                    </a:lnTo>
                    <a:lnTo>
                      <a:pt x="3056" y="934"/>
                    </a:lnTo>
                    <a:lnTo>
                      <a:pt x="3057" y="928"/>
                    </a:lnTo>
                    <a:lnTo>
                      <a:pt x="3058" y="920"/>
                    </a:lnTo>
                    <a:lnTo>
                      <a:pt x="3058" y="911"/>
                    </a:lnTo>
                    <a:lnTo>
                      <a:pt x="3056" y="879"/>
                    </a:lnTo>
                    <a:lnTo>
                      <a:pt x="3055" y="857"/>
                    </a:lnTo>
                    <a:lnTo>
                      <a:pt x="3057" y="848"/>
                    </a:lnTo>
                    <a:lnTo>
                      <a:pt x="3058" y="840"/>
                    </a:lnTo>
                    <a:lnTo>
                      <a:pt x="3059" y="835"/>
                    </a:lnTo>
                    <a:lnTo>
                      <a:pt x="3061" y="831"/>
                    </a:lnTo>
                    <a:lnTo>
                      <a:pt x="3064" y="829"/>
                    </a:lnTo>
                    <a:lnTo>
                      <a:pt x="3067" y="827"/>
                    </a:lnTo>
                    <a:lnTo>
                      <a:pt x="3069" y="827"/>
                    </a:lnTo>
                    <a:lnTo>
                      <a:pt x="3072" y="828"/>
                    </a:lnTo>
                    <a:lnTo>
                      <a:pt x="3079" y="831"/>
                    </a:lnTo>
                    <a:lnTo>
                      <a:pt x="3086" y="836"/>
                    </a:lnTo>
                    <a:lnTo>
                      <a:pt x="3090" y="838"/>
                    </a:lnTo>
                    <a:lnTo>
                      <a:pt x="3094" y="839"/>
                    </a:lnTo>
                    <a:lnTo>
                      <a:pt x="3098" y="841"/>
                    </a:lnTo>
                    <a:lnTo>
                      <a:pt x="3104" y="841"/>
                    </a:lnTo>
                    <a:lnTo>
                      <a:pt x="3110" y="840"/>
                    </a:lnTo>
                    <a:lnTo>
                      <a:pt x="3119" y="838"/>
                    </a:lnTo>
                    <a:lnTo>
                      <a:pt x="3129" y="834"/>
                    </a:lnTo>
                    <a:lnTo>
                      <a:pt x="3140" y="829"/>
                    </a:lnTo>
                    <a:lnTo>
                      <a:pt x="3164" y="816"/>
                    </a:lnTo>
                    <a:lnTo>
                      <a:pt x="3191" y="803"/>
                    </a:lnTo>
                    <a:lnTo>
                      <a:pt x="3216" y="792"/>
                    </a:lnTo>
                    <a:lnTo>
                      <a:pt x="3238" y="782"/>
                    </a:lnTo>
                    <a:lnTo>
                      <a:pt x="3248" y="780"/>
                    </a:lnTo>
                    <a:lnTo>
                      <a:pt x="3254" y="777"/>
                    </a:lnTo>
                    <a:lnTo>
                      <a:pt x="3258" y="779"/>
                    </a:lnTo>
                    <a:lnTo>
                      <a:pt x="3260" y="779"/>
                    </a:lnTo>
                    <a:lnTo>
                      <a:pt x="3262" y="780"/>
                    </a:lnTo>
                    <a:lnTo>
                      <a:pt x="3263" y="782"/>
                    </a:lnTo>
                    <a:lnTo>
                      <a:pt x="3266" y="789"/>
                    </a:lnTo>
                    <a:lnTo>
                      <a:pt x="3268" y="797"/>
                    </a:lnTo>
                    <a:lnTo>
                      <a:pt x="3269" y="806"/>
                    </a:lnTo>
                    <a:lnTo>
                      <a:pt x="3268" y="814"/>
                    </a:lnTo>
                    <a:lnTo>
                      <a:pt x="3267" y="830"/>
                    </a:lnTo>
                    <a:lnTo>
                      <a:pt x="3266" y="846"/>
                    </a:lnTo>
                    <a:lnTo>
                      <a:pt x="3266" y="853"/>
                    </a:lnTo>
                    <a:lnTo>
                      <a:pt x="3267" y="860"/>
                    </a:lnTo>
                    <a:lnTo>
                      <a:pt x="3271" y="865"/>
                    </a:lnTo>
                    <a:lnTo>
                      <a:pt x="3274" y="870"/>
                    </a:lnTo>
                    <a:lnTo>
                      <a:pt x="3280" y="874"/>
                    </a:lnTo>
                    <a:lnTo>
                      <a:pt x="3288" y="877"/>
                    </a:lnTo>
                    <a:lnTo>
                      <a:pt x="3299" y="879"/>
                    </a:lnTo>
                    <a:lnTo>
                      <a:pt x="3312" y="879"/>
                    </a:lnTo>
                    <a:lnTo>
                      <a:pt x="3319" y="880"/>
                    </a:lnTo>
                    <a:lnTo>
                      <a:pt x="3329" y="881"/>
                    </a:lnTo>
                    <a:lnTo>
                      <a:pt x="3339" y="883"/>
                    </a:lnTo>
                    <a:lnTo>
                      <a:pt x="3350" y="887"/>
                    </a:lnTo>
                    <a:lnTo>
                      <a:pt x="3360" y="890"/>
                    </a:lnTo>
                    <a:lnTo>
                      <a:pt x="3372" y="894"/>
                    </a:lnTo>
                    <a:lnTo>
                      <a:pt x="3383" y="900"/>
                    </a:lnTo>
                    <a:lnTo>
                      <a:pt x="3394" y="906"/>
                    </a:lnTo>
                    <a:lnTo>
                      <a:pt x="3405" y="912"/>
                    </a:lnTo>
                    <a:lnTo>
                      <a:pt x="3414" y="919"/>
                    </a:lnTo>
                    <a:lnTo>
                      <a:pt x="3421" y="927"/>
                    </a:lnTo>
                    <a:lnTo>
                      <a:pt x="3427" y="935"/>
                    </a:lnTo>
                    <a:lnTo>
                      <a:pt x="3429" y="939"/>
                    </a:lnTo>
                    <a:lnTo>
                      <a:pt x="3430" y="944"/>
                    </a:lnTo>
                    <a:lnTo>
                      <a:pt x="3431" y="948"/>
                    </a:lnTo>
                    <a:lnTo>
                      <a:pt x="3431" y="952"/>
                    </a:lnTo>
                    <a:lnTo>
                      <a:pt x="3431" y="958"/>
                    </a:lnTo>
                    <a:lnTo>
                      <a:pt x="3430" y="962"/>
                    </a:lnTo>
                    <a:lnTo>
                      <a:pt x="3428" y="968"/>
                    </a:lnTo>
                    <a:lnTo>
                      <a:pt x="3426" y="972"/>
                    </a:lnTo>
                    <a:lnTo>
                      <a:pt x="3419" y="981"/>
                    </a:lnTo>
                    <a:lnTo>
                      <a:pt x="3412" y="989"/>
                    </a:lnTo>
                    <a:lnTo>
                      <a:pt x="3406" y="996"/>
                    </a:lnTo>
                    <a:lnTo>
                      <a:pt x="3399" y="1002"/>
                    </a:lnTo>
                    <a:lnTo>
                      <a:pt x="3384" y="1015"/>
                    </a:lnTo>
                    <a:lnTo>
                      <a:pt x="3370" y="1028"/>
                    </a:lnTo>
                    <a:lnTo>
                      <a:pt x="3364" y="1035"/>
                    </a:lnTo>
                    <a:lnTo>
                      <a:pt x="3357" y="1041"/>
                    </a:lnTo>
                    <a:lnTo>
                      <a:pt x="3352" y="1049"/>
                    </a:lnTo>
                    <a:lnTo>
                      <a:pt x="3347" y="1057"/>
                    </a:lnTo>
                    <a:lnTo>
                      <a:pt x="3343" y="1066"/>
                    </a:lnTo>
                    <a:lnTo>
                      <a:pt x="3340" y="1074"/>
                    </a:lnTo>
                    <a:lnTo>
                      <a:pt x="3339" y="1085"/>
                    </a:lnTo>
                    <a:lnTo>
                      <a:pt x="3338" y="1097"/>
                    </a:lnTo>
                    <a:lnTo>
                      <a:pt x="3351" y="1113"/>
                    </a:lnTo>
                    <a:lnTo>
                      <a:pt x="3360" y="1128"/>
                    </a:lnTo>
                    <a:lnTo>
                      <a:pt x="3366" y="1135"/>
                    </a:lnTo>
                    <a:lnTo>
                      <a:pt x="3371" y="1143"/>
                    </a:lnTo>
                    <a:lnTo>
                      <a:pt x="3379" y="1149"/>
                    </a:lnTo>
                    <a:lnTo>
                      <a:pt x="3389" y="1158"/>
                    </a:lnTo>
                    <a:lnTo>
                      <a:pt x="3392" y="1161"/>
                    </a:lnTo>
                    <a:lnTo>
                      <a:pt x="3394" y="1165"/>
                    </a:lnTo>
                    <a:lnTo>
                      <a:pt x="3395" y="1172"/>
                    </a:lnTo>
                    <a:lnTo>
                      <a:pt x="3395" y="1178"/>
                    </a:lnTo>
                    <a:lnTo>
                      <a:pt x="3392" y="1194"/>
                    </a:lnTo>
                    <a:lnTo>
                      <a:pt x="3388" y="1213"/>
                    </a:lnTo>
                    <a:lnTo>
                      <a:pt x="3382" y="1232"/>
                    </a:lnTo>
                    <a:lnTo>
                      <a:pt x="3378" y="1251"/>
                    </a:lnTo>
                    <a:lnTo>
                      <a:pt x="3377" y="1260"/>
                    </a:lnTo>
                    <a:lnTo>
                      <a:pt x="3377" y="1269"/>
                    </a:lnTo>
                    <a:lnTo>
                      <a:pt x="3378" y="1278"/>
                    </a:lnTo>
                    <a:lnTo>
                      <a:pt x="3379" y="1285"/>
                    </a:lnTo>
                    <a:lnTo>
                      <a:pt x="3383" y="1294"/>
                    </a:lnTo>
                    <a:lnTo>
                      <a:pt x="3388" y="1299"/>
                    </a:lnTo>
                    <a:lnTo>
                      <a:pt x="3392" y="1302"/>
                    </a:lnTo>
                    <a:lnTo>
                      <a:pt x="3396" y="1303"/>
                    </a:lnTo>
                    <a:lnTo>
                      <a:pt x="3402" y="1303"/>
                    </a:lnTo>
                    <a:lnTo>
                      <a:pt x="3407" y="1301"/>
                    </a:lnTo>
                    <a:lnTo>
                      <a:pt x="3414" y="1299"/>
                    </a:lnTo>
                    <a:lnTo>
                      <a:pt x="3419" y="1295"/>
                    </a:lnTo>
                    <a:lnTo>
                      <a:pt x="3432" y="1286"/>
                    </a:lnTo>
                    <a:lnTo>
                      <a:pt x="3445" y="1279"/>
                    </a:lnTo>
                    <a:lnTo>
                      <a:pt x="3452" y="1275"/>
                    </a:lnTo>
                    <a:lnTo>
                      <a:pt x="3457" y="1273"/>
                    </a:lnTo>
                    <a:lnTo>
                      <a:pt x="3463" y="1272"/>
                    </a:lnTo>
                    <a:lnTo>
                      <a:pt x="3470" y="1272"/>
                    </a:lnTo>
                    <a:lnTo>
                      <a:pt x="3484" y="1276"/>
                    </a:lnTo>
                    <a:lnTo>
                      <a:pt x="3497" y="1281"/>
                    </a:lnTo>
                    <a:lnTo>
                      <a:pt x="3507" y="1285"/>
                    </a:lnTo>
                    <a:lnTo>
                      <a:pt x="3515" y="1288"/>
                    </a:lnTo>
                    <a:lnTo>
                      <a:pt x="3522" y="1294"/>
                    </a:lnTo>
                    <a:lnTo>
                      <a:pt x="3526" y="1298"/>
                    </a:lnTo>
                    <a:lnTo>
                      <a:pt x="3528" y="1303"/>
                    </a:lnTo>
                    <a:lnTo>
                      <a:pt x="3530" y="1308"/>
                    </a:lnTo>
                    <a:lnTo>
                      <a:pt x="3530" y="1314"/>
                    </a:lnTo>
                    <a:lnTo>
                      <a:pt x="3527" y="1320"/>
                    </a:lnTo>
                    <a:lnTo>
                      <a:pt x="3523" y="1326"/>
                    </a:lnTo>
                    <a:lnTo>
                      <a:pt x="3519" y="1334"/>
                    </a:lnTo>
                    <a:lnTo>
                      <a:pt x="3505" y="1350"/>
                    </a:lnTo>
                    <a:lnTo>
                      <a:pt x="3486" y="1368"/>
                    </a:lnTo>
                    <a:lnTo>
                      <a:pt x="3470" y="1383"/>
                    </a:lnTo>
                    <a:lnTo>
                      <a:pt x="3456" y="1396"/>
                    </a:lnTo>
                    <a:lnTo>
                      <a:pt x="3443" y="1408"/>
                    </a:lnTo>
                    <a:lnTo>
                      <a:pt x="3433" y="1420"/>
                    </a:lnTo>
                    <a:lnTo>
                      <a:pt x="3430" y="1427"/>
                    </a:lnTo>
                    <a:lnTo>
                      <a:pt x="3427" y="1433"/>
                    </a:lnTo>
                    <a:lnTo>
                      <a:pt x="3424" y="1441"/>
                    </a:lnTo>
                    <a:lnTo>
                      <a:pt x="3423" y="1448"/>
                    </a:lnTo>
                    <a:lnTo>
                      <a:pt x="3423" y="1457"/>
                    </a:lnTo>
                    <a:lnTo>
                      <a:pt x="3426" y="1467"/>
                    </a:lnTo>
                    <a:lnTo>
                      <a:pt x="3428" y="1477"/>
                    </a:lnTo>
                    <a:lnTo>
                      <a:pt x="3432" y="1489"/>
                    </a:lnTo>
                    <a:lnTo>
                      <a:pt x="3437" y="1496"/>
                    </a:lnTo>
                    <a:lnTo>
                      <a:pt x="3441" y="1501"/>
                    </a:lnTo>
                    <a:lnTo>
                      <a:pt x="3444" y="1508"/>
                    </a:lnTo>
                    <a:lnTo>
                      <a:pt x="3446" y="1513"/>
                    </a:lnTo>
                    <a:lnTo>
                      <a:pt x="3447" y="1518"/>
                    </a:lnTo>
                    <a:lnTo>
                      <a:pt x="3448" y="1523"/>
                    </a:lnTo>
                    <a:lnTo>
                      <a:pt x="3448" y="1528"/>
                    </a:lnTo>
                    <a:lnTo>
                      <a:pt x="3447" y="1532"/>
                    </a:lnTo>
                    <a:lnTo>
                      <a:pt x="3444" y="1542"/>
                    </a:lnTo>
                    <a:lnTo>
                      <a:pt x="3440" y="1550"/>
                    </a:lnTo>
                    <a:lnTo>
                      <a:pt x="3433" y="1557"/>
                    </a:lnTo>
                    <a:lnTo>
                      <a:pt x="3427" y="1565"/>
                    </a:lnTo>
                    <a:lnTo>
                      <a:pt x="3412" y="1579"/>
                    </a:lnTo>
                    <a:lnTo>
                      <a:pt x="3401" y="1592"/>
                    </a:lnTo>
                    <a:lnTo>
                      <a:pt x="3397" y="1598"/>
                    </a:lnTo>
                    <a:lnTo>
                      <a:pt x="3396" y="1605"/>
                    </a:lnTo>
                    <a:lnTo>
                      <a:pt x="3396" y="1608"/>
                    </a:lnTo>
                    <a:lnTo>
                      <a:pt x="3397" y="1611"/>
                    </a:lnTo>
                    <a:lnTo>
                      <a:pt x="3399" y="1614"/>
                    </a:lnTo>
                    <a:lnTo>
                      <a:pt x="3402" y="1618"/>
                    </a:lnTo>
                    <a:lnTo>
                      <a:pt x="3416" y="1633"/>
                    </a:lnTo>
                    <a:lnTo>
                      <a:pt x="3429" y="1649"/>
                    </a:lnTo>
                    <a:lnTo>
                      <a:pt x="3435" y="1657"/>
                    </a:lnTo>
                    <a:lnTo>
                      <a:pt x="3441" y="1665"/>
                    </a:lnTo>
                    <a:lnTo>
                      <a:pt x="3446" y="1674"/>
                    </a:lnTo>
                    <a:lnTo>
                      <a:pt x="3450" y="1683"/>
                    </a:lnTo>
                    <a:lnTo>
                      <a:pt x="3455" y="1692"/>
                    </a:lnTo>
                    <a:lnTo>
                      <a:pt x="3457" y="1702"/>
                    </a:lnTo>
                    <a:lnTo>
                      <a:pt x="3459" y="1712"/>
                    </a:lnTo>
                    <a:lnTo>
                      <a:pt x="3460" y="1721"/>
                    </a:lnTo>
                    <a:lnTo>
                      <a:pt x="3460" y="1732"/>
                    </a:lnTo>
                    <a:lnTo>
                      <a:pt x="3459" y="1742"/>
                    </a:lnTo>
                    <a:lnTo>
                      <a:pt x="3456" y="1754"/>
                    </a:lnTo>
                    <a:lnTo>
                      <a:pt x="3452" y="1765"/>
                    </a:lnTo>
                    <a:lnTo>
                      <a:pt x="3452" y="1765"/>
                    </a:lnTo>
                    <a:lnTo>
                      <a:pt x="3432" y="1764"/>
                    </a:lnTo>
                    <a:lnTo>
                      <a:pt x="3422" y="1764"/>
                    </a:lnTo>
                    <a:lnTo>
                      <a:pt x="3414" y="1766"/>
                    </a:lnTo>
                    <a:lnTo>
                      <a:pt x="3406" y="1770"/>
                    </a:lnTo>
                    <a:lnTo>
                      <a:pt x="3399" y="1774"/>
                    </a:lnTo>
                    <a:lnTo>
                      <a:pt x="3386" y="1787"/>
                    </a:lnTo>
                    <a:lnTo>
                      <a:pt x="3376" y="1800"/>
                    </a:lnTo>
                    <a:lnTo>
                      <a:pt x="3370" y="1807"/>
                    </a:lnTo>
                    <a:lnTo>
                      <a:pt x="3364" y="1812"/>
                    </a:lnTo>
                    <a:lnTo>
                      <a:pt x="3357" y="1818"/>
                    </a:lnTo>
                    <a:lnTo>
                      <a:pt x="3351" y="1821"/>
                    </a:lnTo>
                    <a:lnTo>
                      <a:pt x="3344" y="1824"/>
                    </a:lnTo>
                    <a:lnTo>
                      <a:pt x="3336" y="1824"/>
                    </a:lnTo>
                    <a:lnTo>
                      <a:pt x="3327" y="1823"/>
                    </a:lnTo>
                    <a:lnTo>
                      <a:pt x="3316" y="1820"/>
                    </a:lnTo>
                    <a:lnTo>
                      <a:pt x="3305" y="1815"/>
                    </a:lnTo>
                    <a:lnTo>
                      <a:pt x="3294" y="1813"/>
                    </a:lnTo>
                    <a:lnTo>
                      <a:pt x="3281" y="1812"/>
                    </a:lnTo>
                    <a:lnTo>
                      <a:pt x="3268" y="1811"/>
                    </a:lnTo>
                    <a:lnTo>
                      <a:pt x="3254" y="1812"/>
                    </a:lnTo>
                    <a:lnTo>
                      <a:pt x="3240" y="1813"/>
                    </a:lnTo>
                    <a:lnTo>
                      <a:pt x="3226" y="1816"/>
                    </a:lnTo>
                    <a:lnTo>
                      <a:pt x="3212" y="1821"/>
                    </a:lnTo>
                    <a:lnTo>
                      <a:pt x="3199" y="1825"/>
                    </a:lnTo>
                    <a:lnTo>
                      <a:pt x="3186" y="1830"/>
                    </a:lnTo>
                    <a:lnTo>
                      <a:pt x="3174" y="1838"/>
                    </a:lnTo>
                    <a:lnTo>
                      <a:pt x="3162" y="1846"/>
                    </a:lnTo>
                    <a:lnTo>
                      <a:pt x="3152" y="1854"/>
                    </a:lnTo>
                    <a:lnTo>
                      <a:pt x="3145" y="1863"/>
                    </a:lnTo>
                    <a:lnTo>
                      <a:pt x="3137" y="1874"/>
                    </a:lnTo>
                    <a:lnTo>
                      <a:pt x="3133" y="1884"/>
                    </a:lnTo>
                    <a:lnTo>
                      <a:pt x="3121" y="1883"/>
                    </a:lnTo>
                    <a:lnTo>
                      <a:pt x="3110" y="1882"/>
                    </a:lnTo>
                    <a:lnTo>
                      <a:pt x="3098" y="1880"/>
                    </a:lnTo>
                    <a:lnTo>
                      <a:pt x="3087" y="1877"/>
                    </a:lnTo>
                    <a:lnTo>
                      <a:pt x="3066" y="1869"/>
                    </a:lnTo>
                    <a:lnTo>
                      <a:pt x="3044" y="1861"/>
                    </a:lnTo>
                    <a:lnTo>
                      <a:pt x="3023" y="1852"/>
                    </a:lnTo>
                    <a:lnTo>
                      <a:pt x="3002" y="1845"/>
                    </a:lnTo>
                    <a:lnTo>
                      <a:pt x="2991" y="1842"/>
                    </a:lnTo>
                    <a:lnTo>
                      <a:pt x="2981" y="1840"/>
                    </a:lnTo>
                    <a:lnTo>
                      <a:pt x="2970" y="1839"/>
                    </a:lnTo>
                    <a:lnTo>
                      <a:pt x="2960" y="1840"/>
                    </a:lnTo>
                    <a:lnTo>
                      <a:pt x="2923" y="1839"/>
                    </a:lnTo>
                    <a:lnTo>
                      <a:pt x="2880" y="1837"/>
                    </a:lnTo>
                    <a:lnTo>
                      <a:pt x="2870" y="1835"/>
                    </a:lnTo>
                    <a:lnTo>
                      <a:pt x="2860" y="1833"/>
                    </a:lnTo>
                    <a:lnTo>
                      <a:pt x="2851" y="1830"/>
                    </a:lnTo>
                    <a:lnTo>
                      <a:pt x="2842" y="1826"/>
                    </a:lnTo>
                    <a:lnTo>
                      <a:pt x="2836" y="1822"/>
                    </a:lnTo>
                    <a:lnTo>
                      <a:pt x="2829" y="1815"/>
                    </a:lnTo>
                    <a:lnTo>
                      <a:pt x="2825" y="1809"/>
                    </a:lnTo>
                    <a:lnTo>
                      <a:pt x="2822" y="1800"/>
                    </a:lnTo>
                    <a:lnTo>
                      <a:pt x="2808" y="1801"/>
                    </a:lnTo>
                    <a:lnTo>
                      <a:pt x="2794" y="1805"/>
                    </a:lnTo>
                    <a:lnTo>
                      <a:pt x="2780" y="1810"/>
                    </a:lnTo>
                    <a:lnTo>
                      <a:pt x="2764" y="1816"/>
                    </a:lnTo>
                    <a:lnTo>
                      <a:pt x="2749" y="1825"/>
                    </a:lnTo>
                    <a:lnTo>
                      <a:pt x="2734" y="1834"/>
                    </a:lnTo>
                    <a:lnTo>
                      <a:pt x="2719" y="1845"/>
                    </a:lnTo>
                    <a:lnTo>
                      <a:pt x="2704" y="1855"/>
                    </a:lnTo>
                    <a:lnTo>
                      <a:pt x="2673" y="1878"/>
                    </a:lnTo>
                    <a:lnTo>
                      <a:pt x="2645" y="1900"/>
                    </a:lnTo>
                    <a:lnTo>
                      <a:pt x="2620" y="1920"/>
                    </a:lnTo>
                    <a:lnTo>
                      <a:pt x="2598" y="1936"/>
                    </a:lnTo>
                    <a:lnTo>
                      <a:pt x="2581" y="1947"/>
                    </a:lnTo>
                    <a:lnTo>
                      <a:pt x="2564" y="1956"/>
                    </a:lnTo>
                    <a:lnTo>
                      <a:pt x="2548" y="1963"/>
                    </a:lnTo>
                    <a:lnTo>
                      <a:pt x="2530" y="1970"/>
                    </a:lnTo>
                    <a:lnTo>
                      <a:pt x="2514" y="1975"/>
                    </a:lnTo>
                    <a:lnTo>
                      <a:pt x="2497" y="1978"/>
                    </a:lnTo>
                    <a:lnTo>
                      <a:pt x="2481" y="1982"/>
                    </a:lnTo>
                    <a:lnTo>
                      <a:pt x="2463" y="1985"/>
                    </a:lnTo>
                    <a:lnTo>
                      <a:pt x="2428" y="1987"/>
                    </a:lnTo>
                    <a:lnTo>
                      <a:pt x="2393" y="1988"/>
                    </a:lnTo>
                    <a:lnTo>
                      <a:pt x="2356" y="1987"/>
                    </a:lnTo>
                    <a:lnTo>
                      <a:pt x="2317" y="1987"/>
                    </a:lnTo>
                    <a:lnTo>
                      <a:pt x="2317" y="1989"/>
                    </a:lnTo>
                    <a:lnTo>
                      <a:pt x="2316" y="1989"/>
                    </a:lnTo>
                    <a:lnTo>
                      <a:pt x="2315" y="2004"/>
                    </a:lnTo>
                    <a:lnTo>
                      <a:pt x="2314" y="2016"/>
                    </a:lnTo>
                    <a:lnTo>
                      <a:pt x="2310" y="2027"/>
                    </a:lnTo>
                    <a:lnTo>
                      <a:pt x="2306" y="2037"/>
                    </a:lnTo>
                    <a:lnTo>
                      <a:pt x="2301" y="2044"/>
                    </a:lnTo>
                    <a:lnTo>
                      <a:pt x="2295" y="2051"/>
                    </a:lnTo>
                    <a:lnTo>
                      <a:pt x="2288" y="2057"/>
                    </a:lnTo>
                    <a:lnTo>
                      <a:pt x="2280" y="2062"/>
                    </a:lnTo>
                    <a:lnTo>
                      <a:pt x="2243" y="2076"/>
                    </a:lnTo>
                    <a:lnTo>
                      <a:pt x="2199" y="2090"/>
                    </a:lnTo>
                    <a:lnTo>
                      <a:pt x="2186" y="2096"/>
                    </a:lnTo>
                    <a:lnTo>
                      <a:pt x="2175" y="2102"/>
                    </a:lnTo>
                    <a:lnTo>
                      <a:pt x="2164" y="2108"/>
                    </a:lnTo>
                    <a:lnTo>
                      <a:pt x="2154" y="2116"/>
                    </a:lnTo>
                    <a:lnTo>
                      <a:pt x="2138" y="2129"/>
                    </a:lnTo>
                    <a:lnTo>
                      <a:pt x="2123" y="2142"/>
                    </a:lnTo>
                    <a:lnTo>
                      <a:pt x="2107" y="2154"/>
                    </a:lnTo>
                    <a:lnTo>
                      <a:pt x="2090" y="2166"/>
                    </a:lnTo>
                    <a:lnTo>
                      <a:pt x="2081" y="2172"/>
                    </a:lnTo>
                    <a:lnTo>
                      <a:pt x="2070" y="2176"/>
                    </a:lnTo>
                    <a:lnTo>
                      <a:pt x="2058" y="2180"/>
                    </a:lnTo>
                    <a:lnTo>
                      <a:pt x="2044" y="2184"/>
                    </a:lnTo>
                    <a:lnTo>
                      <a:pt x="2032" y="2200"/>
                    </a:lnTo>
                    <a:lnTo>
                      <a:pt x="2019" y="2215"/>
                    </a:lnTo>
                    <a:lnTo>
                      <a:pt x="2011" y="2223"/>
                    </a:lnTo>
                    <a:lnTo>
                      <a:pt x="2005" y="2231"/>
                    </a:lnTo>
                    <a:lnTo>
                      <a:pt x="1998" y="2241"/>
                    </a:lnTo>
                    <a:lnTo>
                      <a:pt x="1992" y="2251"/>
                    </a:lnTo>
                    <a:lnTo>
                      <a:pt x="1986" y="2260"/>
                    </a:lnTo>
                    <a:lnTo>
                      <a:pt x="1982" y="2267"/>
                    </a:lnTo>
                    <a:lnTo>
                      <a:pt x="1978" y="2270"/>
                    </a:lnTo>
                    <a:lnTo>
                      <a:pt x="1972" y="2272"/>
                    </a:lnTo>
                    <a:lnTo>
                      <a:pt x="1960" y="2274"/>
                    </a:lnTo>
                    <a:lnTo>
                      <a:pt x="1940" y="2275"/>
                    </a:lnTo>
                    <a:lnTo>
                      <a:pt x="1931" y="2277"/>
                    </a:lnTo>
                    <a:lnTo>
                      <a:pt x="1921" y="2280"/>
                    </a:lnTo>
                    <a:lnTo>
                      <a:pt x="1913" y="2283"/>
                    </a:lnTo>
                    <a:lnTo>
                      <a:pt x="1904" y="2287"/>
                    </a:lnTo>
                    <a:lnTo>
                      <a:pt x="1895" y="2293"/>
                    </a:lnTo>
                    <a:lnTo>
                      <a:pt x="1887" y="2299"/>
                    </a:lnTo>
                    <a:lnTo>
                      <a:pt x="1878" y="2306"/>
                    </a:lnTo>
                    <a:lnTo>
                      <a:pt x="1870" y="2312"/>
                    </a:lnTo>
                    <a:lnTo>
                      <a:pt x="1855" y="2327"/>
                    </a:lnTo>
                    <a:lnTo>
                      <a:pt x="1841" y="2342"/>
                    </a:lnTo>
                    <a:lnTo>
                      <a:pt x="1828" y="2358"/>
                    </a:lnTo>
                    <a:lnTo>
                      <a:pt x="1816" y="2372"/>
                    </a:lnTo>
                    <a:lnTo>
                      <a:pt x="1808" y="2380"/>
                    </a:lnTo>
                    <a:lnTo>
                      <a:pt x="1801" y="2387"/>
                    </a:lnTo>
                    <a:lnTo>
                      <a:pt x="1795" y="2392"/>
                    </a:lnTo>
                    <a:lnTo>
                      <a:pt x="1788" y="2395"/>
                    </a:lnTo>
                    <a:lnTo>
                      <a:pt x="1784" y="2397"/>
                    </a:lnTo>
                    <a:lnTo>
                      <a:pt x="1778" y="2397"/>
                    </a:lnTo>
                    <a:lnTo>
                      <a:pt x="1774" y="2397"/>
                    </a:lnTo>
                    <a:lnTo>
                      <a:pt x="1770" y="2397"/>
                    </a:lnTo>
                    <a:lnTo>
                      <a:pt x="1762" y="2394"/>
                    </a:lnTo>
                    <a:lnTo>
                      <a:pt x="1754" y="2392"/>
                    </a:lnTo>
                    <a:lnTo>
                      <a:pt x="1750" y="2392"/>
                    </a:lnTo>
                    <a:lnTo>
                      <a:pt x="1746" y="2392"/>
                    </a:lnTo>
                    <a:lnTo>
                      <a:pt x="1741" y="2393"/>
                    </a:lnTo>
                    <a:lnTo>
                      <a:pt x="1736" y="2396"/>
                    </a:lnTo>
                    <a:lnTo>
                      <a:pt x="1730" y="2402"/>
                    </a:lnTo>
                    <a:lnTo>
                      <a:pt x="1723" y="2408"/>
                    </a:lnTo>
                    <a:lnTo>
                      <a:pt x="1718" y="2416"/>
                    </a:lnTo>
                    <a:lnTo>
                      <a:pt x="1713" y="2422"/>
                    </a:lnTo>
                    <a:lnTo>
                      <a:pt x="1708" y="2430"/>
                    </a:lnTo>
                    <a:lnTo>
                      <a:pt x="1702" y="2435"/>
                    </a:lnTo>
                    <a:lnTo>
                      <a:pt x="1700" y="2439"/>
                    </a:lnTo>
                    <a:lnTo>
                      <a:pt x="1696" y="2441"/>
                    </a:lnTo>
                    <a:lnTo>
                      <a:pt x="1693" y="2443"/>
                    </a:lnTo>
                    <a:lnTo>
                      <a:pt x="1688" y="2444"/>
                    </a:lnTo>
                    <a:lnTo>
                      <a:pt x="1682" y="2446"/>
                    </a:lnTo>
                    <a:lnTo>
                      <a:pt x="1674" y="2450"/>
                    </a:lnTo>
                    <a:lnTo>
                      <a:pt x="1666" y="2457"/>
                    </a:lnTo>
                    <a:lnTo>
                      <a:pt x="1655" y="2464"/>
                    </a:lnTo>
                    <a:lnTo>
                      <a:pt x="1632" y="2484"/>
                    </a:lnTo>
                    <a:lnTo>
                      <a:pt x="1607" y="2505"/>
                    </a:lnTo>
                    <a:lnTo>
                      <a:pt x="1582" y="2528"/>
                    </a:lnTo>
                    <a:lnTo>
                      <a:pt x="1560" y="2549"/>
                    </a:lnTo>
                    <a:lnTo>
                      <a:pt x="1543" y="2567"/>
                    </a:lnTo>
                    <a:lnTo>
                      <a:pt x="1531" y="2580"/>
                    </a:lnTo>
                    <a:lnTo>
                      <a:pt x="1519" y="2594"/>
                    </a:lnTo>
                    <a:lnTo>
                      <a:pt x="1506" y="2606"/>
                    </a:lnTo>
                    <a:lnTo>
                      <a:pt x="1493" y="2617"/>
                    </a:lnTo>
                    <a:lnTo>
                      <a:pt x="1480" y="2626"/>
                    </a:lnTo>
                    <a:lnTo>
                      <a:pt x="1467" y="2635"/>
                    </a:lnTo>
                    <a:lnTo>
                      <a:pt x="1453" y="2643"/>
                    </a:lnTo>
                    <a:lnTo>
                      <a:pt x="1439" y="2650"/>
                    </a:lnTo>
                    <a:lnTo>
                      <a:pt x="1425" y="2656"/>
                    </a:lnTo>
                    <a:lnTo>
                      <a:pt x="1396" y="2667"/>
                    </a:lnTo>
                    <a:lnTo>
                      <a:pt x="1365" y="2679"/>
                    </a:lnTo>
                    <a:lnTo>
                      <a:pt x="1350" y="2686"/>
                    </a:lnTo>
                    <a:lnTo>
                      <a:pt x="1335" y="2692"/>
                    </a:lnTo>
                    <a:lnTo>
                      <a:pt x="1320" y="2700"/>
                    </a:lnTo>
                    <a:lnTo>
                      <a:pt x="1305" y="2709"/>
                    </a:lnTo>
                    <a:lnTo>
                      <a:pt x="1305" y="3251"/>
                    </a:lnTo>
                    <a:lnTo>
                      <a:pt x="1305" y="3251"/>
                    </a:lnTo>
                    <a:lnTo>
                      <a:pt x="1291" y="3230"/>
                    </a:lnTo>
                    <a:lnTo>
                      <a:pt x="1274" y="3210"/>
                    </a:lnTo>
                    <a:lnTo>
                      <a:pt x="1257" y="3189"/>
                    </a:lnTo>
                    <a:lnTo>
                      <a:pt x="1239" y="3169"/>
                    </a:lnTo>
                    <a:lnTo>
                      <a:pt x="1200" y="3126"/>
                    </a:lnTo>
                    <a:lnTo>
                      <a:pt x="1159" y="3083"/>
                    </a:lnTo>
                    <a:lnTo>
                      <a:pt x="1141" y="3061"/>
                    </a:lnTo>
                    <a:lnTo>
                      <a:pt x="1123" y="3039"/>
                    </a:lnTo>
                    <a:lnTo>
                      <a:pt x="1106" y="3016"/>
                    </a:lnTo>
                    <a:lnTo>
                      <a:pt x="1091" y="2993"/>
                    </a:lnTo>
                    <a:lnTo>
                      <a:pt x="1085" y="2982"/>
                    </a:lnTo>
                    <a:lnTo>
                      <a:pt x="1078" y="2970"/>
                    </a:lnTo>
                    <a:lnTo>
                      <a:pt x="1073" y="2958"/>
                    </a:lnTo>
                    <a:lnTo>
                      <a:pt x="1068" y="2946"/>
                    </a:lnTo>
                    <a:lnTo>
                      <a:pt x="1064" y="2934"/>
                    </a:lnTo>
                    <a:lnTo>
                      <a:pt x="1061" y="2921"/>
                    </a:lnTo>
                    <a:lnTo>
                      <a:pt x="1059" y="2909"/>
                    </a:lnTo>
                    <a:lnTo>
                      <a:pt x="1057" y="2896"/>
                    </a:lnTo>
                    <a:lnTo>
                      <a:pt x="1057" y="2887"/>
                    </a:lnTo>
                    <a:lnTo>
                      <a:pt x="1054" y="2878"/>
                    </a:lnTo>
                    <a:lnTo>
                      <a:pt x="1051" y="2872"/>
                    </a:lnTo>
                    <a:lnTo>
                      <a:pt x="1047" y="2865"/>
                    </a:lnTo>
                    <a:lnTo>
                      <a:pt x="1042" y="2860"/>
                    </a:lnTo>
                    <a:lnTo>
                      <a:pt x="1037" y="2856"/>
                    </a:lnTo>
                    <a:lnTo>
                      <a:pt x="1031" y="2852"/>
                    </a:lnTo>
                    <a:lnTo>
                      <a:pt x="1023" y="2850"/>
                    </a:lnTo>
                    <a:lnTo>
                      <a:pt x="1008" y="2845"/>
                    </a:lnTo>
                    <a:lnTo>
                      <a:pt x="992" y="2840"/>
                    </a:lnTo>
                    <a:lnTo>
                      <a:pt x="975" y="2836"/>
                    </a:lnTo>
                    <a:lnTo>
                      <a:pt x="960" y="2829"/>
                    </a:lnTo>
                    <a:lnTo>
                      <a:pt x="951" y="2823"/>
                    </a:lnTo>
                    <a:lnTo>
                      <a:pt x="946" y="2817"/>
                    </a:lnTo>
                    <a:lnTo>
                      <a:pt x="942" y="2809"/>
                    </a:lnTo>
                    <a:lnTo>
                      <a:pt x="937" y="2800"/>
                    </a:lnTo>
                    <a:lnTo>
                      <a:pt x="934" y="2783"/>
                    </a:lnTo>
                    <a:lnTo>
                      <a:pt x="933" y="2766"/>
                    </a:lnTo>
                    <a:lnTo>
                      <a:pt x="932" y="2758"/>
                    </a:lnTo>
                    <a:lnTo>
                      <a:pt x="931" y="2751"/>
                    </a:lnTo>
                    <a:lnTo>
                      <a:pt x="929" y="2745"/>
                    </a:lnTo>
                    <a:lnTo>
                      <a:pt x="926" y="2741"/>
                    </a:lnTo>
                    <a:lnTo>
                      <a:pt x="924" y="2739"/>
                    </a:lnTo>
                    <a:lnTo>
                      <a:pt x="922" y="2738"/>
                    </a:lnTo>
                    <a:lnTo>
                      <a:pt x="920" y="2737"/>
                    </a:lnTo>
                    <a:lnTo>
                      <a:pt x="917" y="2737"/>
                    </a:lnTo>
                    <a:lnTo>
                      <a:pt x="909" y="2737"/>
                    </a:lnTo>
                    <a:lnTo>
                      <a:pt x="900" y="2740"/>
                    </a:lnTo>
                    <a:lnTo>
                      <a:pt x="894" y="2742"/>
                    </a:lnTo>
                    <a:lnTo>
                      <a:pt x="887" y="2743"/>
                    </a:lnTo>
                    <a:lnTo>
                      <a:pt x="883" y="2743"/>
                    </a:lnTo>
                    <a:lnTo>
                      <a:pt x="879" y="2742"/>
                    </a:lnTo>
                    <a:lnTo>
                      <a:pt x="874" y="2740"/>
                    </a:lnTo>
                    <a:lnTo>
                      <a:pt x="871" y="2737"/>
                    </a:lnTo>
                    <a:lnTo>
                      <a:pt x="868" y="2732"/>
                    </a:lnTo>
                    <a:lnTo>
                      <a:pt x="866" y="2728"/>
                    </a:lnTo>
                    <a:lnTo>
                      <a:pt x="858" y="2706"/>
                    </a:lnTo>
                    <a:lnTo>
                      <a:pt x="852" y="2684"/>
                    </a:lnTo>
                    <a:lnTo>
                      <a:pt x="850" y="2676"/>
                    </a:lnTo>
                    <a:lnTo>
                      <a:pt x="848" y="2669"/>
                    </a:lnTo>
                    <a:lnTo>
                      <a:pt x="847" y="2660"/>
                    </a:lnTo>
                    <a:lnTo>
                      <a:pt x="848" y="2652"/>
                    </a:lnTo>
                    <a:lnTo>
                      <a:pt x="852" y="2634"/>
                    </a:lnTo>
                    <a:lnTo>
                      <a:pt x="856" y="2617"/>
                    </a:lnTo>
                    <a:lnTo>
                      <a:pt x="870" y="2582"/>
                    </a:lnTo>
                    <a:lnTo>
                      <a:pt x="882" y="2551"/>
                    </a:lnTo>
                    <a:lnTo>
                      <a:pt x="882" y="2549"/>
                    </a:lnTo>
                    <a:lnTo>
                      <a:pt x="881" y="2548"/>
                    </a:lnTo>
                    <a:lnTo>
                      <a:pt x="879" y="2547"/>
                    </a:lnTo>
                    <a:lnTo>
                      <a:pt x="876" y="2545"/>
                    </a:lnTo>
                    <a:lnTo>
                      <a:pt x="867" y="2545"/>
                    </a:lnTo>
                    <a:lnTo>
                      <a:pt x="857" y="2547"/>
                    </a:lnTo>
                    <a:lnTo>
                      <a:pt x="835" y="2550"/>
                    </a:lnTo>
                    <a:lnTo>
                      <a:pt x="820" y="2551"/>
                    </a:lnTo>
                    <a:lnTo>
                      <a:pt x="818" y="2550"/>
                    </a:lnTo>
                    <a:lnTo>
                      <a:pt x="816" y="2549"/>
                    </a:lnTo>
                    <a:lnTo>
                      <a:pt x="815" y="2545"/>
                    </a:lnTo>
                    <a:lnTo>
                      <a:pt x="815" y="2542"/>
                    </a:lnTo>
                    <a:lnTo>
                      <a:pt x="814" y="2534"/>
                    </a:lnTo>
                    <a:lnTo>
                      <a:pt x="815" y="2524"/>
                    </a:lnTo>
                    <a:lnTo>
                      <a:pt x="817" y="2503"/>
                    </a:lnTo>
                    <a:lnTo>
                      <a:pt x="818" y="2487"/>
                    </a:lnTo>
                    <a:lnTo>
                      <a:pt x="799" y="2468"/>
                    </a:lnTo>
                    <a:lnTo>
                      <a:pt x="780" y="2448"/>
                    </a:lnTo>
                    <a:lnTo>
                      <a:pt x="777" y="2443"/>
                    </a:lnTo>
                    <a:lnTo>
                      <a:pt x="774" y="2437"/>
                    </a:lnTo>
                    <a:lnTo>
                      <a:pt x="770" y="2431"/>
                    </a:lnTo>
                    <a:lnTo>
                      <a:pt x="769" y="2424"/>
                    </a:lnTo>
                    <a:lnTo>
                      <a:pt x="768" y="2418"/>
                    </a:lnTo>
                    <a:lnTo>
                      <a:pt x="767" y="2412"/>
                    </a:lnTo>
                    <a:lnTo>
                      <a:pt x="768" y="2404"/>
                    </a:lnTo>
                    <a:lnTo>
                      <a:pt x="770" y="2395"/>
                    </a:lnTo>
                    <a:lnTo>
                      <a:pt x="773" y="2389"/>
                    </a:lnTo>
                    <a:lnTo>
                      <a:pt x="777" y="2383"/>
                    </a:lnTo>
                    <a:lnTo>
                      <a:pt x="782" y="2379"/>
                    </a:lnTo>
                    <a:lnTo>
                      <a:pt x="788" y="2376"/>
                    </a:lnTo>
                    <a:lnTo>
                      <a:pt x="803" y="2370"/>
                    </a:lnTo>
                    <a:lnTo>
                      <a:pt x="818" y="2367"/>
                    </a:lnTo>
                    <a:lnTo>
                      <a:pt x="835" y="2364"/>
                    </a:lnTo>
                    <a:lnTo>
                      <a:pt x="851" y="2361"/>
                    </a:lnTo>
                    <a:lnTo>
                      <a:pt x="857" y="2358"/>
                    </a:lnTo>
                    <a:lnTo>
                      <a:pt x="864" y="2354"/>
                    </a:lnTo>
                    <a:lnTo>
                      <a:pt x="869" y="2350"/>
                    </a:lnTo>
                    <a:lnTo>
                      <a:pt x="873" y="2345"/>
                    </a:lnTo>
                    <a:lnTo>
                      <a:pt x="876" y="2340"/>
                    </a:lnTo>
                    <a:lnTo>
                      <a:pt x="877" y="2337"/>
                    </a:lnTo>
                    <a:lnTo>
                      <a:pt x="877" y="2333"/>
                    </a:lnTo>
                    <a:lnTo>
                      <a:pt x="876" y="2328"/>
                    </a:lnTo>
                    <a:lnTo>
                      <a:pt x="873" y="2319"/>
                    </a:lnTo>
                    <a:lnTo>
                      <a:pt x="871" y="2310"/>
                    </a:lnTo>
                    <a:lnTo>
                      <a:pt x="869" y="2301"/>
                    </a:lnTo>
                    <a:lnTo>
                      <a:pt x="869" y="2294"/>
                    </a:lnTo>
                    <a:lnTo>
                      <a:pt x="871" y="2289"/>
                    </a:lnTo>
                    <a:lnTo>
                      <a:pt x="873" y="2286"/>
                    </a:lnTo>
                    <a:lnTo>
                      <a:pt x="877" y="2284"/>
                    </a:lnTo>
                    <a:lnTo>
                      <a:pt x="881" y="2282"/>
                    </a:lnTo>
                    <a:lnTo>
                      <a:pt x="896" y="2275"/>
                    </a:lnTo>
                    <a:lnTo>
                      <a:pt x="907" y="2270"/>
                    </a:lnTo>
                    <a:lnTo>
                      <a:pt x="911" y="2267"/>
                    </a:lnTo>
                    <a:lnTo>
                      <a:pt x="915" y="2264"/>
                    </a:lnTo>
                    <a:lnTo>
                      <a:pt x="918" y="2260"/>
                    </a:lnTo>
                    <a:lnTo>
                      <a:pt x="920" y="2256"/>
                    </a:lnTo>
                    <a:lnTo>
                      <a:pt x="921" y="2253"/>
                    </a:lnTo>
                    <a:lnTo>
                      <a:pt x="922" y="2248"/>
                    </a:lnTo>
                    <a:lnTo>
                      <a:pt x="923" y="2243"/>
                    </a:lnTo>
                    <a:lnTo>
                      <a:pt x="922" y="2238"/>
                    </a:lnTo>
                    <a:lnTo>
                      <a:pt x="921" y="2225"/>
                    </a:lnTo>
                    <a:lnTo>
                      <a:pt x="918" y="2208"/>
                    </a:lnTo>
                    <a:lnTo>
                      <a:pt x="913" y="2194"/>
                    </a:lnTo>
                    <a:lnTo>
                      <a:pt x="907" y="2180"/>
                    </a:lnTo>
                    <a:lnTo>
                      <a:pt x="899" y="2167"/>
                    </a:lnTo>
                    <a:lnTo>
                      <a:pt x="891" y="2156"/>
                    </a:lnTo>
                    <a:lnTo>
                      <a:pt x="882" y="2143"/>
                    </a:lnTo>
                    <a:lnTo>
                      <a:pt x="873" y="2130"/>
                    </a:lnTo>
                    <a:lnTo>
                      <a:pt x="867" y="2116"/>
                    </a:lnTo>
                    <a:lnTo>
                      <a:pt x="860" y="2102"/>
                    </a:lnTo>
                    <a:lnTo>
                      <a:pt x="856" y="2085"/>
                    </a:lnTo>
                    <a:lnTo>
                      <a:pt x="853" y="2068"/>
                    </a:lnTo>
                    <a:lnTo>
                      <a:pt x="850" y="2051"/>
                    </a:lnTo>
                    <a:lnTo>
                      <a:pt x="846" y="2034"/>
                    </a:lnTo>
                    <a:lnTo>
                      <a:pt x="843" y="2016"/>
                    </a:lnTo>
                    <a:lnTo>
                      <a:pt x="838" y="2000"/>
                    </a:lnTo>
                    <a:lnTo>
                      <a:pt x="834" y="1991"/>
                    </a:lnTo>
                    <a:lnTo>
                      <a:pt x="831" y="1984"/>
                    </a:lnTo>
                    <a:lnTo>
                      <a:pt x="827" y="1975"/>
                    </a:lnTo>
                    <a:lnTo>
                      <a:pt x="822" y="1968"/>
                    </a:lnTo>
                    <a:lnTo>
                      <a:pt x="813" y="1955"/>
                    </a:lnTo>
                    <a:lnTo>
                      <a:pt x="803" y="1942"/>
                    </a:lnTo>
                    <a:lnTo>
                      <a:pt x="793" y="1929"/>
                    </a:lnTo>
                    <a:lnTo>
                      <a:pt x="781" y="1918"/>
                    </a:lnTo>
                    <a:lnTo>
                      <a:pt x="769" y="1907"/>
                    </a:lnTo>
                    <a:lnTo>
                      <a:pt x="756" y="1899"/>
                    </a:lnTo>
                    <a:lnTo>
                      <a:pt x="749" y="1895"/>
                    </a:lnTo>
                    <a:lnTo>
                      <a:pt x="741" y="1892"/>
                    </a:lnTo>
                    <a:lnTo>
                      <a:pt x="734" y="1889"/>
                    </a:lnTo>
                    <a:lnTo>
                      <a:pt x="725" y="1888"/>
                    </a:lnTo>
                    <a:lnTo>
                      <a:pt x="710" y="1884"/>
                    </a:lnTo>
                    <a:lnTo>
                      <a:pt x="685" y="1881"/>
                    </a:lnTo>
                    <a:lnTo>
                      <a:pt x="672" y="1880"/>
                    </a:lnTo>
                    <a:lnTo>
                      <a:pt x="661" y="1880"/>
                    </a:lnTo>
                    <a:lnTo>
                      <a:pt x="652" y="1880"/>
                    </a:lnTo>
                    <a:lnTo>
                      <a:pt x="648" y="1881"/>
                    </a:lnTo>
                    <a:lnTo>
                      <a:pt x="645" y="1880"/>
                    </a:lnTo>
                    <a:lnTo>
                      <a:pt x="640" y="1881"/>
                    </a:lnTo>
                    <a:lnTo>
                      <a:pt x="636" y="1883"/>
                    </a:lnTo>
                    <a:lnTo>
                      <a:pt x="632" y="1888"/>
                    </a:lnTo>
                    <a:lnTo>
                      <a:pt x="627" y="1893"/>
                    </a:lnTo>
                    <a:lnTo>
                      <a:pt x="624" y="1901"/>
                    </a:lnTo>
                    <a:lnTo>
                      <a:pt x="617" y="1917"/>
                    </a:lnTo>
                    <a:lnTo>
                      <a:pt x="609" y="1934"/>
                    </a:lnTo>
                    <a:lnTo>
                      <a:pt x="606" y="1943"/>
                    </a:lnTo>
                    <a:lnTo>
                      <a:pt x="601" y="1949"/>
                    </a:lnTo>
                    <a:lnTo>
                      <a:pt x="598" y="1954"/>
                    </a:lnTo>
                    <a:lnTo>
                      <a:pt x="594" y="1957"/>
                    </a:lnTo>
                    <a:lnTo>
                      <a:pt x="593" y="1958"/>
                    </a:lnTo>
                    <a:lnTo>
                      <a:pt x="591" y="1958"/>
                    </a:lnTo>
                    <a:lnTo>
                      <a:pt x="588" y="1957"/>
                    </a:lnTo>
                    <a:lnTo>
                      <a:pt x="586" y="1955"/>
                    </a:lnTo>
                    <a:lnTo>
                      <a:pt x="582" y="1949"/>
                    </a:lnTo>
                    <a:lnTo>
                      <a:pt x="578" y="1941"/>
                    </a:lnTo>
                    <a:lnTo>
                      <a:pt x="573" y="1931"/>
                    </a:lnTo>
                    <a:lnTo>
                      <a:pt x="569" y="1926"/>
                    </a:lnTo>
                    <a:lnTo>
                      <a:pt x="567" y="1923"/>
                    </a:lnTo>
                    <a:lnTo>
                      <a:pt x="565" y="1923"/>
                    </a:lnTo>
                    <a:lnTo>
                      <a:pt x="561" y="1922"/>
                    </a:lnTo>
                    <a:lnTo>
                      <a:pt x="559" y="1923"/>
                    </a:lnTo>
                    <a:lnTo>
                      <a:pt x="555" y="1926"/>
                    </a:lnTo>
                    <a:lnTo>
                      <a:pt x="550" y="1930"/>
                    </a:lnTo>
                    <a:lnTo>
                      <a:pt x="546" y="1934"/>
                    </a:lnTo>
                    <a:lnTo>
                      <a:pt x="541" y="1940"/>
                    </a:lnTo>
                    <a:lnTo>
                      <a:pt x="536" y="1944"/>
                    </a:lnTo>
                    <a:lnTo>
                      <a:pt x="532" y="1948"/>
                    </a:lnTo>
                    <a:lnTo>
                      <a:pt x="528" y="1951"/>
                    </a:lnTo>
                    <a:lnTo>
                      <a:pt x="522" y="1951"/>
                    </a:lnTo>
                    <a:lnTo>
                      <a:pt x="520" y="1951"/>
                    </a:lnTo>
                    <a:lnTo>
                      <a:pt x="518" y="1949"/>
                    </a:lnTo>
                    <a:lnTo>
                      <a:pt x="516" y="1947"/>
                    </a:lnTo>
                    <a:lnTo>
                      <a:pt x="513" y="1945"/>
                    </a:lnTo>
                    <a:lnTo>
                      <a:pt x="508" y="1935"/>
                    </a:lnTo>
                    <a:lnTo>
                      <a:pt x="503" y="1922"/>
                    </a:lnTo>
                    <a:lnTo>
                      <a:pt x="501" y="1915"/>
                    </a:lnTo>
                    <a:lnTo>
                      <a:pt x="497" y="1908"/>
                    </a:lnTo>
                    <a:lnTo>
                      <a:pt x="494" y="1903"/>
                    </a:lnTo>
                    <a:lnTo>
                      <a:pt x="492" y="1899"/>
                    </a:lnTo>
                    <a:lnTo>
                      <a:pt x="489" y="1896"/>
                    </a:lnTo>
                    <a:lnTo>
                      <a:pt x="485" y="1894"/>
                    </a:lnTo>
                    <a:lnTo>
                      <a:pt x="482" y="1893"/>
                    </a:lnTo>
                    <a:lnTo>
                      <a:pt x="478" y="1893"/>
                    </a:lnTo>
                    <a:lnTo>
                      <a:pt x="470" y="1896"/>
                    </a:lnTo>
                    <a:lnTo>
                      <a:pt x="462" y="1902"/>
                    </a:lnTo>
                    <a:lnTo>
                      <a:pt x="452" y="1909"/>
                    </a:lnTo>
                    <a:lnTo>
                      <a:pt x="440" y="1918"/>
                    </a:lnTo>
                    <a:lnTo>
                      <a:pt x="428" y="1929"/>
                    </a:lnTo>
                    <a:lnTo>
                      <a:pt x="416" y="1938"/>
                    </a:lnTo>
                    <a:lnTo>
                      <a:pt x="405" y="1947"/>
                    </a:lnTo>
                    <a:lnTo>
                      <a:pt x="395" y="1953"/>
                    </a:lnTo>
                    <a:lnTo>
                      <a:pt x="390" y="1955"/>
                    </a:lnTo>
                    <a:lnTo>
                      <a:pt x="386" y="1955"/>
                    </a:lnTo>
                    <a:lnTo>
                      <a:pt x="380" y="1954"/>
                    </a:lnTo>
                    <a:lnTo>
                      <a:pt x="376" y="1950"/>
                    </a:lnTo>
                    <a:lnTo>
                      <a:pt x="372" y="1946"/>
                    </a:lnTo>
                    <a:lnTo>
                      <a:pt x="367" y="1940"/>
                    </a:lnTo>
                    <a:lnTo>
                      <a:pt x="363" y="1932"/>
                    </a:lnTo>
                    <a:lnTo>
                      <a:pt x="359" y="1921"/>
                    </a:lnTo>
                    <a:lnTo>
                      <a:pt x="355" y="1916"/>
                    </a:lnTo>
                    <a:lnTo>
                      <a:pt x="353" y="1910"/>
                    </a:lnTo>
                    <a:lnTo>
                      <a:pt x="350" y="1906"/>
                    </a:lnTo>
                    <a:lnTo>
                      <a:pt x="347" y="1903"/>
                    </a:lnTo>
                    <a:lnTo>
                      <a:pt x="343" y="1900"/>
                    </a:lnTo>
                    <a:lnTo>
                      <a:pt x="339" y="1897"/>
                    </a:lnTo>
                    <a:lnTo>
                      <a:pt x="336" y="1896"/>
                    </a:lnTo>
                    <a:lnTo>
                      <a:pt x="332" y="1895"/>
                    </a:lnTo>
                    <a:lnTo>
                      <a:pt x="323" y="1896"/>
                    </a:lnTo>
                    <a:lnTo>
                      <a:pt x="313" y="1899"/>
                    </a:lnTo>
                    <a:lnTo>
                      <a:pt x="303" y="1902"/>
                    </a:lnTo>
                    <a:lnTo>
                      <a:pt x="294" y="1907"/>
                    </a:lnTo>
                    <a:lnTo>
                      <a:pt x="274" y="1920"/>
                    </a:lnTo>
                    <a:lnTo>
                      <a:pt x="256" y="1934"/>
                    </a:lnTo>
                    <a:lnTo>
                      <a:pt x="239" y="1946"/>
                    </a:lnTo>
                    <a:lnTo>
                      <a:pt x="226" y="1956"/>
                    </a:lnTo>
                    <a:lnTo>
                      <a:pt x="221" y="1958"/>
                    </a:lnTo>
                    <a:lnTo>
                      <a:pt x="214" y="1960"/>
                    </a:lnTo>
                    <a:lnTo>
                      <a:pt x="209" y="1961"/>
                    </a:lnTo>
                    <a:lnTo>
                      <a:pt x="205" y="1962"/>
                    </a:lnTo>
                    <a:lnTo>
                      <a:pt x="199" y="1962"/>
                    </a:lnTo>
                    <a:lnTo>
                      <a:pt x="195" y="1961"/>
                    </a:lnTo>
                    <a:lnTo>
                      <a:pt x="190" y="1959"/>
                    </a:lnTo>
                    <a:lnTo>
                      <a:pt x="185" y="1957"/>
                    </a:lnTo>
                    <a:lnTo>
                      <a:pt x="178" y="1951"/>
                    </a:lnTo>
                    <a:lnTo>
                      <a:pt x="170" y="1944"/>
                    </a:lnTo>
                    <a:lnTo>
                      <a:pt x="162" y="1934"/>
                    </a:lnTo>
                    <a:lnTo>
                      <a:pt x="157" y="1923"/>
                    </a:lnTo>
                    <a:lnTo>
                      <a:pt x="152" y="1911"/>
                    </a:lnTo>
                    <a:lnTo>
                      <a:pt x="146" y="1900"/>
                    </a:lnTo>
                    <a:lnTo>
                      <a:pt x="143" y="1888"/>
                    </a:lnTo>
                    <a:lnTo>
                      <a:pt x="139" y="1875"/>
                    </a:lnTo>
                    <a:lnTo>
                      <a:pt x="133" y="1852"/>
                    </a:lnTo>
                    <a:lnTo>
                      <a:pt x="130" y="1833"/>
                    </a:lnTo>
                    <a:lnTo>
                      <a:pt x="126" y="1800"/>
                    </a:lnTo>
                    <a:lnTo>
                      <a:pt x="123" y="1783"/>
                    </a:lnTo>
                    <a:lnTo>
                      <a:pt x="122" y="1782"/>
                    </a:lnTo>
                    <a:lnTo>
                      <a:pt x="120" y="1781"/>
                    </a:lnTo>
                    <a:lnTo>
                      <a:pt x="118" y="1782"/>
                    </a:lnTo>
                    <a:lnTo>
                      <a:pt x="115" y="1784"/>
                    </a:lnTo>
                    <a:lnTo>
                      <a:pt x="106" y="1792"/>
                    </a:lnTo>
                    <a:lnTo>
                      <a:pt x="92" y="1805"/>
                    </a:lnTo>
                    <a:lnTo>
                      <a:pt x="77" y="1819"/>
                    </a:lnTo>
                    <a:lnTo>
                      <a:pt x="66" y="1829"/>
                    </a:lnTo>
                    <a:lnTo>
                      <a:pt x="62" y="1833"/>
                    </a:lnTo>
                    <a:lnTo>
                      <a:pt x="57" y="1835"/>
                    </a:lnTo>
                    <a:lnTo>
                      <a:pt x="54" y="1836"/>
                    </a:lnTo>
                    <a:lnTo>
                      <a:pt x="51" y="1836"/>
                    </a:lnTo>
                    <a:lnTo>
                      <a:pt x="48" y="1835"/>
                    </a:lnTo>
                    <a:lnTo>
                      <a:pt x="45" y="1832"/>
                    </a:lnTo>
                    <a:lnTo>
                      <a:pt x="42" y="1828"/>
                    </a:lnTo>
                    <a:lnTo>
                      <a:pt x="40" y="1824"/>
                    </a:lnTo>
                    <a:lnTo>
                      <a:pt x="34" y="1812"/>
                    </a:lnTo>
                    <a:lnTo>
                      <a:pt x="26" y="1797"/>
                    </a:lnTo>
                    <a:lnTo>
                      <a:pt x="0" y="1724"/>
                    </a:lnTo>
                    <a:lnTo>
                      <a:pt x="0" y="1724"/>
                    </a:lnTo>
                    <a:lnTo>
                      <a:pt x="11" y="1713"/>
                    </a:lnTo>
                    <a:lnTo>
                      <a:pt x="21" y="1700"/>
                    </a:lnTo>
                    <a:lnTo>
                      <a:pt x="29" y="1688"/>
                    </a:lnTo>
                    <a:lnTo>
                      <a:pt x="38" y="1674"/>
                    </a:lnTo>
                    <a:lnTo>
                      <a:pt x="47" y="1661"/>
                    </a:lnTo>
                    <a:lnTo>
                      <a:pt x="56" y="1649"/>
                    </a:lnTo>
                    <a:lnTo>
                      <a:pt x="67" y="1637"/>
                    </a:lnTo>
                    <a:lnTo>
                      <a:pt x="79" y="1626"/>
                    </a:lnTo>
                    <a:lnTo>
                      <a:pt x="97" y="1612"/>
                    </a:lnTo>
                    <a:lnTo>
                      <a:pt x="115" y="1596"/>
                    </a:lnTo>
                    <a:lnTo>
                      <a:pt x="131" y="1578"/>
                    </a:lnTo>
                    <a:lnTo>
                      <a:pt x="147" y="1559"/>
                    </a:lnTo>
                    <a:lnTo>
                      <a:pt x="164" y="1539"/>
                    </a:lnTo>
                    <a:lnTo>
                      <a:pt x="178" y="1517"/>
                    </a:lnTo>
                    <a:lnTo>
                      <a:pt x="193" y="1496"/>
                    </a:lnTo>
                    <a:lnTo>
                      <a:pt x="206" y="1473"/>
                    </a:lnTo>
                    <a:lnTo>
                      <a:pt x="232" y="1427"/>
                    </a:lnTo>
                    <a:lnTo>
                      <a:pt x="257" y="1380"/>
                    </a:lnTo>
                    <a:lnTo>
                      <a:pt x="280" y="1336"/>
                    </a:lnTo>
                    <a:lnTo>
                      <a:pt x="301" y="1293"/>
                    </a:lnTo>
                    <a:lnTo>
                      <a:pt x="313" y="1270"/>
                    </a:lnTo>
                    <a:lnTo>
                      <a:pt x="323" y="1247"/>
                    </a:lnTo>
                    <a:lnTo>
                      <a:pt x="332" y="1225"/>
                    </a:lnTo>
                    <a:lnTo>
                      <a:pt x="339" y="1202"/>
                    </a:lnTo>
                    <a:lnTo>
                      <a:pt x="347" y="1180"/>
                    </a:lnTo>
                    <a:lnTo>
                      <a:pt x="352" y="1159"/>
                    </a:lnTo>
                    <a:lnTo>
                      <a:pt x="358" y="1136"/>
                    </a:lnTo>
                    <a:lnTo>
                      <a:pt x="363" y="1114"/>
                    </a:lnTo>
                    <a:lnTo>
                      <a:pt x="372" y="1070"/>
                    </a:lnTo>
                    <a:lnTo>
                      <a:pt x="381" y="1026"/>
                    </a:lnTo>
                    <a:lnTo>
                      <a:pt x="387" y="1002"/>
                    </a:lnTo>
                    <a:lnTo>
                      <a:pt x="392" y="979"/>
                    </a:lnTo>
                    <a:lnTo>
                      <a:pt x="399" y="956"/>
                    </a:lnTo>
                    <a:lnTo>
                      <a:pt x="406" y="932"/>
                    </a:lnTo>
                    <a:lnTo>
                      <a:pt x="405" y="914"/>
                    </a:lnTo>
                    <a:lnTo>
                      <a:pt x="403" y="897"/>
                    </a:lnTo>
                    <a:lnTo>
                      <a:pt x="401" y="882"/>
                    </a:lnTo>
                    <a:lnTo>
                      <a:pt x="397" y="869"/>
                    </a:lnTo>
                    <a:lnTo>
                      <a:pt x="392" y="856"/>
                    </a:lnTo>
                    <a:lnTo>
                      <a:pt x="386" y="844"/>
                    </a:lnTo>
                    <a:lnTo>
                      <a:pt x="380" y="834"/>
                    </a:lnTo>
                    <a:lnTo>
                      <a:pt x="373" y="824"/>
                    </a:lnTo>
                    <a:lnTo>
                      <a:pt x="359" y="803"/>
                    </a:lnTo>
                    <a:lnTo>
                      <a:pt x="341" y="783"/>
                    </a:lnTo>
                    <a:lnTo>
                      <a:pt x="324" y="761"/>
                    </a:lnTo>
                    <a:lnTo>
                      <a:pt x="307" y="735"/>
                    </a:lnTo>
                    <a:lnTo>
                      <a:pt x="285" y="695"/>
                    </a:lnTo>
                    <a:lnTo>
                      <a:pt x="262" y="657"/>
                    </a:lnTo>
                    <a:lnTo>
                      <a:pt x="256" y="647"/>
                    </a:lnTo>
                    <a:lnTo>
                      <a:pt x="248" y="639"/>
                    </a:lnTo>
                    <a:lnTo>
                      <a:pt x="241" y="632"/>
                    </a:lnTo>
                    <a:lnTo>
                      <a:pt x="232" y="625"/>
                    </a:lnTo>
                    <a:lnTo>
                      <a:pt x="222" y="620"/>
                    </a:lnTo>
                    <a:lnTo>
                      <a:pt x="212" y="615"/>
                    </a:lnTo>
                    <a:lnTo>
                      <a:pt x="200" y="613"/>
                    </a:lnTo>
                    <a:lnTo>
                      <a:pt x="188" y="611"/>
                    </a:lnTo>
                    <a:lnTo>
                      <a:pt x="178" y="610"/>
                    </a:lnTo>
                    <a:lnTo>
                      <a:pt x="169" y="609"/>
                    </a:lnTo>
                    <a:lnTo>
                      <a:pt x="160" y="606"/>
                    </a:lnTo>
                    <a:lnTo>
                      <a:pt x="154" y="603"/>
                    </a:lnTo>
                    <a:lnTo>
                      <a:pt x="148" y="598"/>
                    </a:lnTo>
                    <a:lnTo>
                      <a:pt x="144" y="593"/>
                    </a:lnTo>
                    <a:lnTo>
                      <a:pt x="141" y="587"/>
                    </a:lnTo>
                    <a:lnTo>
                      <a:pt x="139" y="581"/>
                    </a:lnTo>
                    <a:lnTo>
                      <a:pt x="138" y="573"/>
                    </a:lnTo>
                    <a:lnTo>
                      <a:pt x="136" y="567"/>
                    </a:lnTo>
                    <a:lnTo>
                      <a:pt x="136" y="558"/>
                    </a:lnTo>
                    <a:lnTo>
                      <a:pt x="138" y="551"/>
                    </a:lnTo>
                    <a:lnTo>
                      <a:pt x="142" y="532"/>
                    </a:lnTo>
                    <a:lnTo>
                      <a:pt x="147" y="514"/>
                    </a:lnTo>
                    <a:lnTo>
                      <a:pt x="154" y="495"/>
                    </a:lnTo>
                    <a:lnTo>
                      <a:pt x="162" y="476"/>
                    </a:lnTo>
                    <a:lnTo>
                      <a:pt x="171" y="457"/>
                    </a:lnTo>
                    <a:lnTo>
                      <a:pt x="180" y="438"/>
                    </a:lnTo>
                    <a:lnTo>
                      <a:pt x="188" y="420"/>
                    </a:lnTo>
                    <a:lnTo>
                      <a:pt x="195" y="405"/>
                    </a:lnTo>
                    <a:lnTo>
                      <a:pt x="201" y="390"/>
                    </a:lnTo>
                    <a:lnTo>
                      <a:pt x="205" y="378"/>
                    </a:lnTo>
                    <a:lnTo>
                      <a:pt x="209" y="361"/>
                    </a:lnTo>
                    <a:lnTo>
                      <a:pt x="211" y="343"/>
                    </a:lnTo>
                    <a:lnTo>
                      <a:pt x="213" y="327"/>
                    </a:lnTo>
                    <a:lnTo>
                      <a:pt x="213" y="312"/>
                    </a:lnTo>
                    <a:lnTo>
                      <a:pt x="213" y="297"/>
                    </a:lnTo>
                    <a:lnTo>
                      <a:pt x="211" y="281"/>
                    </a:lnTo>
                    <a:lnTo>
                      <a:pt x="209" y="263"/>
                    </a:lnTo>
                    <a:lnTo>
                      <a:pt x="206" y="245"/>
                    </a:lnTo>
                    <a:lnTo>
                      <a:pt x="205" y="233"/>
                    </a:lnTo>
                    <a:lnTo>
                      <a:pt x="204" y="222"/>
                    </a:lnTo>
                    <a:lnTo>
                      <a:pt x="204" y="222"/>
                    </a:lnTo>
                    <a:lnTo>
                      <a:pt x="251" y="257"/>
                    </a:lnTo>
                    <a:lnTo>
                      <a:pt x="249" y="272"/>
                    </a:lnTo>
                    <a:lnTo>
                      <a:pt x="249" y="288"/>
                    </a:lnTo>
                    <a:lnTo>
                      <a:pt x="251" y="306"/>
                    </a:lnTo>
                    <a:lnTo>
                      <a:pt x="255" y="323"/>
                    </a:lnTo>
                    <a:lnTo>
                      <a:pt x="262" y="357"/>
                    </a:lnTo>
                    <a:lnTo>
                      <a:pt x="271" y="387"/>
                    </a:lnTo>
                    <a:lnTo>
                      <a:pt x="287" y="385"/>
                    </a:lnTo>
                    <a:lnTo>
                      <a:pt x="302" y="383"/>
                    </a:lnTo>
                    <a:lnTo>
                      <a:pt x="316" y="380"/>
                    </a:lnTo>
                    <a:lnTo>
                      <a:pt x="328" y="376"/>
                    </a:lnTo>
                    <a:lnTo>
                      <a:pt x="340" y="370"/>
                    </a:lnTo>
                    <a:lnTo>
                      <a:pt x="351" y="364"/>
                    </a:lnTo>
                    <a:lnTo>
                      <a:pt x="361" y="357"/>
                    </a:lnTo>
                    <a:lnTo>
                      <a:pt x="371" y="349"/>
                    </a:lnTo>
                    <a:lnTo>
                      <a:pt x="388" y="330"/>
                    </a:lnTo>
                    <a:lnTo>
                      <a:pt x="406" y="311"/>
                    </a:lnTo>
                    <a:lnTo>
                      <a:pt x="425" y="289"/>
                    </a:lnTo>
                    <a:lnTo>
                      <a:pt x="445" y="267"/>
                    </a:lnTo>
                    <a:lnTo>
                      <a:pt x="453" y="260"/>
                    </a:lnTo>
                    <a:lnTo>
                      <a:pt x="459" y="257"/>
                    </a:lnTo>
                    <a:lnTo>
                      <a:pt x="462" y="257"/>
                    </a:lnTo>
                    <a:lnTo>
                      <a:pt x="465" y="257"/>
                    </a:lnTo>
                    <a:lnTo>
                      <a:pt x="467" y="257"/>
                    </a:lnTo>
                    <a:lnTo>
                      <a:pt x="469" y="259"/>
                    </a:lnTo>
                    <a:lnTo>
                      <a:pt x="472" y="263"/>
                    </a:lnTo>
                    <a:lnTo>
                      <a:pt x="475" y="269"/>
                    </a:lnTo>
                    <a:lnTo>
                      <a:pt x="478" y="276"/>
                    </a:lnTo>
                    <a:lnTo>
                      <a:pt x="480" y="285"/>
                    </a:lnTo>
                    <a:lnTo>
                      <a:pt x="482" y="294"/>
                    </a:lnTo>
                    <a:lnTo>
                      <a:pt x="485" y="302"/>
                    </a:lnTo>
                    <a:lnTo>
                      <a:pt x="489" y="311"/>
                    </a:lnTo>
                    <a:lnTo>
                      <a:pt x="493" y="320"/>
                    </a:lnTo>
                    <a:lnTo>
                      <a:pt x="498" y="326"/>
                    </a:lnTo>
                    <a:lnTo>
                      <a:pt x="505" y="331"/>
                    </a:lnTo>
                    <a:lnTo>
                      <a:pt x="509" y="334"/>
                    </a:lnTo>
                    <a:lnTo>
                      <a:pt x="514" y="336"/>
                    </a:lnTo>
                    <a:lnTo>
                      <a:pt x="518" y="336"/>
                    </a:lnTo>
                    <a:lnTo>
                      <a:pt x="522" y="337"/>
                    </a:lnTo>
                    <a:lnTo>
                      <a:pt x="530" y="336"/>
                    </a:lnTo>
                    <a:lnTo>
                      <a:pt x="537" y="335"/>
                    </a:lnTo>
                    <a:lnTo>
                      <a:pt x="545" y="331"/>
                    </a:lnTo>
                    <a:lnTo>
                      <a:pt x="553" y="328"/>
                    </a:lnTo>
                    <a:lnTo>
                      <a:pt x="570" y="318"/>
                    </a:lnTo>
                    <a:lnTo>
                      <a:pt x="587" y="307"/>
                    </a:lnTo>
                    <a:lnTo>
                      <a:pt x="604" y="295"/>
                    </a:lnTo>
                    <a:lnTo>
                      <a:pt x="621" y="283"/>
                    </a:lnTo>
                    <a:lnTo>
                      <a:pt x="636" y="273"/>
                    </a:lnTo>
                    <a:lnTo>
                      <a:pt x="650" y="264"/>
                    </a:lnTo>
                    <a:lnTo>
                      <a:pt x="654" y="263"/>
                    </a:lnTo>
                    <a:lnTo>
                      <a:pt x="658" y="262"/>
                    </a:lnTo>
                    <a:lnTo>
                      <a:pt x="662" y="261"/>
                    </a:lnTo>
                    <a:lnTo>
                      <a:pt x="665" y="261"/>
                    </a:lnTo>
                    <a:lnTo>
                      <a:pt x="673" y="263"/>
                    </a:lnTo>
                    <a:lnTo>
                      <a:pt x="679" y="267"/>
                    </a:lnTo>
                    <a:lnTo>
                      <a:pt x="686" y="272"/>
                    </a:lnTo>
                    <a:lnTo>
                      <a:pt x="691" y="279"/>
                    </a:lnTo>
                    <a:lnTo>
                      <a:pt x="697" y="286"/>
                    </a:lnTo>
                    <a:lnTo>
                      <a:pt x="702" y="295"/>
                    </a:lnTo>
                    <a:lnTo>
                      <a:pt x="713" y="313"/>
                    </a:lnTo>
                    <a:lnTo>
                      <a:pt x="723" y="333"/>
                    </a:lnTo>
                    <a:lnTo>
                      <a:pt x="727" y="342"/>
                    </a:lnTo>
                    <a:lnTo>
                      <a:pt x="733" y="351"/>
                    </a:lnTo>
                    <a:lnTo>
                      <a:pt x="738" y="358"/>
                    </a:lnTo>
                    <a:lnTo>
                      <a:pt x="743" y="366"/>
                    </a:lnTo>
                    <a:lnTo>
                      <a:pt x="749" y="370"/>
                    </a:lnTo>
                    <a:lnTo>
                      <a:pt x="753" y="374"/>
                    </a:lnTo>
                    <a:lnTo>
                      <a:pt x="759" y="377"/>
                    </a:lnTo>
                    <a:lnTo>
                      <a:pt x="763" y="378"/>
                    </a:lnTo>
                    <a:lnTo>
                      <a:pt x="767" y="378"/>
                    </a:lnTo>
                    <a:lnTo>
                      <a:pt x="773" y="378"/>
                    </a:lnTo>
                    <a:lnTo>
                      <a:pt x="777" y="377"/>
                    </a:lnTo>
                    <a:lnTo>
                      <a:pt x="780" y="375"/>
                    </a:lnTo>
                    <a:lnTo>
                      <a:pt x="789" y="369"/>
                    </a:lnTo>
                    <a:lnTo>
                      <a:pt x="796" y="363"/>
                    </a:lnTo>
                    <a:lnTo>
                      <a:pt x="804" y="355"/>
                    </a:lnTo>
                    <a:lnTo>
                      <a:pt x="812" y="349"/>
                    </a:lnTo>
                    <a:lnTo>
                      <a:pt x="816" y="344"/>
                    </a:lnTo>
                    <a:lnTo>
                      <a:pt x="821" y="342"/>
                    </a:lnTo>
                    <a:lnTo>
                      <a:pt x="826" y="341"/>
                    </a:lnTo>
                    <a:lnTo>
                      <a:pt x="831" y="340"/>
                    </a:lnTo>
                    <a:lnTo>
                      <a:pt x="841" y="341"/>
                    </a:lnTo>
                    <a:lnTo>
                      <a:pt x="852" y="343"/>
                    </a:lnTo>
                    <a:lnTo>
                      <a:pt x="863" y="348"/>
                    </a:lnTo>
                    <a:lnTo>
                      <a:pt x="873" y="352"/>
                    </a:lnTo>
                    <a:lnTo>
                      <a:pt x="883" y="355"/>
                    </a:lnTo>
                    <a:lnTo>
                      <a:pt x="893" y="357"/>
                    </a:lnTo>
                    <a:lnTo>
                      <a:pt x="923" y="361"/>
                    </a:lnTo>
                    <a:lnTo>
                      <a:pt x="962" y="367"/>
                    </a:lnTo>
                    <a:lnTo>
                      <a:pt x="971" y="367"/>
                    </a:lnTo>
                    <a:lnTo>
                      <a:pt x="980" y="367"/>
                    </a:lnTo>
                    <a:lnTo>
                      <a:pt x="988" y="367"/>
                    </a:lnTo>
                    <a:lnTo>
                      <a:pt x="995" y="365"/>
                    </a:lnTo>
                    <a:lnTo>
                      <a:pt x="1000" y="362"/>
                    </a:lnTo>
                    <a:lnTo>
                      <a:pt x="1005" y="357"/>
                    </a:lnTo>
                    <a:lnTo>
                      <a:pt x="1007" y="354"/>
                    </a:lnTo>
                    <a:lnTo>
                      <a:pt x="1007" y="351"/>
                    </a:lnTo>
                    <a:lnTo>
                      <a:pt x="1008" y="347"/>
                    </a:lnTo>
                    <a:lnTo>
                      <a:pt x="1008" y="343"/>
                    </a:lnTo>
                    <a:lnTo>
                      <a:pt x="1008" y="327"/>
                    </a:lnTo>
                    <a:lnTo>
                      <a:pt x="1011" y="313"/>
                    </a:lnTo>
                    <a:lnTo>
                      <a:pt x="1014" y="299"/>
                    </a:lnTo>
                    <a:lnTo>
                      <a:pt x="1021" y="286"/>
                    </a:lnTo>
                    <a:lnTo>
                      <a:pt x="1028" y="273"/>
                    </a:lnTo>
                    <a:lnTo>
                      <a:pt x="1037" y="261"/>
                    </a:lnTo>
                    <a:lnTo>
                      <a:pt x="1047" y="250"/>
                    </a:lnTo>
                    <a:lnTo>
                      <a:pt x="1058" y="241"/>
                    </a:lnTo>
                    <a:lnTo>
                      <a:pt x="1070" y="231"/>
                    </a:lnTo>
                    <a:lnTo>
                      <a:pt x="1081" y="221"/>
                    </a:lnTo>
                    <a:lnTo>
                      <a:pt x="1094" y="213"/>
                    </a:lnTo>
                    <a:lnTo>
                      <a:pt x="1109" y="205"/>
                    </a:lnTo>
                    <a:lnTo>
                      <a:pt x="1136" y="191"/>
                    </a:lnTo>
                    <a:lnTo>
                      <a:pt x="1163" y="179"/>
                    </a:lnTo>
                    <a:lnTo>
                      <a:pt x="1168" y="177"/>
                    </a:lnTo>
                    <a:lnTo>
                      <a:pt x="1175" y="176"/>
                    </a:lnTo>
                    <a:lnTo>
                      <a:pt x="1180" y="176"/>
                    </a:lnTo>
                    <a:lnTo>
                      <a:pt x="1185" y="178"/>
                    </a:lnTo>
                    <a:lnTo>
                      <a:pt x="1190" y="179"/>
                    </a:lnTo>
                    <a:lnTo>
                      <a:pt x="1194" y="182"/>
                    </a:lnTo>
                    <a:lnTo>
                      <a:pt x="1198" y="187"/>
                    </a:lnTo>
                    <a:lnTo>
                      <a:pt x="1203" y="191"/>
                    </a:lnTo>
                    <a:lnTo>
                      <a:pt x="1209" y="202"/>
                    </a:lnTo>
                    <a:lnTo>
                      <a:pt x="1215" y="215"/>
                    </a:lnTo>
                    <a:lnTo>
                      <a:pt x="1220" y="230"/>
                    </a:lnTo>
                    <a:lnTo>
                      <a:pt x="1223" y="246"/>
                    </a:lnTo>
                    <a:lnTo>
                      <a:pt x="1230" y="280"/>
                    </a:lnTo>
                    <a:lnTo>
                      <a:pt x="1233" y="312"/>
                    </a:lnTo>
                    <a:lnTo>
                      <a:pt x="1235" y="338"/>
                    </a:lnTo>
                    <a:lnTo>
                      <a:pt x="1239" y="354"/>
                    </a:lnTo>
                    <a:lnTo>
                      <a:pt x="1243" y="353"/>
                    </a:lnTo>
                    <a:lnTo>
                      <a:pt x="1249" y="348"/>
                    </a:lnTo>
                    <a:lnTo>
                      <a:pt x="1257" y="341"/>
                    </a:lnTo>
                    <a:lnTo>
                      <a:pt x="1266" y="334"/>
                    </a:lnTo>
                    <a:lnTo>
                      <a:pt x="1275" y="325"/>
                    </a:lnTo>
                    <a:lnTo>
                      <a:pt x="1284" y="317"/>
                    </a:lnTo>
                    <a:lnTo>
                      <a:pt x="1293" y="311"/>
                    </a:lnTo>
                    <a:lnTo>
                      <a:pt x="1301" y="307"/>
                    </a:lnTo>
                    <a:lnTo>
                      <a:pt x="1318" y="302"/>
                    </a:lnTo>
                    <a:lnTo>
                      <a:pt x="1334" y="299"/>
                    </a:lnTo>
                    <a:lnTo>
                      <a:pt x="1351" y="296"/>
                    </a:lnTo>
                    <a:lnTo>
                      <a:pt x="1369" y="294"/>
                    </a:lnTo>
                    <a:lnTo>
                      <a:pt x="1387" y="293"/>
                    </a:lnTo>
                    <a:lnTo>
                      <a:pt x="1407" y="293"/>
                    </a:lnTo>
                    <a:lnTo>
                      <a:pt x="1425" y="293"/>
                    </a:lnTo>
                    <a:lnTo>
                      <a:pt x="1444" y="294"/>
                    </a:lnTo>
                    <a:lnTo>
                      <a:pt x="1463" y="295"/>
                    </a:lnTo>
                    <a:lnTo>
                      <a:pt x="1482" y="297"/>
                    </a:lnTo>
                    <a:lnTo>
                      <a:pt x="1501" y="300"/>
                    </a:lnTo>
                    <a:lnTo>
                      <a:pt x="1518" y="303"/>
                    </a:lnTo>
                    <a:lnTo>
                      <a:pt x="1536" y="307"/>
                    </a:lnTo>
                    <a:lnTo>
                      <a:pt x="1553" y="311"/>
                    </a:lnTo>
                    <a:lnTo>
                      <a:pt x="1569" y="316"/>
                    </a:lnTo>
                    <a:lnTo>
                      <a:pt x="1584" y="321"/>
                    </a:lnTo>
                    <a:lnTo>
                      <a:pt x="1588" y="323"/>
                    </a:lnTo>
                    <a:lnTo>
                      <a:pt x="1589" y="325"/>
                    </a:lnTo>
                    <a:lnTo>
                      <a:pt x="1602" y="326"/>
                    </a:lnTo>
                    <a:lnTo>
                      <a:pt x="1612" y="326"/>
                    </a:lnTo>
                    <a:lnTo>
                      <a:pt x="1623" y="326"/>
                    </a:lnTo>
                    <a:lnTo>
                      <a:pt x="1633" y="324"/>
                    </a:lnTo>
                    <a:lnTo>
                      <a:pt x="1642" y="322"/>
                    </a:lnTo>
                    <a:lnTo>
                      <a:pt x="1650" y="318"/>
                    </a:lnTo>
                    <a:lnTo>
                      <a:pt x="1659" y="314"/>
                    </a:lnTo>
                    <a:lnTo>
                      <a:pt x="1668" y="310"/>
                    </a:lnTo>
                    <a:lnTo>
                      <a:pt x="1702" y="287"/>
                    </a:lnTo>
                    <a:lnTo>
                      <a:pt x="1743" y="259"/>
                    </a:lnTo>
                    <a:lnTo>
                      <a:pt x="1754" y="252"/>
                    </a:lnTo>
                    <a:lnTo>
                      <a:pt x="1765" y="246"/>
                    </a:lnTo>
                    <a:lnTo>
                      <a:pt x="1775" y="242"/>
                    </a:lnTo>
                    <a:lnTo>
                      <a:pt x="1785" y="239"/>
                    </a:lnTo>
                    <a:lnTo>
                      <a:pt x="1793" y="236"/>
                    </a:lnTo>
                    <a:lnTo>
                      <a:pt x="1802" y="234"/>
                    </a:lnTo>
                    <a:lnTo>
                      <a:pt x="1811" y="234"/>
                    </a:lnTo>
                    <a:lnTo>
                      <a:pt x="1818" y="234"/>
                    </a:lnTo>
                    <a:lnTo>
                      <a:pt x="1826" y="235"/>
                    </a:lnTo>
                    <a:lnTo>
                      <a:pt x="1832" y="236"/>
                    </a:lnTo>
                    <a:lnTo>
                      <a:pt x="1839" y="239"/>
                    </a:lnTo>
                    <a:lnTo>
                      <a:pt x="1845" y="242"/>
                    </a:lnTo>
                    <a:lnTo>
                      <a:pt x="1857" y="248"/>
                    </a:lnTo>
                    <a:lnTo>
                      <a:pt x="1869" y="256"/>
                    </a:lnTo>
                    <a:lnTo>
                      <a:pt x="1891" y="273"/>
                    </a:lnTo>
                    <a:lnTo>
                      <a:pt x="1913" y="287"/>
                    </a:lnTo>
                    <a:lnTo>
                      <a:pt x="1919" y="290"/>
                    </a:lnTo>
                    <a:lnTo>
                      <a:pt x="1926" y="293"/>
                    </a:lnTo>
                    <a:lnTo>
                      <a:pt x="1932" y="294"/>
                    </a:lnTo>
                    <a:lnTo>
                      <a:pt x="1939" y="295"/>
                    </a:lnTo>
                    <a:lnTo>
                      <a:pt x="1945" y="296"/>
                    </a:lnTo>
                    <a:lnTo>
                      <a:pt x="1953" y="296"/>
                    </a:lnTo>
                    <a:lnTo>
                      <a:pt x="1961" y="294"/>
                    </a:lnTo>
                    <a:lnTo>
                      <a:pt x="1969" y="291"/>
                    </a:lnTo>
                    <a:lnTo>
                      <a:pt x="1980" y="288"/>
                    </a:lnTo>
                    <a:lnTo>
                      <a:pt x="1987" y="283"/>
                    </a:lnTo>
                    <a:lnTo>
                      <a:pt x="1995" y="276"/>
                    </a:lnTo>
                    <a:lnTo>
                      <a:pt x="2000" y="270"/>
                    </a:lnTo>
                    <a:lnTo>
                      <a:pt x="2005" y="262"/>
                    </a:lnTo>
                    <a:lnTo>
                      <a:pt x="2008" y="254"/>
                    </a:lnTo>
                    <a:lnTo>
                      <a:pt x="2011" y="244"/>
                    </a:lnTo>
                    <a:lnTo>
                      <a:pt x="2013" y="234"/>
                    </a:lnTo>
                    <a:lnTo>
                      <a:pt x="2017" y="215"/>
                    </a:lnTo>
                    <a:lnTo>
                      <a:pt x="2019" y="195"/>
                    </a:lnTo>
                    <a:lnTo>
                      <a:pt x="2020" y="186"/>
                    </a:lnTo>
                    <a:lnTo>
                      <a:pt x="2021" y="176"/>
                    </a:lnTo>
                    <a:lnTo>
                      <a:pt x="2023" y="167"/>
                    </a:lnTo>
                    <a:lnTo>
                      <a:pt x="2026" y="159"/>
                    </a:lnTo>
                    <a:lnTo>
                      <a:pt x="2031" y="149"/>
                    </a:lnTo>
                    <a:lnTo>
                      <a:pt x="2035" y="140"/>
                    </a:lnTo>
                    <a:lnTo>
                      <a:pt x="2041" y="132"/>
                    </a:lnTo>
                    <a:lnTo>
                      <a:pt x="2047" y="124"/>
                    </a:lnTo>
                    <a:lnTo>
                      <a:pt x="2060" y="110"/>
                    </a:lnTo>
                    <a:lnTo>
                      <a:pt x="2074" y="98"/>
                    </a:lnTo>
                    <a:lnTo>
                      <a:pt x="2106" y="75"/>
                    </a:lnTo>
                    <a:lnTo>
                      <a:pt x="2138" y="53"/>
                    </a:lnTo>
                    <a:lnTo>
                      <a:pt x="2145" y="50"/>
                    </a:lnTo>
                    <a:lnTo>
                      <a:pt x="2153" y="43"/>
                    </a:lnTo>
                    <a:lnTo>
                      <a:pt x="2161" y="37"/>
                    </a:lnTo>
                    <a:lnTo>
                      <a:pt x="2166" y="30"/>
                    </a:lnTo>
                    <a:lnTo>
                      <a:pt x="2172" y="25"/>
                    </a:lnTo>
                    <a:lnTo>
                      <a:pt x="2178" y="19"/>
                    </a:lnTo>
                    <a:lnTo>
                      <a:pt x="2184" y="15"/>
                    </a:lnTo>
                    <a:lnTo>
                      <a:pt x="2190" y="11"/>
                    </a:lnTo>
                    <a:lnTo>
                      <a:pt x="2197" y="7"/>
                    </a:lnTo>
                    <a:lnTo>
                      <a:pt x="2203" y="5"/>
                    </a:lnTo>
                    <a:lnTo>
                      <a:pt x="2211" y="3"/>
                    </a:lnTo>
                    <a:lnTo>
                      <a:pt x="2217" y="1"/>
                    </a:lnTo>
                    <a:lnTo>
                      <a:pt x="2231" y="0"/>
                    </a:lnTo>
                    <a:lnTo>
                      <a:pt x="2245" y="0"/>
                    </a:lnTo>
                    <a:lnTo>
                      <a:pt x="2261" y="2"/>
                    </a:lnTo>
                    <a:lnTo>
                      <a:pt x="2276" y="7"/>
                    </a:lnTo>
                    <a:lnTo>
                      <a:pt x="2276" y="7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95" name="Freeform 10">
                <a:extLst>
                  <a:ext uri="{FF2B5EF4-FFF2-40B4-BE49-F238E27FC236}">
                    <a16:creationId xmlns:a16="http://schemas.microsoft.com/office/drawing/2014/main" id="{97A905D8-16BA-4B5E-97A9-CFFA14FBE7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75913" y="897344"/>
                <a:ext cx="1401763" cy="1290638"/>
              </a:xfrm>
              <a:custGeom>
                <a:avLst/>
                <a:gdLst>
                  <a:gd name="T0" fmla="*/ 2222 w 3530"/>
                  <a:gd name="T1" fmla="*/ 162 h 3251"/>
                  <a:gd name="T2" fmla="*/ 2241 w 3530"/>
                  <a:gd name="T3" fmla="*/ 345 h 3251"/>
                  <a:gd name="T4" fmla="*/ 2238 w 3530"/>
                  <a:gd name="T5" fmla="*/ 460 h 3251"/>
                  <a:gd name="T6" fmla="*/ 2328 w 3530"/>
                  <a:gd name="T7" fmla="*/ 498 h 3251"/>
                  <a:gd name="T8" fmla="*/ 2435 w 3530"/>
                  <a:gd name="T9" fmla="*/ 698 h 3251"/>
                  <a:gd name="T10" fmla="*/ 2348 w 3530"/>
                  <a:gd name="T11" fmla="*/ 770 h 3251"/>
                  <a:gd name="T12" fmla="*/ 2239 w 3530"/>
                  <a:gd name="T13" fmla="*/ 837 h 3251"/>
                  <a:gd name="T14" fmla="*/ 2332 w 3530"/>
                  <a:gd name="T15" fmla="*/ 939 h 3251"/>
                  <a:gd name="T16" fmla="*/ 2404 w 3530"/>
                  <a:gd name="T17" fmla="*/ 1085 h 3251"/>
                  <a:gd name="T18" fmla="*/ 2535 w 3530"/>
                  <a:gd name="T19" fmla="*/ 1125 h 3251"/>
                  <a:gd name="T20" fmla="*/ 2638 w 3530"/>
                  <a:gd name="T21" fmla="*/ 1157 h 3251"/>
                  <a:gd name="T22" fmla="*/ 2740 w 3530"/>
                  <a:gd name="T23" fmla="*/ 892 h 3251"/>
                  <a:gd name="T24" fmla="*/ 2914 w 3530"/>
                  <a:gd name="T25" fmla="*/ 971 h 3251"/>
                  <a:gd name="T26" fmla="*/ 3058 w 3530"/>
                  <a:gd name="T27" fmla="*/ 911 h 3251"/>
                  <a:gd name="T28" fmla="*/ 3140 w 3530"/>
                  <a:gd name="T29" fmla="*/ 829 h 3251"/>
                  <a:gd name="T30" fmla="*/ 3274 w 3530"/>
                  <a:gd name="T31" fmla="*/ 870 h 3251"/>
                  <a:gd name="T32" fmla="*/ 3431 w 3530"/>
                  <a:gd name="T33" fmla="*/ 952 h 3251"/>
                  <a:gd name="T34" fmla="*/ 3360 w 3530"/>
                  <a:gd name="T35" fmla="*/ 1128 h 3251"/>
                  <a:gd name="T36" fmla="*/ 3396 w 3530"/>
                  <a:gd name="T37" fmla="*/ 1303 h 3251"/>
                  <a:gd name="T38" fmla="*/ 3527 w 3530"/>
                  <a:gd name="T39" fmla="*/ 1320 h 3251"/>
                  <a:gd name="T40" fmla="*/ 3446 w 3530"/>
                  <a:gd name="T41" fmla="*/ 1513 h 3251"/>
                  <a:gd name="T42" fmla="*/ 3441 w 3530"/>
                  <a:gd name="T43" fmla="*/ 1665 h 3251"/>
                  <a:gd name="T44" fmla="*/ 3364 w 3530"/>
                  <a:gd name="T45" fmla="*/ 1812 h 3251"/>
                  <a:gd name="T46" fmla="*/ 3145 w 3530"/>
                  <a:gd name="T47" fmla="*/ 1863 h 3251"/>
                  <a:gd name="T48" fmla="*/ 2842 w 3530"/>
                  <a:gd name="T49" fmla="*/ 1826 h 3251"/>
                  <a:gd name="T50" fmla="*/ 2530 w 3530"/>
                  <a:gd name="T51" fmla="*/ 1970 h 3251"/>
                  <a:gd name="T52" fmla="*/ 2199 w 3530"/>
                  <a:gd name="T53" fmla="*/ 2090 h 3251"/>
                  <a:gd name="T54" fmla="*/ 1982 w 3530"/>
                  <a:gd name="T55" fmla="*/ 2267 h 3251"/>
                  <a:gd name="T56" fmla="*/ 1788 w 3530"/>
                  <a:gd name="T57" fmla="*/ 2395 h 3251"/>
                  <a:gd name="T58" fmla="*/ 1688 w 3530"/>
                  <a:gd name="T59" fmla="*/ 2444 h 3251"/>
                  <a:gd name="T60" fmla="*/ 1365 w 3530"/>
                  <a:gd name="T61" fmla="*/ 2679 h 3251"/>
                  <a:gd name="T62" fmla="*/ 1068 w 3530"/>
                  <a:gd name="T63" fmla="*/ 2946 h 3251"/>
                  <a:gd name="T64" fmla="*/ 937 w 3530"/>
                  <a:gd name="T65" fmla="*/ 2800 h 3251"/>
                  <a:gd name="T66" fmla="*/ 866 w 3530"/>
                  <a:gd name="T67" fmla="*/ 2728 h 3251"/>
                  <a:gd name="T68" fmla="*/ 816 w 3530"/>
                  <a:gd name="T69" fmla="*/ 2549 h 3251"/>
                  <a:gd name="T70" fmla="*/ 788 w 3530"/>
                  <a:gd name="T71" fmla="*/ 2376 h 3251"/>
                  <a:gd name="T72" fmla="*/ 881 w 3530"/>
                  <a:gd name="T73" fmla="*/ 2282 h 3251"/>
                  <a:gd name="T74" fmla="*/ 860 w 3530"/>
                  <a:gd name="T75" fmla="*/ 2102 h 3251"/>
                  <a:gd name="T76" fmla="*/ 725 w 3530"/>
                  <a:gd name="T77" fmla="*/ 1888 h 3251"/>
                  <a:gd name="T78" fmla="*/ 591 w 3530"/>
                  <a:gd name="T79" fmla="*/ 1958 h 3251"/>
                  <a:gd name="T80" fmla="*/ 518 w 3530"/>
                  <a:gd name="T81" fmla="*/ 1949 h 3251"/>
                  <a:gd name="T82" fmla="*/ 395 w 3530"/>
                  <a:gd name="T83" fmla="*/ 1953 h 3251"/>
                  <a:gd name="T84" fmla="*/ 294 w 3530"/>
                  <a:gd name="T85" fmla="*/ 1907 h 3251"/>
                  <a:gd name="T86" fmla="*/ 139 w 3530"/>
                  <a:gd name="T87" fmla="*/ 1875 h 3251"/>
                  <a:gd name="T88" fmla="*/ 40 w 3530"/>
                  <a:gd name="T89" fmla="*/ 1824 h 3251"/>
                  <a:gd name="T90" fmla="*/ 206 w 3530"/>
                  <a:gd name="T91" fmla="*/ 1473 h 3251"/>
                  <a:gd name="T92" fmla="*/ 403 w 3530"/>
                  <a:gd name="T93" fmla="*/ 897 h 3251"/>
                  <a:gd name="T94" fmla="*/ 188 w 3530"/>
                  <a:gd name="T95" fmla="*/ 611 h 3251"/>
                  <a:gd name="T96" fmla="*/ 195 w 3530"/>
                  <a:gd name="T97" fmla="*/ 405 h 3251"/>
                  <a:gd name="T98" fmla="*/ 271 w 3530"/>
                  <a:gd name="T99" fmla="*/ 387 h 3251"/>
                  <a:gd name="T100" fmla="*/ 475 w 3530"/>
                  <a:gd name="T101" fmla="*/ 269 h 3251"/>
                  <a:gd name="T102" fmla="*/ 621 w 3530"/>
                  <a:gd name="T103" fmla="*/ 283 h 3251"/>
                  <a:gd name="T104" fmla="*/ 753 w 3530"/>
                  <a:gd name="T105" fmla="*/ 374 h 3251"/>
                  <a:gd name="T106" fmla="*/ 893 w 3530"/>
                  <a:gd name="T107" fmla="*/ 357 h 3251"/>
                  <a:gd name="T108" fmla="*/ 1058 w 3530"/>
                  <a:gd name="T109" fmla="*/ 241 h 3251"/>
                  <a:gd name="T110" fmla="*/ 1233 w 3530"/>
                  <a:gd name="T111" fmla="*/ 312 h 3251"/>
                  <a:gd name="T112" fmla="*/ 1482 w 3530"/>
                  <a:gd name="T113" fmla="*/ 297 h 3251"/>
                  <a:gd name="T114" fmla="*/ 1765 w 3530"/>
                  <a:gd name="T115" fmla="*/ 246 h 3251"/>
                  <a:gd name="T116" fmla="*/ 1953 w 3530"/>
                  <a:gd name="T117" fmla="*/ 296 h 3251"/>
                  <a:gd name="T118" fmla="*/ 2047 w 3530"/>
                  <a:gd name="T119" fmla="*/ 124 h 3251"/>
                  <a:gd name="T120" fmla="*/ 2276 w 3530"/>
                  <a:gd name="T121" fmla="*/ 7 h 3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530" h="3251">
                    <a:moveTo>
                      <a:pt x="2276" y="7"/>
                    </a:moveTo>
                    <a:lnTo>
                      <a:pt x="2206" y="53"/>
                    </a:lnTo>
                    <a:lnTo>
                      <a:pt x="2198" y="64"/>
                    </a:lnTo>
                    <a:lnTo>
                      <a:pt x="2187" y="75"/>
                    </a:lnTo>
                    <a:lnTo>
                      <a:pt x="2182" y="82"/>
                    </a:lnTo>
                    <a:lnTo>
                      <a:pt x="2179" y="90"/>
                    </a:lnTo>
                    <a:lnTo>
                      <a:pt x="2178" y="96"/>
                    </a:lnTo>
                    <a:lnTo>
                      <a:pt x="2178" y="104"/>
                    </a:lnTo>
                    <a:lnTo>
                      <a:pt x="2180" y="112"/>
                    </a:lnTo>
                    <a:lnTo>
                      <a:pt x="2184" y="118"/>
                    </a:lnTo>
                    <a:lnTo>
                      <a:pt x="2188" y="122"/>
                    </a:lnTo>
                    <a:lnTo>
                      <a:pt x="2192" y="124"/>
                    </a:lnTo>
                    <a:lnTo>
                      <a:pt x="2204" y="125"/>
                    </a:lnTo>
                    <a:lnTo>
                      <a:pt x="2219" y="129"/>
                    </a:lnTo>
                    <a:lnTo>
                      <a:pt x="2224" y="132"/>
                    </a:lnTo>
                    <a:lnTo>
                      <a:pt x="2226" y="134"/>
                    </a:lnTo>
                    <a:lnTo>
                      <a:pt x="2228" y="138"/>
                    </a:lnTo>
                    <a:lnTo>
                      <a:pt x="2228" y="141"/>
                    </a:lnTo>
                    <a:lnTo>
                      <a:pt x="2226" y="151"/>
                    </a:lnTo>
                    <a:lnTo>
                      <a:pt x="2222" y="162"/>
                    </a:lnTo>
                    <a:lnTo>
                      <a:pt x="2217" y="174"/>
                    </a:lnTo>
                    <a:lnTo>
                      <a:pt x="2212" y="186"/>
                    </a:lnTo>
                    <a:lnTo>
                      <a:pt x="2211" y="192"/>
                    </a:lnTo>
                    <a:lnTo>
                      <a:pt x="2210" y="199"/>
                    </a:lnTo>
                    <a:lnTo>
                      <a:pt x="2210" y="204"/>
                    </a:lnTo>
                    <a:lnTo>
                      <a:pt x="2211" y="210"/>
                    </a:lnTo>
                    <a:lnTo>
                      <a:pt x="2212" y="219"/>
                    </a:lnTo>
                    <a:lnTo>
                      <a:pt x="2213" y="229"/>
                    </a:lnTo>
                    <a:lnTo>
                      <a:pt x="2213" y="239"/>
                    </a:lnTo>
                    <a:lnTo>
                      <a:pt x="2213" y="249"/>
                    </a:lnTo>
                    <a:lnTo>
                      <a:pt x="2212" y="272"/>
                    </a:lnTo>
                    <a:lnTo>
                      <a:pt x="2212" y="294"/>
                    </a:lnTo>
                    <a:lnTo>
                      <a:pt x="2213" y="304"/>
                    </a:lnTo>
                    <a:lnTo>
                      <a:pt x="2214" y="313"/>
                    </a:lnTo>
                    <a:lnTo>
                      <a:pt x="2217" y="323"/>
                    </a:lnTo>
                    <a:lnTo>
                      <a:pt x="2220" y="330"/>
                    </a:lnTo>
                    <a:lnTo>
                      <a:pt x="2226" y="337"/>
                    </a:lnTo>
                    <a:lnTo>
                      <a:pt x="2232" y="341"/>
                    </a:lnTo>
                    <a:lnTo>
                      <a:pt x="2237" y="343"/>
                    </a:lnTo>
                    <a:lnTo>
                      <a:pt x="2241" y="345"/>
                    </a:lnTo>
                    <a:lnTo>
                      <a:pt x="2246" y="345"/>
                    </a:lnTo>
                    <a:lnTo>
                      <a:pt x="2252" y="347"/>
                    </a:lnTo>
                    <a:lnTo>
                      <a:pt x="2266" y="348"/>
                    </a:lnTo>
                    <a:lnTo>
                      <a:pt x="2277" y="350"/>
                    </a:lnTo>
                    <a:lnTo>
                      <a:pt x="2285" y="352"/>
                    </a:lnTo>
                    <a:lnTo>
                      <a:pt x="2291" y="355"/>
                    </a:lnTo>
                    <a:lnTo>
                      <a:pt x="2295" y="360"/>
                    </a:lnTo>
                    <a:lnTo>
                      <a:pt x="2296" y="364"/>
                    </a:lnTo>
                    <a:lnTo>
                      <a:pt x="2296" y="369"/>
                    </a:lnTo>
                    <a:lnTo>
                      <a:pt x="2295" y="375"/>
                    </a:lnTo>
                    <a:lnTo>
                      <a:pt x="2292" y="380"/>
                    </a:lnTo>
                    <a:lnTo>
                      <a:pt x="2289" y="387"/>
                    </a:lnTo>
                    <a:lnTo>
                      <a:pt x="2283" y="393"/>
                    </a:lnTo>
                    <a:lnTo>
                      <a:pt x="2278" y="399"/>
                    </a:lnTo>
                    <a:lnTo>
                      <a:pt x="2266" y="414"/>
                    </a:lnTo>
                    <a:lnTo>
                      <a:pt x="2253" y="428"/>
                    </a:lnTo>
                    <a:lnTo>
                      <a:pt x="2250" y="433"/>
                    </a:lnTo>
                    <a:lnTo>
                      <a:pt x="2245" y="441"/>
                    </a:lnTo>
                    <a:lnTo>
                      <a:pt x="2241" y="450"/>
                    </a:lnTo>
                    <a:lnTo>
                      <a:pt x="2238" y="460"/>
                    </a:lnTo>
                    <a:lnTo>
                      <a:pt x="2236" y="470"/>
                    </a:lnTo>
                    <a:lnTo>
                      <a:pt x="2236" y="478"/>
                    </a:lnTo>
                    <a:lnTo>
                      <a:pt x="2237" y="482"/>
                    </a:lnTo>
                    <a:lnTo>
                      <a:pt x="2238" y="485"/>
                    </a:lnTo>
                    <a:lnTo>
                      <a:pt x="2241" y="488"/>
                    </a:lnTo>
                    <a:lnTo>
                      <a:pt x="2244" y="489"/>
                    </a:lnTo>
                    <a:lnTo>
                      <a:pt x="2254" y="491"/>
                    </a:lnTo>
                    <a:lnTo>
                      <a:pt x="2264" y="490"/>
                    </a:lnTo>
                    <a:lnTo>
                      <a:pt x="2275" y="489"/>
                    </a:lnTo>
                    <a:lnTo>
                      <a:pt x="2285" y="487"/>
                    </a:lnTo>
                    <a:lnTo>
                      <a:pt x="2296" y="485"/>
                    </a:lnTo>
                    <a:lnTo>
                      <a:pt x="2306" y="485"/>
                    </a:lnTo>
                    <a:lnTo>
                      <a:pt x="2311" y="485"/>
                    </a:lnTo>
                    <a:lnTo>
                      <a:pt x="2317" y="485"/>
                    </a:lnTo>
                    <a:lnTo>
                      <a:pt x="2321" y="486"/>
                    </a:lnTo>
                    <a:lnTo>
                      <a:pt x="2326" y="488"/>
                    </a:lnTo>
                    <a:lnTo>
                      <a:pt x="2328" y="489"/>
                    </a:lnTo>
                    <a:lnTo>
                      <a:pt x="2328" y="491"/>
                    </a:lnTo>
                    <a:lnTo>
                      <a:pt x="2328" y="495"/>
                    </a:lnTo>
                    <a:lnTo>
                      <a:pt x="2328" y="498"/>
                    </a:lnTo>
                    <a:lnTo>
                      <a:pt x="2327" y="504"/>
                    </a:lnTo>
                    <a:lnTo>
                      <a:pt x="2326" y="510"/>
                    </a:lnTo>
                    <a:lnTo>
                      <a:pt x="2326" y="516"/>
                    </a:lnTo>
                    <a:lnTo>
                      <a:pt x="2327" y="524"/>
                    </a:lnTo>
                    <a:lnTo>
                      <a:pt x="2329" y="532"/>
                    </a:lnTo>
                    <a:lnTo>
                      <a:pt x="2332" y="540"/>
                    </a:lnTo>
                    <a:lnTo>
                      <a:pt x="2339" y="556"/>
                    </a:lnTo>
                    <a:lnTo>
                      <a:pt x="2347" y="573"/>
                    </a:lnTo>
                    <a:lnTo>
                      <a:pt x="2357" y="590"/>
                    </a:lnTo>
                    <a:lnTo>
                      <a:pt x="2367" y="605"/>
                    </a:lnTo>
                    <a:lnTo>
                      <a:pt x="2376" y="618"/>
                    </a:lnTo>
                    <a:lnTo>
                      <a:pt x="2385" y="630"/>
                    </a:lnTo>
                    <a:lnTo>
                      <a:pt x="2401" y="647"/>
                    </a:lnTo>
                    <a:lnTo>
                      <a:pt x="2420" y="665"/>
                    </a:lnTo>
                    <a:lnTo>
                      <a:pt x="2424" y="671"/>
                    </a:lnTo>
                    <a:lnTo>
                      <a:pt x="2427" y="675"/>
                    </a:lnTo>
                    <a:lnTo>
                      <a:pt x="2431" y="680"/>
                    </a:lnTo>
                    <a:lnTo>
                      <a:pt x="2433" y="686"/>
                    </a:lnTo>
                    <a:lnTo>
                      <a:pt x="2435" y="692"/>
                    </a:lnTo>
                    <a:lnTo>
                      <a:pt x="2435" y="698"/>
                    </a:lnTo>
                    <a:lnTo>
                      <a:pt x="2435" y="704"/>
                    </a:lnTo>
                    <a:lnTo>
                      <a:pt x="2434" y="709"/>
                    </a:lnTo>
                    <a:lnTo>
                      <a:pt x="2432" y="714"/>
                    </a:lnTo>
                    <a:lnTo>
                      <a:pt x="2430" y="717"/>
                    </a:lnTo>
                    <a:lnTo>
                      <a:pt x="2426" y="719"/>
                    </a:lnTo>
                    <a:lnTo>
                      <a:pt x="2422" y="720"/>
                    </a:lnTo>
                    <a:lnTo>
                      <a:pt x="2413" y="721"/>
                    </a:lnTo>
                    <a:lnTo>
                      <a:pt x="2404" y="721"/>
                    </a:lnTo>
                    <a:lnTo>
                      <a:pt x="2394" y="720"/>
                    </a:lnTo>
                    <a:lnTo>
                      <a:pt x="2384" y="719"/>
                    </a:lnTo>
                    <a:lnTo>
                      <a:pt x="2380" y="719"/>
                    </a:lnTo>
                    <a:lnTo>
                      <a:pt x="2375" y="720"/>
                    </a:lnTo>
                    <a:lnTo>
                      <a:pt x="2371" y="722"/>
                    </a:lnTo>
                    <a:lnTo>
                      <a:pt x="2368" y="725"/>
                    </a:lnTo>
                    <a:lnTo>
                      <a:pt x="2363" y="730"/>
                    </a:lnTo>
                    <a:lnTo>
                      <a:pt x="2360" y="735"/>
                    </a:lnTo>
                    <a:lnTo>
                      <a:pt x="2357" y="742"/>
                    </a:lnTo>
                    <a:lnTo>
                      <a:pt x="2355" y="747"/>
                    </a:lnTo>
                    <a:lnTo>
                      <a:pt x="2352" y="759"/>
                    </a:lnTo>
                    <a:lnTo>
                      <a:pt x="2348" y="770"/>
                    </a:lnTo>
                    <a:lnTo>
                      <a:pt x="2346" y="775"/>
                    </a:lnTo>
                    <a:lnTo>
                      <a:pt x="2343" y="780"/>
                    </a:lnTo>
                    <a:lnTo>
                      <a:pt x="2340" y="784"/>
                    </a:lnTo>
                    <a:lnTo>
                      <a:pt x="2334" y="788"/>
                    </a:lnTo>
                    <a:lnTo>
                      <a:pt x="2328" y="790"/>
                    </a:lnTo>
                    <a:lnTo>
                      <a:pt x="2320" y="793"/>
                    </a:lnTo>
                    <a:lnTo>
                      <a:pt x="2310" y="795"/>
                    </a:lnTo>
                    <a:lnTo>
                      <a:pt x="2298" y="795"/>
                    </a:lnTo>
                    <a:lnTo>
                      <a:pt x="2288" y="795"/>
                    </a:lnTo>
                    <a:lnTo>
                      <a:pt x="2275" y="795"/>
                    </a:lnTo>
                    <a:lnTo>
                      <a:pt x="2263" y="796"/>
                    </a:lnTo>
                    <a:lnTo>
                      <a:pt x="2252" y="799"/>
                    </a:lnTo>
                    <a:lnTo>
                      <a:pt x="2246" y="801"/>
                    </a:lnTo>
                    <a:lnTo>
                      <a:pt x="2242" y="803"/>
                    </a:lnTo>
                    <a:lnTo>
                      <a:pt x="2239" y="807"/>
                    </a:lnTo>
                    <a:lnTo>
                      <a:pt x="2237" y="811"/>
                    </a:lnTo>
                    <a:lnTo>
                      <a:pt x="2236" y="816"/>
                    </a:lnTo>
                    <a:lnTo>
                      <a:pt x="2236" y="822"/>
                    </a:lnTo>
                    <a:lnTo>
                      <a:pt x="2237" y="829"/>
                    </a:lnTo>
                    <a:lnTo>
                      <a:pt x="2239" y="837"/>
                    </a:lnTo>
                    <a:lnTo>
                      <a:pt x="2243" y="853"/>
                    </a:lnTo>
                    <a:lnTo>
                      <a:pt x="2245" y="870"/>
                    </a:lnTo>
                    <a:lnTo>
                      <a:pt x="2248" y="878"/>
                    </a:lnTo>
                    <a:lnTo>
                      <a:pt x="2250" y="887"/>
                    </a:lnTo>
                    <a:lnTo>
                      <a:pt x="2252" y="894"/>
                    </a:lnTo>
                    <a:lnTo>
                      <a:pt x="2256" y="901"/>
                    </a:lnTo>
                    <a:lnTo>
                      <a:pt x="2259" y="904"/>
                    </a:lnTo>
                    <a:lnTo>
                      <a:pt x="2263" y="906"/>
                    </a:lnTo>
                    <a:lnTo>
                      <a:pt x="2266" y="906"/>
                    </a:lnTo>
                    <a:lnTo>
                      <a:pt x="2270" y="906"/>
                    </a:lnTo>
                    <a:lnTo>
                      <a:pt x="2279" y="903"/>
                    </a:lnTo>
                    <a:lnTo>
                      <a:pt x="2288" y="900"/>
                    </a:lnTo>
                    <a:lnTo>
                      <a:pt x="2293" y="900"/>
                    </a:lnTo>
                    <a:lnTo>
                      <a:pt x="2297" y="900"/>
                    </a:lnTo>
                    <a:lnTo>
                      <a:pt x="2303" y="901"/>
                    </a:lnTo>
                    <a:lnTo>
                      <a:pt x="2308" y="904"/>
                    </a:lnTo>
                    <a:lnTo>
                      <a:pt x="2314" y="909"/>
                    </a:lnTo>
                    <a:lnTo>
                      <a:pt x="2320" y="917"/>
                    </a:lnTo>
                    <a:lnTo>
                      <a:pt x="2326" y="927"/>
                    </a:lnTo>
                    <a:lnTo>
                      <a:pt x="2332" y="939"/>
                    </a:lnTo>
                    <a:lnTo>
                      <a:pt x="2340" y="958"/>
                    </a:lnTo>
                    <a:lnTo>
                      <a:pt x="2345" y="972"/>
                    </a:lnTo>
                    <a:lnTo>
                      <a:pt x="2348" y="985"/>
                    </a:lnTo>
                    <a:lnTo>
                      <a:pt x="2349" y="996"/>
                    </a:lnTo>
                    <a:lnTo>
                      <a:pt x="2348" y="1006"/>
                    </a:lnTo>
                    <a:lnTo>
                      <a:pt x="2345" y="1018"/>
                    </a:lnTo>
                    <a:lnTo>
                      <a:pt x="2340" y="1032"/>
                    </a:lnTo>
                    <a:lnTo>
                      <a:pt x="2332" y="1050"/>
                    </a:lnTo>
                    <a:lnTo>
                      <a:pt x="2328" y="1060"/>
                    </a:lnTo>
                    <a:lnTo>
                      <a:pt x="2326" y="1070"/>
                    </a:lnTo>
                    <a:lnTo>
                      <a:pt x="2324" y="1077"/>
                    </a:lnTo>
                    <a:lnTo>
                      <a:pt x="2326" y="1083"/>
                    </a:lnTo>
                    <a:lnTo>
                      <a:pt x="2329" y="1087"/>
                    </a:lnTo>
                    <a:lnTo>
                      <a:pt x="2333" y="1091"/>
                    </a:lnTo>
                    <a:lnTo>
                      <a:pt x="2337" y="1092"/>
                    </a:lnTo>
                    <a:lnTo>
                      <a:pt x="2344" y="1093"/>
                    </a:lnTo>
                    <a:lnTo>
                      <a:pt x="2358" y="1093"/>
                    </a:lnTo>
                    <a:lnTo>
                      <a:pt x="2374" y="1091"/>
                    </a:lnTo>
                    <a:lnTo>
                      <a:pt x="2389" y="1087"/>
                    </a:lnTo>
                    <a:lnTo>
                      <a:pt x="2404" y="1085"/>
                    </a:lnTo>
                    <a:lnTo>
                      <a:pt x="2413" y="1085"/>
                    </a:lnTo>
                    <a:lnTo>
                      <a:pt x="2421" y="1086"/>
                    </a:lnTo>
                    <a:lnTo>
                      <a:pt x="2428" y="1087"/>
                    </a:lnTo>
                    <a:lnTo>
                      <a:pt x="2434" y="1091"/>
                    </a:lnTo>
                    <a:lnTo>
                      <a:pt x="2439" y="1095"/>
                    </a:lnTo>
                    <a:lnTo>
                      <a:pt x="2444" y="1099"/>
                    </a:lnTo>
                    <a:lnTo>
                      <a:pt x="2448" y="1105"/>
                    </a:lnTo>
                    <a:lnTo>
                      <a:pt x="2452" y="1109"/>
                    </a:lnTo>
                    <a:lnTo>
                      <a:pt x="2459" y="1120"/>
                    </a:lnTo>
                    <a:lnTo>
                      <a:pt x="2465" y="1130"/>
                    </a:lnTo>
                    <a:lnTo>
                      <a:pt x="2469" y="1133"/>
                    </a:lnTo>
                    <a:lnTo>
                      <a:pt x="2473" y="1136"/>
                    </a:lnTo>
                    <a:lnTo>
                      <a:pt x="2477" y="1138"/>
                    </a:lnTo>
                    <a:lnTo>
                      <a:pt x="2483" y="1138"/>
                    </a:lnTo>
                    <a:lnTo>
                      <a:pt x="2494" y="1137"/>
                    </a:lnTo>
                    <a:lnTo>
                      <a:pt x="2502" y="1135"/>
                    </a:lnTo>
                    <a:lnTo>
                      <a:pt x="2510" y="1132"/>
                    </a:lnTo>
                    <a:lnTo>
                      <a:pt x="2517" y="1128"/>
                    </a:lnTo>
                    <a:lnTo>
                      <a:pt x="2526" y="1126"/>
                    </a:lnTo>
                    <a:lnTo>
                      <a:pt x="2535" y="1125"/>
                    </a:lnTo>
                    <a:lnTo>
                      <a:pt x="2539" y="1126"/>
                    </a:lnTo>
                    <a:lnTo>
                      <a:pt x="2544" y="1127"/>
                    </a:lnTo>
                    <a:lnTo>
                      <a:pt x="2550" y="1130"/>
                    </a:lnTo>
                    <a:lnTo>
                      <a:pt x="2556" y="1132"/>
                    </a:lnTo>
                    <a:lnTo>
                      <a:pt x="2576" y="1148"/>
                    </a:lnTo>
                    <a:lnTo>
                      <a:pt x="2605" y="1175"/>
                    </a:lnTo>
                    <a:lnTo>
                      <a:pt x="2613" y="1180"/>
                    </a:lnTo>
                    <a:lnTo>
                      <a:pt x="2619" y="1186"/>
                    </a:lnTo>
                    <a:lnTo>
                      <a:pt x="2626" y="1190"/>
                    </a:lnTo>
                    <a:lnTo>
                      <a:pt x="2632" y="1193"/>
                    </a:lnTo>
                    <a:lnTo>
                      <a:pt x="2637" y="1194"/>
                    </a:lnTo>
                    <a:lnTo>
                      <a:pt x="2641" y="1193"/>
                    </a:lnTo>
                    <a:lnTo>
                      <a:pt x="2642" y="1192"/>
                    </a:lnTo>
                    <a:lnTo>
                      <a:pt x="2643" y="1190"/>
                    </a:lnTo>
                    <a:lnTo>
                      <a:pt x="2644" y="1188"/>
                    </a:lnTo>
                    <a:lnTo>
                      <a:pt x="2644" y="1185"/>
                    </a:lnTo>
                    <a:lnTo>
                      <a:pt x="2644" y="1177"/>
                    </a:lnTo>
                    <a:lnTo>
                      <a:pt x="2643" y="1171"/>
                    </a:lnTo>
                    <a:lnTo>
                      <a:pt x="2641" y="1163"/>
                    </a:lnTo>
                    <a:lnTo>
                      <a:pt x="2638" y="1157"/>
                    </a:lnTo>
                    <a:lnTo>
                      <a:pt x="2631" y="1144"/>
                    </a:lnTo>
                    <a:lnTo>
                      <a:pt x="2624" y="1131"/>
                    </a:lnTo>
                    <a:lnTo>
                      <a:pt x="2620" y="1124"/>
                    </a:lnTo>
                    <a:lnTo>
                      <a:pt x="2618" y="1118"/>
                    </a:lnTo>
                    <a:lnTo>
                      <a:pt x="2616" y="1111"/>
                    </a:lnTo>
                    <a:lnTo>
                      <a:pt x="2615" y="1105"/>
                    </a:lnTo>
                    <a:lnTo>
                      <a:pt x="2616" y="1098"/>
                    </a:lnTo>
                    <a:lnTo>
                      <a:pt x="2617" y="1092"/>
                    </a:lnTo>
                    <a:lnTo>
                      <a:pt x="2620" y="1085"/>
                    </a:lnTo>
                    <a:lnTo>
                      <a:pt x="2626" y="1079"/>
                    </a:lnTo>
                    <a:lnTo>
                      <a:pt x="2643" y="1059"/>
                    </a:lnTo>
                    <a:lnTo>
                      <a:pt x="2658" y="1041"/>
                    </a:lnTo>
                    <a:lnTo>
                      <a:pt x="2672" y="1023"/>
                    </a:lnTo>
                    <a:lnTo>
                      <a:pt x="2684" y="1004"/>
                    </a:lnTo>
                    <a:lnTo>
                      <a:pt x="2696" y="985"/>
                    </a:lnTo>
                    <a:lnTo>
                      <a:pt x="2707" y="963"/>
                    </a:lnTo>
                    <a:lnTo>
                      <a:pt x="2717" y="942"/>
                    </a:lnTo>
                    <a:lnTo>
                      <a:pt x="2728" y="918"/>
                    </a:lnTo>
                    <a:lnTo>
                      <a:pt x="2734" y="903"/>
                    </a:lnTo>
                    <a:lnTo>
                      <a:pt x="2740" y="892"/>
                    </a:lnTo>
                    <a:lnTo>
                      <a:pt x="2746" y="883"/>
                    </a:lnTo>
                    <a:lnTo>
                      <a:pt x="2751" y="878"/>
                    </a:lnTo>
                    <a:lnTo>
                      <a:pt x="2757" y="875"/>
                    </a:lnTo>
                    <a:lnTo>
                      <a:pt x="2762" y="875"/>
                    </a:lnTo>
                    <a:lnTo>
                      <a:pt x="2769" y="876"/>
                    </a:lnTo>
                    <a:lnTo>
                      <a:pt x="2774" y="879"/>
                    </a:lnTo>
                    <a:lnTo>
                      <a:pt x="2787" y="889"/>
                    </a:lnTo>
                    <a:lnTo>
                      <a:pt x="2800" y="903"/>
                    </a:lnTo>
                    <a:lnTo>
                      <a:pt x="2815" y="918"/>
                    </a:lnTo>
                    <a:lnTo>
                      <a:pt x="2834" y="933"/>
                    </a:lnTo>
                    <a:lnTo>
                      <a:pt x="2845" y="944"/>
                    </a:lnTo>
                    <a:lnTo>
                      <a:pt x="2855" y="955"/>
                    </a:lnTo>
                    <a:lnTo>
                      <a:pt x="2866" y="964"/>
                    </a:lnTo>
                    <a:lnTo>
                      <a:pt x="2877" y="971"/>
                    </a:lnTo>
                    <a:lnTo>
                      <a:pt x="2884" y="974"/>
                    </a:lnTo>
                    <a:lnTo>
                      <a:pt x="2889" y="975"/>
                    </a:lnTo>
                    <a:lnTo>
                      <a:pt x="2896" y="976"/>
                    </a:lnTo>
                    <a:lnTo>
                      <a:pt x="2901" y="976"/>
                    </a:lnTo>
                    <a:lnTo>
                      <a:pt x="2907" y="974"/>
                    </a:lnTo>
                    <a:lnTo>
                      <a:pt x="2914" y="971"/>
                    </a:lnTo>
                    <a:lnTo>
                      <a:pt x="2920" y="966"/>
                    </a:lnTo>
                    <a:lnTo>
                      <a:pt x="2927" y="960"/>
                    </a:lnTo>
                    <a:lnTo>
                      <a:pt x="2936" y="952"/>
                    </a:lnTo>
                    <a:lnTo>
                      <a:pt x="2943" y="946"/>
                    </a:lnTo>
                    <a:lnTo>
                      <a:pt x="2951" y="942"/>
                    </a:lnTo>
                    <a:lnTo>
                      <a:pt x="2957" y="937"/>
                    </a:lnTo>
                    <a:lnTo>
                      <a:pt x="2964" y="935"/>
                    </a:lnTo>
                    <a:lnTo>
                      <a:pt x="2969" y="933"/>
                    </a:lnTo>
                    <a:lnTo>
                      <a:pt x="2976" y="933"/>
                    </a:lnTo>
                    <a:lnTo>
                      <a:pt x="2981" y="933"/>
                    </a:lnTo>
                    <a:lnTo>
                      <a:pt x="3005" y="938"/>
                    </a:lnTo>
                    <a:lnTo>
                      <a:pt x="3036" y="948"/>
                    </a:lnTo>
                    <a:lnTo>
                      <a:pt x="3042" y="948"/>
                    </a:lnTo>
                    <a:lnTo>
                      <a:pt x="3047" y="947"/>
                    </a:lnTo>
                    <a:lnTo>
                      <a:pt x="3051" y="944"/>
                    </a:lnTo>
                    <a:lnTo>
                      <a:pt x="3054" y="939"/>
                    </a:lnTo>
                    <a:lnTo>
                      <a:pt x="3056" y="934"/>
                    </a:lnTo>
                    <a:lnTo>
                      <a:pt x="3057" y="928"/>
                    </a:lnTo>
                    <a:lnTo>
                      <a:pt x="3058" y="920"/>
                    </a:lnTo>
                    <a:lnTo>
                      <a:pt x="3058" y="911"/>
                    </a:lnTo>
                    <a:lnTo>
                      <a:pt x="3056" y="879"/>
                    </a:lnTo>
                    <a:lnTo>
                      <a:pt x="3055" y="857"/>
                    </a:lnTo>
                    <a:lnTo>
                      <a:pt x="3057" y="848"/>
                    </a:lnTo>
                    <a:lnTo>
                      <a:pt x="3058" y="840"/>
                    </a:lnTo>
                    <a:lnTo>
                      <a:pt x="3059" y="835"/>
                    </a:lnTo>
                    <a:lnTo>
                      <a:pt x="3061" y="831"/>
                    </a:lnTo>
                    <a:lnTo>
                      <a:pt x="3064" y="829"/>
                    </a:lnTo>
                    <a:lnTo>
                      <a:pt x="3067" y="827"/>
                    </a:lnTo>
                    <a:lnTo>
                      <a:pt x="3069" y="827"/>
                    </a:lnTo>
                    <a:lnTo>
                      <a:pt x="3072" y="828"/>
                    </a:lnTo>
                    <a:lnTo>
                      <a:pt x="3079" y="831"/>
                    </a:lnTo>
                    <a:lnTo>
                      <a:pt x="3086" y="836"/>
                    </a:lnTo>
                    <a:lnTo>
                      <a:pt x="3090" y="838"/>
                    </a:lnTo>
                    <a:lnTo>
                      <a:pt x="3094" y="839"/>
                    </a:lnTo>
                    <a:lnTo>
                      <a:pt x="3098" y="841"/>
                    </a:lnTo>
                    <a:lnTo>
                      <a:pt x="3104" y="841"/>
                    </a:lnTo>
                    <a:lnTo>
                      <a:pt x="3110" y="840"/>
                    </a:lnTo>
                    <a:lnTo>
                      <a:pt x="3119" y="838"/>
                    </a:lnTo>
                    <a:lnTo>
                      <a:pt x="3129" y="834"/>
                    </a:lnTo>
                    <a:lnTo>
                      <a:pt x="3140" y="829"/>
                    </a:lnTo>
                    <a:lnTo>
                      <a:pt x="3164" y="816"/>
                    </a:lnTo>
                    <a:lnTo>
                      <a:pt x="3191" y="803"/>
                    </a:lnTo>
                    <a:lnTo>
                      <a:pt x="3216" y="792"/>
                    </a:lnTo>
                    <a:lnTo>
                      <a:pt x="3238" y="782"/>
                    </a:lnTo>
                    <a:lnTo>
                      <a:pt x="3248" y="780"/>
                    </a:lnTo>
                    <a:lnTo>
                      <a:pt x="3254" y="777"/>
                    </a:lnTo>
                    <a:lnTo>
                      <a:pt x="3258" y="779"/>
                    </a:lnTo>
                    <a:lnTo>
                      <a:pt x="3260" y="779"/>
                    </a:lnTo>
                    <a:lnTo>
                      <a:pt x="3262" y="780"/>
                    </a:lnTo>
                    <a:lnTo>
                      <a:pt x="3263" y="782"/>
                    </a:lnTo>
                    <a:lnTo>
                      <a:pt x="3266" y="789"/>
                    </a:lnTo>
                    <a:lnTo>
                      <a:pt x="3268" y="797"/>
                    </a:lnTo>
                    <a:lnTo>
                      <a:pt x="3269" y="806"/>
                    </a:lnTo>
                    <a:lnTo>
                      <a:pt x="3268" y="814"/>
                    </a:lnTo>
                    <a:lnTo>
                      <a:pt x="3267" y="830"/>
                    </a:lnTo>
                    <a:lnTo>
                      <a:pt x="3266" y="846"/>
                    </a:lnTo>
                    <a:lnTo>
                      <a:pt x="3266" y="853"/>
                    </a:lnTo>
                    <a:lnTo>
                      <a:pt x="3267" y="860"/>
                    </a:lnTo>
                    <a:lnTo>
                      <a:pt x="3271" y="865"/>
                    </a:lnTo>
                    <a:lnTo>
                      <a:pt x="3274" y="870"/>
                    </a:lnTo>
                    <a:lnTo>
                      <a:pt x="3280" y="874"/>
                    </a:lnTo>
                    <a:lnTo>
                      <a:pt x="3288" y="877"/>
                    </a:lnTo>
                    <a:lnTo>
                      <a:pt x="3299" y="879"/>
                    </a:lnTo>
                    <a:lnTo>
                      <a:pt x="3312" y="879"/>
                    </a:lnTo>
                    <a:lnTo>
                      <a:pt x="3319" y="880"/>
                    </a:lnTo>
                    <a:lnTo>
                      <a:pt x="3329" y="881"/>
                    </a:lnTo>
                    <a:lnTo>
                      <a:pt x="3339" y="883"/>
                    </a:lnTo>
                    <a:lnTo>
                      <a:pt x="3350" y="887"/>
                    </a:lnTo>
                    <a:lnTo>
                      <a:pt x="3360" y="890"/>
                    </a:lnTo>
                    <a:lnTo>
                      <a:pt x="3372" y="894"/>
                    </a:lnTo>
                    <a:lnTo>
                      <a:pt x="3383" y="900"/>
                    </a:lnTo>
                    <a:lnTo>
                      <a:pt x="3394" y="906"/>
                    </a:lnTo>
                    <a:lnTo>
                      <a:pt x="3405" y="912"/>
                    </a:lnTo>
                    <a:lnTo>
                      <a:pt x="3414" y="919"/>
                    </a:lnTo>
                    <a:lnTo>
                      <a:pt x="3421" y="927"/>
                    </a:lnTo>
                    <a:lnTo>
                      <a:pt x="3427" y="935"/>
                    </a:lnTo>
                    <a:lnTo>
                      <a:pt x="3429" y="939"/>
                    </a:lnTo>
                    <a:lnTo>
                      <a:pt x="3430" y="944"/>
                    </a:lnTo>
                    <a:lnTo>
                      <a:pt x="3431" y="948"/>
                    </a:lnTo>
                    <a:lnTo>
                      <a:pt x="3431" y="952"/>
                    </a:lnTo>
                    <a:lnTo>
                      <a:pt x="3431" y="958"/>
                    </a:lnTo>
                    <a:lnTo>
                      <a:pt x="3430" y="962"/>
                    </a:lnTo>
                    <a:lnTo>
                      <a:pt x="3428" y="968"/>
                    </a:lnTo>
                    <a:lnTo>
                      <a:pt x="3426" y="972"/>
                    </a:lnTo>
                    <a:lnTo>
                      <a:pt x="3419" y="981"/>
                    </a:lnTo>
                    <a:lnTo>
                      <a:pt x="3412" y="989"/>
                    </a:lnTo>
                    <a:lnTo>
                      <a:pt x="3406" y="996"/>
                    </a:lnTo>
                    <a:lnTo>
                      <a:pt x="3399" y="1002"/>
                    </a:lnTo>
                    <a:lnTo>
                      <a:pt x="3384" y="1015"/>
                    </a:lnTo>
                    <a:lnTo>
                      <a:pt x="3370" y="1028"/>
                    </a:lnTo>
                    <a:lnTo>
                      <a:pt x="3364" y="1035"/>
                    </a:lnTo>
                    <a:lnTo>
                      <a:pt x="3357" y="1041"/>
                    </a:lnTo>
                    <a:lnTo>
                      <a:pt x="3352" y="1049"/>
                    </a:lnTo>
                    <a:lnTo>
                      <a:pt x="3347" y="1057"/>
                    </a:lnTo>
                    <a:lnTo>
                      <a:pt x="3343" y="1066"/>
                    </a:lnTo>
                    <a:lnTo>
                      <a:pt x="3340" y="1074"/>
                    </a:lnTo>
                    <a:lnTo>
                      <a:pt x="3339" y="1085"/>
                    </a:lnTo>
                    <a:lnTo>
                      <a:pt x="3338" y="1097"/>
                    </a:lnTo>
                    <a:lnTo>
                      <a:pt x="3351" y="1113"/>
                    </a:lnTo>
                    <a:lnTo>
                      <a:pt x="3360" y="1128"/>
                    </a:lnTo>
                    <a:lnTo>
                      <a:pt x="3366" y="1135"/>
                    </a:lnTo>
                    <a:lnTo>
                      <a:pt x="3371" y="1143"/>
                    </a:lnTo>
                    <a:lnTo>
                      <a:pt x="3379" y="1149"/>
                    </a:lnTo>
                    <a:lnTo>
                      <a:pt x="3389" y="1158"/>
                    </a:lnTo>
                    <a:lnTo>
                      <a:pt x="3392" y="1161"/>
                    </a:lnTo>
                    <a:lnTo>
                      <a:pt x="3394" y="1165"/>
                    </a:lnTo>
                    <a:lnTo>
                      <a:pt x="3395" y="1172"/>
                    </a:lnTo>
                    <a:lnTo>
                      <a:pt x="3395" y="1178"/>
                    </a:lnTo>
                    <a:lnTo>
                      <a:pt x="3392" y="1194"/>
                    </a:lnTo>
                    <a:lnTo>
                      <a:pt x="3388" y="1213"/>
                    </a:lnTo>
                    <a:lnTo>
                      <a:pt x="3382" y="1232"/>
                    </a:lnTo>
                    <a:lnTo>
                      <a:pt x="3378" y="1251"/>
                    </a:lnTo>
                    <a:lnTo>
                      <a:pt x="3377" y="1260"/>
                    </a:lnTo>
                    <a:lnTo>
                      <a:pt x="3377" y="1269"/>
                    </a:lnTo>
                    <a:lnTo>
                      <a:pt x="3378" y="1278"/>
                    </a:lnTo>
                    <a:lnTo>
                      <a:pt x="3379" y="1285"/>
                    </a:lnTo>
                    <a:lnTo>
                      <a:pt x="3383" y="1294"/>
                    </a:lnTo>
                    <a:lnTo>
                      <a:pt x="3388" y="1299"/>
                    </a:lnTo>
                    <a:lnTo>
                      <a:pt x="3392" y="1302"/>
                    </a:lnTo>
                    <a:lnTo>
                      <a:pt x="3396" y="1303"/>
                    </a:lnTo>
                    <a:lnTo>
                      <a:pt x="3402" y="1303"/>
                    </a:lnTo>
                    <a:lnTo>
                      <a:pt x="3407" y="1301"/>
                    </a:lnTo>
                    <a:lnTo>
                      <a:pt x="3414" y="1299"/>
                    </a:lnTo>
                    <a:lnTo>
                      <a:pt x="3419" y="1295"/>
                    </a:lnTo>
                    <a:lnTo>
                      <a:pt x="3432" y="1286"/>
                    </a:lnTo>
                    <a:lnTo>
                      <a:pt x="3445" y="1279"/>
                    </a:lnTo>
                    <a:lnTo>
                      <a:pt x="3452" y="1275"/>
                    </a:lnTo>
                    <a:lnTo>
                      <a:pt x="3457" y="1273"/>
                    </a:lnTo>
                    <a:lnTo>
                      <a:pt x="3463" y="1272"/>
                    </a:lnTo>
                    <a:lnTo>
                      <a:pt x="3470" y="1272"/>
                    </a:lnTo>
                    <a:lnTo>
                      <a:pt x="3484" y="1276"/>
                    </a:lnTo>
                    <a:lnTo>
                      <a:pt x="3497" y="1281"/>
                    </a:lnTo>
                    <a:lnTo>
                      <a:pt x="3507" y="1285"/>
                    </a:lnTo>
                    <a:lnTo>
                      <a:pt x="3515" y="1288"/>
                    </a:lnTo>
                    <a:lnTo>
                      <a:pt x="3522" y="1294"/>
                    </a:lnTo>
                    <a:lnTo>
                      <a:pt x="3526" y="1298"/>
                    </a:lnTo>
                    <a:lnTo>
                      <a:pt x="3528" y="1303"/>
                    </a:lnTo>
                    <a:lnTo>
                      <a:pt x="3530" y="1308"/>
                    </a:lnTo>
                    <a:lnTo>
                      <a:pt x="3530" y="1314"/>
                    </a:lnTo>
                    <a:lnTo>
                      <a:pt x="3527" y="1320"/>
                    </a:lnTo>
                    <a:lnTo>
                      <a:pt x="3523" y="1326"/>
                    </a:lnTo>
                    <a:lnTo>
                      <a:pt x="3519" y="1334"/>
                    </a:lnTo>
                    <a:lnTo>
                      <a:pt x="3505" y="1350"/>
                    </a:lnTo>
                    <a:lnTo>
                      <a:pt x="3486" y="1368"/>
                    </a:lnTo>
                    <a:lnTo>
                      <a:pt x="3470" y="1383"/>
                    </a:lnTo>
                    <a:lnTo>
                      <a:pt x="3456" y="1396"/>
                    </a:lnTo>
                    <a:lnTo>
                      <a:pt x="3443" y="1408"/>
                    </a:lnTo>
                    <a:lnTo>
                      <a:pt x="3433" y="1420"/>
                    </a:lnTo>
                    <a:lnTo>
                      <a:pt x="3430" y="1427"/>
                    </a:lnTo>
                    <a:lnTo>
                      <a:pt x="3427" y="1433"/>
                    </a:lnTo>
                    <a:lnTo>
                      <a:pt x="3424" y="1441"/>
                    </a:lnTo>
                    <a:lnTo>
                      <a:pt x="3423" y="1448"/>
                    </a:lnTo>
                    <a:lnTo>
                      <a:pt x="3423" y="1457"/>
                    </a:lnTo>
                    <a:lnTo>
                      <a:pt x="3426" y="1467"/>
                    </a:lnTo>
                    <a:lnTo>
                      <a:pt x="3428" y="1477"/>
                    </a:lnTo>
                    <a:lnTo>
                      <a:pt x="3432" y="1489"/>
                    </a:lnTo>
                    <a:lnTo>
                      <a:pt x="3437" y="1496"/>
                    </a:lnTo>
                    <a:lnTo>
                      <a:pt x="3441" y="1501"/>
                    </a:lnTo>
                    <a:lnTo>
                      <a:pt x="3444" y="1508"/>
                    </a:lnTo>
                    <a:lnTo>
                      <a:pt x="3446" y="1513"/>
                    </a:lnTo>
                    <a:lnTo>
                      <a:pt x="3447" y="1518"/>
                    </a:lnTo>
                    <a:lnTo>
                      <a:pt x="3448" y="1523"/>
                    </a:lnTo>
                    <a:lnTo>
                      <a:pt x="3448" y="1528"/>
                    </a:lnTo>
                    <a:lnTo>
                      <a:pt x="3447" y="1532"/>
                    </a:lnTo>
                    <a:lnTo>
                      <a:pt x="3444" y="1542"/>
                    </a:lnTo>
                    <a:lnTo>
                      <a:pt x="3440" y="1550"/>
                    </a:lnTo>
                    <a:lnTo>
                      <a:pt x="3433" y="1557"/>
                    </a:lnTo>
                    <a:lnTo>
                      <a:pt x="3427" y="1565"/>
                    </a:lnTo>
                    <a:lnTo>
                      <a:pt x="3412" y="1579"/>
                    </a:lnTo>
                    <a:lnTo>
                      <a:pt x="3401" y="1592"/>
                    </a:lnTo>
                    <a:lnTo>
                      <a:pt x="3397" y="1598"/>
                    </a:lnTo>
                    <a:lnTo>
                      <a:pt x="3396" y="1605"/>
                    </a:lnTo>
                    <a:lnTo>
                      <a:pt x="3396" y="1608"/>
                    </a:lnTo>
                    <a:lnTo>
                      <a:pt x="3397" y="1611"/>
                    </a:lnTo>
                    <a:lnTo>
                      <a:pt x="3399" y="1614"/>
                    </a:lnTo>
                    <a:lnTo>
                      <a:pt x="3402" y="1618"/>
                    </a:lnTo>
                    <a:lnTo>
                      <a:pt x="3416" y="1633"/>
                    </a:lnTo>
                    <a:lnTo>
                      <a:pt x="3429" y="1649"/>
                    </a:lnTo>
                    <a:lnTo>
                      <a:pt x="3435" y="1657"/>
                    </a:lnTo>
                    <a:lnTo>
                      <a:pt x="3441" y="1665"/>
                    </a:lnTo>
                    <a:lnTo>
                      <a:pt x="3446" y="1674"/>
                    </a:lnTo>
                    <a:lnTo>
                      <a:pt x="3450" y="1683"/>
                    </a:lnTo>
                    <a:lnTo>
                      <a:pt x="3455" y="1692"/>
                    </a:lnTo>
                    <a:lnTo>
                      <a:pt x="3457" y="1702"/>
                    </a:lnTo>
                    <a:lnTo>
                      <a:pt x="3459" y="1712"/>
                    </a:lnTo>
                    <a:lnTo>
                      <a:pt x="3460" y="1721"/>
                    </a:lnTo>
                    <a:lnTo>
                      <a:pt x="3460" y="1732"/>
                    </a:lnTo>
                    <a:lnTo>
                      <a:pt x="3459" y="1742"/>
                    </a:lnTo>
                    <a:lnTo>
                      <a:pt x="3456" y="1754"/>
                    </a:lnTo>
                    <a:lnTo>
                      <a:pt x="3452" y="1765"/>
                    </a:lnTo>
                    <a:lnTo>
                      <a:pt x="3452" y="1765"/>
                    </a:lnTo>
                    <a:lnTo>
                      <a:pt x="3432" y="1764"/>
                    </a:lnTo>
                    <a:lnTo>
                      <a:pt x="3422" y="1764"/>
                    </a:lnTo>
                    <a:lnTo>
                      <a:pt x="3414" y="1766"/>
                    </a:lnTo>
                    <a:lnTo>
                      <a:pt x="3406" y="1770"/>
                    </a:lnTo>
                    <a:lnTo>
                      <a:pt x="3399" y="1774"/>
                    </a:lnTo>
                    <a:lnTo>
                      <a:pt x="3386" y="1787"/>
                    </a:lnTo>
                    <a:lnTo>
                      <a:pt x="3376" y="1800"/>
                    </a:lnTo>
                    <a:lnTo>
                      <a:pt x="3370" y="1807"/>
                    </a:lnTo>
                    <a:lnTo>
                      <a:pt x="3364" y="1812"/>
                    </a:lnTo>
                    <a:lnTo>
                      <a:pt x="3357" y="1818"/>
                    </a:lnTo>
                    <a:lnTo>
                      <a:pt x="3351" y="1821"/>
                    </a:lnTo>
                    <a:lnTo>
                      <a:pt x="3344" y="1824"/>
                    </a:lnTo>
                    <a:lnTo>
                      <a:pt x="3336" y="1824"/>
                    </a:lnTo>
                    <a:lnTo>
                      <a:pt x="3327" y="1823"/>
                    </a:lnTo>
                    <a:lnTo>
                      <a:pt x="3316" y="1820"/>
                    </a:lnTo>
                    <a:lnTo>
                      <a:pt x="3305" y="1815"/>
                    </a:lnTo>
                    <a:lnTo>
                      <a:pt x="3294" y="1813"/>
                    </a:lnTo>
                    <a:lnTo>
                      <a:pt x="3281" y="1812"/>
                    </a:lnTo>
                    <a:lnTo>
                      <a:pt x="3268" y="1811"/>
                    </a:lnTo>
                    <a:lnTo>
                      <a:pt x="3254" y="1812"/>
                    </a:lnTo>
                    <a:lnTo>
                      <a:pt x="3240" y="1813"/>
                    </a:lnTo>
                    <a:lnTo>
                      <a:pt x="3226" y="1816"/>
                    </a:lnTo>
                    <a:lnTo>
                      <a:pt x="3212" y="1821"/>
                    </a:lnTo>
                    <a:lnTo>
                      <a:pt x="3199" y="1825"/>
                    </a:lnTo>
                    <a:lnTo>
                      <a:pt x="3186" y="1830"/>
                    </a:lnTo>
                    <a:lnTo>
                      <a:pt x="3174" y="1838"/>
                    </a:lnTo>
                    <a:lnTo>
                      <a:pt x="3162" y="1846"/>
                    </a:lnTo>
                    <a:lnTo>
                      <a:pt x="3152" y="1854"/>
                    </a:lnTo>
                    <a:lnTo>
                      <a:pt x="3145" y="1863"/>
                    </a:lnTo>
                    <a:lnTo>
                      <a:pt x="3137" y="1874"/>
                    </a:lnTo>
                    <a:lnTo>
                      <a:pt x="3133" y="1884"/>
                    </a:lnTo>
                    <a:lnTo>
                      <a:pt x="3121" y="1883"/>
                    </a:lnTo>
                    <a:lnTo>
                      <a:pt x="3110" y="1882"/>
                    </a:lnTo>
                    <a:lnTo>
                      <a:pt x="3098" y="1880"/>
                    </a:lnTo>
                    <a:lnTo>
                      <a:pt x="3087" y="1877"/>
                    </a:lnTo>
                    <a:lnTo>
                      <a:pt x="3066" y="1869"/>
                    </a:lnTo>
                    <a:lnTo>
                      <a:pt x="3044" y="1861"/>
                    </a:lnTo>
                    <a:lnTo>
                      <a:pt x="3023" y="1852"/>
                    </a:lnTo>
                    <a:lnTo>
                      <a:pt x="3002" y="1845"/>
                    </a:lnTo>
                    <a:lnTo>
                      <a:pt x="2991" y="1842"/>
                    </a:lnTo>
                    <a:lnTo>
                      <a:pt x="2981" y="1840"/>
                    </a:lnTo>
                    <a:lnTo>
                      <a:pt x="2970" y="1839"/>
                    </a:lnTo>
                    <a:lnTo>
                      <a:pt x="2960" y="1840"/>
                    </a:lnTo>
                    <a:lnTo>
                      <a:pt x="2923" y="1839"/>
                    </a:lnTo>
                    <a:lnTo>
                      <a:pt x="2880" y="1837"/>
                    </a:lnTo>
                    <a:lnTo>
                      <a:pt x="2870" y="1835"/>
                    </a:lnTo>
                    <a:lnTo>
                      <a:pt x="2860" y="1833"/>
                    </a:lnTo>
                    <a:lnTo>
                      <a:pt x="2851" y="1830"/>
                    </a:lnTo>
                    <a:lnTo>
                      <a:pt x="2842" y="1826"/>
                    </a:lnTo>
                    <a:lnTo>
                      <a:pt x="2836" y="1822"/>
                    </a:lnTo>
                    <a:lnTo>
                      <a:pt x="2829" y="1815"/>
                    </a:lnTo>
                    <a:lnTo>
                      <a:pt x="2825" y="1809"/>
                    </a:lnTo>
                    <a:lnTo>
                      <a:pt x="2822" y="1800"/>
                    </a:lnTo>
                    <a:lnTo>
                      <a:pt x="2808" y="1801"/>
                    </a:lnTo>
                    <a:lnTo>
                      <a:pt x="2794" y="1805"/>
                    </a:lnTo>
                    <a:lnTo>
                      <a:pt x="2780" y="1810"/>
                    </a:lnTo>
                    <a:lnTo>
                      <a:pt x="2764" y="1816"/>
                    </a:lnTo>
                    <a:lnTo>
                      <a:pt x="2749" y="1825"/>
                    </a:lnTo>
                    <a:lnTo>
                      <a:pt x="2734" y="1834"/>
                    </a:lnTo>
                    <a:lnTo>
                      <a:pt x="2719" y="1845"/>
                    </a:lnTo>
                    <a:lnTo>
                      <a:pt x="2704" y="1855"/>
                    </a:lnTo>
                    <a:lnTo>
                      <a:pt x="2673" y="1878"/>
                    </a:lnTo>
                    <a:lnTo>
                      <a:pt x="2645" y="1900"/>
                    </a:lnTo>
                    <a:lnTo>
                      <a:pt x="2620" y="1920"/>
                    </a:lnTo>
                    <a:lnTo>
                      <a:pt x="2598" y="1936"/>
                    </a:lnTo>
                    <a:lnTo>
                      <a:pt x="2581" y="1947"/>
                    </a:lnTo>
                    <a:lnTo>
                      <a:pt x="2564" y="1956"/>
                    </a:lnTo>
                    <a:lnTo>
                      <a:pt x="2548" y="1963"/>
                    </a:lnTo>
                    <a:lnTo>
                      <a:pt x="2530" y="1970"/>
                    </a:lnTo>
                    <a:lnTo>
                      <a:pt x="2514" y="1975"/>
                    </a:lnTo>
                    <a:lnTo>
                      <a:pt x="2497" y="1978"/>
                    </a:lnTo>
                    <a:lnTo>
                      <a:pt x="2481" y="1982"/>
                    </a:lnTo>
                    <a:lnTo>
                      <a:pt x="2463" y="1985"/>
                    </a:lnTo>
                    <a:lnTo>
                      <a:pt x="2428" y="1987"/>
                    </a:lnTo>
                    <a:lnTo>
                      <a:pt x="2393" y="1988"/>
                    </a:lnTo>
                    <a:lnTo>
                      <a:pt x="2356" y="1987"/>
                    </a:lnTo>
                    <a:lnTo>
                      <a:pt x="2317" y="1987"/>
                    </a:lnTo>
                    <a:lnTo>
                      <a:pt x="2317" y="1989"/>
                    </a:lnTo>
                    <a:lnTo>
                      <a:pt x="2316" y="1989"/>
                    </a:lnTo>
                    <a:lnTo>
                      <a:pt x="2315" y="2004"/>
                    </a:lnTo>
                    <a:lnTo>
                      <a:pt x="2314" y="2016"/>
                    </a:lnTo>
                    <a:lnTo>
                      <a:pt x="2310" y="2027"/>
                    </a:lnTo>
                    <a:lnTo>
                      <a:pt x="2306" y="2037"/>
                    </a:lnTo>
                    <a:lnTo>
                      <a:pt x="2301" y="2044"/>
                    </a:lnTo>
                    <a:lnTo>
                      <a:pt x="2295" y="2051"/>
                    </a:lnTo>
                    <a:lnTo>
                      <a:pt x="2288" y="2057"/>
                    </a:lnTo>
                    <a:lnTo>
                      <a:pt x="2280" y="2062"/>
                    </a:lnTo>
                    <a:lnTo>
                      <a:pt x="2243" y="2076"/>
                    </a:lnTo>
                    <a:lnTo>
                      <a:pt x="2199" y="2090"/>
                    </a:lnTo>
                    <a:lnTo>
                      <a:pt x="2186" y="2096"/>
                    </a:lnTo>
                    <a:lnTo>
                      <a:pt x="2175" y="2102"/>
                    </a:lnTo>
                    <a:lnTo>
                      <a:pt x="2164" y="2108"/>
                    </a:lnTo>
                    <a:lnTo>
                      <a:pt x="2154" y="2116"/>
                    </a:lnTo>
                    <a:lnTo>
                      <a:pt x="2138" y="2129"/>
                    </a:lnTo>
                    <a:lnTo>
                      <a:pt x="2123" y="2142"/>
                    </a:lnTo>
                    <a:lnTo>
                      <a:pt x="2107" y="2154"/>
                    </a:lnTo>
                    <a:lnTo>
                      <a:pt x="2090" y="2166"/>
                    </a:lnTo>
                    <a:lnTo>
                      <a:pt x="2081" y="2172"/>
                    </a:lnTo>
                    <a:lnTo>
                      <a:pt x="2070" y="2176"/>
                    </a:lnTo>
                    <a:lnTo>
                      <a:pt x="2058" y="2180"/>
                    </a:lnTo>
                    <a:lnTo>
                      <a:pt x="2044" y="2184"/>
                    </a:lnTo>
                    <a:lnTo>
                      <a:pt x="2032" y="2200"/>
                    </a:lnTo>
                    <a:lnTo>
                      <a:pt x="2019" y="2215"/>
                    </a:lnTo>
                    <a:lnTo>
                      <a:pt x="2011" y="2223"/>
                    </a:lnTo>
                    <a:lnTo>
                      <a:pt x="2005" y="2231"/>
                    </a:lnTo>
                    <a:lnTo>
                      <a:pt x="1998" y="2241"/>
                    </a:lnTo>
                    <a:lnTo>
                      <a:pt x="1992" y="2251"/>
                    </a:lnTo>
                    <a:lnTo>
                      <a:pt x="1986" y="2260"/>
                    </a:lnTo>
                    <a:lnTo>
                      <a:pt x="1982" y="2267"/>
                    </a:lnTo>
                    <a:lnTo>
                      <a:pt x="1978" y="2270"/>
                    </a:lnTo>
                    <a:lnTo>
                      <a:pt x="1972" y="2272"/>
                    </a:lnTo>
                    <a:lnTo>
                      <a:pt x="1960" y="2274"/>
                    </a:lnTo>
                    <a:lnTo>
                      <a:pt x="1940" y="2275"/>
                    </a:lnTo>
                    <a:lnTo>
                      <a:pt x="1931" y="2277"/>
                    </a:lnTo>
                    <a:lnTo>
                      <a:pt x="1921" y="2280"/>
                    </a:lnTo>
                    <a:lnTo>
                      <a:pt x="1913" y="2283"/>
                    </a:lnTo>
                    <a:lnTo>
                      <a:pt x="1904" y="2287"/>
                    </a:lnTo>
                    <a:lnTo>
                      <a:pt x="1895" y="2293"/>
                    </a:lnTo>
                    <a:lnTo>
                      <a:pt x="1887" y="2299"/>
                    </a:lnTo>
                    <a:lnTo>
                      <a:pt x="1878" y="2306"/>
                    </a:lnTo>
                    <a:lnTo>
                      <a:pt x="1870" y="2312"/>
                    </a:lnTo>
                    <a:lnTo>
                      <a:pt x="1855" y="2327"/>
                    </a:lnTo>
                    <a:lnTo>
                      <a:pt x="1841" y="2342"/>
                    </a:lnTo>
                    <a:lnTo>
                      <a:pt x="1828" y="2358"/>
                    </a:lnTo>
                    <a:lnTo>
                      <a:pt x="1816" y="2372"/>
                    </a:lnTo>
                    <a:lnTo>
                      <a:pt x="1808" y="2380"/>
                    </a:lnTo>
                    <a:lnTo>
                      <a:pt x="1801" y="2387"/>
                    </a:lnTo>
                    <a:lnTo>
                      <a:pt x="1795" y="2392"/>
                    </a:lnTo>
                    <a:lnTo>
                      <a:pt x="1788" y="2395"/>
                    </a:lnTo>
                    <a:lnTo>
                      <a:pt x="1784" y="2397"/>
                    </a:lnTo>
                    <a:lnTo>
                      <a:pt x="1778" y="2397"/>
                    </a:lnTo>
                    <a:lnTo>
                      <a:pt x="1774" y="2397"/>
                    </a:lnTo>
                    <a:lnTo>
                      <a:pt x="1770" y="2397"/>
                    </a:lnTo>
                    <a:lnTo>
                      <a:pt x="1762" y="2394"/>
                    </a:lnTo>
                    <a:lnTo>
                      <a:pt x="1754" y="2392"/>
                    </a:lnTo>
                    <a:lnTo>
                      <a:pt x="1750" y="2392"/>
                    </a:lnTo>
                    <a:lnTo>
                      <a:pt x="1746" y="2392"/>
                    </a:lnTo>
                    <a:lnTo>
                      <a:pt x="1741" y="2393"/>
                    </a:lnTo>
                    <a:lnTo>
                      <a:pt x="1736" y="2396"/>
                    </a:lnTo>
                    <a:lnTo>
                      <a:pt x="1730" y="2402"/>
                    </a:lnTo>
                    <a:lnTo>
                      <a:pt x="1723" y="2408"/>
                    </a:lnTo>
                    <a:lnTo>
                      <a:pt x="1718" y="2416"/>
                    </a:lnTo>
                    <a:lnTo>
                      <a:pt x="1713" y="2422"/>
                    </a:lnTo>
                    <a:lnTo>
                      <a:pt x="1708" y="2430"/>
                    </a:lnTo>
                    <a:lnTo>
                      <a:pt x="1702" y="2435"/>
                    </a:lnTo>
                    <a:lnTo>
                      <a:pt x="1700" y="2439"/>
                    </a:lnTo>
                    <a:lnTo>
                      <a:pt x="1696" y="2441"/>
                    </a:lnTo>
                    <a:lnTo>
                      <a:pt x="1693" y="2443"/>
                    </a:lnTo>
                    <a:lnTo>
                      <a:pt x="1688" y="2444"/>
                    </a:lnTo>
                    <a:lnTo>
                      <a:pt x="1682" y="2446"/>
                    </a:lnTo>
                    <a:lnTo>
                      <a:pt x="1674" y="2450"/>
                    </a:lnTo>
                    <a:lnTo>
                      <a:pt x="1666" y="2457"/>
                    </a:lnTo>
                    <a:lnTo>
                      <a:pt x="1655" y="2464"/>
                    </a:lnTo>
                    <a:lnTo>
                      <a:pt x="1632" y="2484"/>
                    </a:lnTo>
                    <a:lnTo>
                      <a:pt x="1607" y="2505"/>
                    </a:lnTo>
                    <a:lnTo>
                      <a:pt x="1582" y="2528"/>
                    </a:lnTo>
                    <a:lnTo>
                      <a:pt x="1560" y="2549"/>
                    </a:lnTo>
                    <a:lnTo>
                      <a:pt x="1543" y="2567"/>
                    </a:lnTo>
                    <a:lnTo>
                      <a:pt x="1531" y="2580"/>
                    </a:lnTo>
                    <a:lnTo>
                      <a:pt x="1519" y="2594"/>
                    </a:lnTo>
                    <a:lnTo>
                      <a:pt x="1506" y="2606"/>
                    </a:lnTo>
                    <a:lnTo>
                      <a:pt x="1493" y="2617"/>
                    </a:lnTo>
                    <a:lnTo>
                      <a:pt x="1480" y="2626"/>
                    </a:lnTo>
                    <a:lnTo>
                      <a:pt x="1467" y="2635"/>
                    </a:lnTo>
                    <a:lnTo>
                      <a:pt x="1453" y="2643"/>
                    </a:lnTo>
                    <a:lnTo>
                      <a:pt x="1439" y="2650"/>
                    </a:lnTo>
                    <a:lnTo>
                      <a:pt x="1425" y="2656"/>
                    </a:lnTo>
                    <a:lnTo>
                      <a:pt x="1396" y="2667"/>
                    </a:lnTo>
                    <a:lnTo>
                      <a:pt x="1365" y="2679"/>
                    </a:lnTo>
                    <a:lnTo>
                      <a:pt x="1350" y="2686"/>
                    </a:lnTo>
                    <a:lnTo>
                      <a:pt x="1335" y="2692"/>
                    </a:lnTo>
                    <a:lnTo>
                      <a:pt x="1320" y="2700"/>
                    </a:lnTo>
                    <a:lnTo>
                      <a:pt x="1305" y="2709"/>
                    </a:lnTo>
                    <a:lnTo>
                      <a:pt x="1305" y="3251"/>
                    </a:lnTo>
                    <a:lnTo>
                      <a:pt x="1305" y="3251"/>
                    </a:lnTo>
                    <a:lnTo>
                      <a:pt x="1291" y="3230"/>
                    </a:lnTo>
                    <a:lnTo>
                      <a:pt x="1274" y="3210"/>
                    </a:lnTo>
                    <a:lnTo>
                      <a:pt x="1257" y="3189"/>
                    </a:lnTo>
                    <a:lnTo>
                      <a:pt x="1239" y="3169"/>
                    </a:lnTo>
                    <a:lnTo>
                      <a:pt x="1200" y="3126"/>
                    </a:lnTo>
                    <a:lnTo>
                      <a:pt x="1159" y="3083"/>
                    </a:lnTo>
                    <a:lnTo>
                      <a:pt x="1141" y="3061"/>
                    </a:lnTo>
                    <a:lnTo>
                      <a:pt x="1123" y="3039"/>
                    </a:lnTo>
                    <a:lnTo>
                      <a:pt x="1106" y="3016"/>
                    </a:lnTo>
                    <a:lnTo>
                      <a:pt x="1091" y="2993"/>
                    </a:lnTo>
                    <a:lnTo>
                      <a:pt x="1085" y="2982"/>
                    </a:lnTo>
                    <a:lnTo>
                      <a:pt x="1078" y="2970"/>
                    </a:lnTo>
                    <a:lnTo>
                      <a:pt x="1073" y="2958"/>
                    </a:lnTo>
                    <a:lnTo>
                      <a:pt x="1068" y="2946"/>
                    </a:lnTo>
                    <a:lnTo>
                      <a:pt x="1064" y="2934"/>
                    </a:lnTo>
                    <a:lnTo>
                      <a:pt x="1061" y="2921"/>
                    </a:lnTo>
                    <a:lnTo>
                      <a:pt x="1059" y="2909"/>
                    </a:lnTo>
                    <a:lnTo>
                      <a:pt x="1057" y="2896"/>
                    </a:lnTo>
                    <a:lnTo>
                      <a:pt x="1057" y="2887"/>
                    </a:lnTo>
                    <a:lnTo>
                      <a:pt x="1054" y="2878"/>
                    </a:lnTo>
                    <a:lnTo>
                      <a:pt x="1051" y="2872"/>
                    </a:lnTo>
                    <a:lnTo>
                      <a:pt x="1047" y="2865"/>
                    </a:lnTo>
                    <a:lnTo>
                      <a:pt x="1042" y="2860"/>
                    </a:lnTo>
                    <a:lnTo>
                      <a:pt x="1037" y="2856"/>
                    </a:lnTo>
                    <a:lnTo>
                      <a:pt x="1031" y="2852"/>
                    </a:lnTo>
                    <a:lnTo>
                      <a:pt x="1023" y="2850"/>
                    </a:lnTo>
                    <a:lnTo>
                      <a:pt x="1008" y="2845"/>
                    </a:lnTo>
                    <a:lnTo>
                      <a:pt x="992" y="2840"/>
                    </a:lnTo>
                    <a:lnTo>
                      <a:pt x="975" y="2836"/>
                    </a:lnTo>
                    <a:lnTo>
                      <a:pt x="960" y="2829"/>
                    </a:lnTo>
                    <a:lnTo>
                      <a:pt x="951" y="2823"/>
                    </a:lnTo>
                    <a:lnTo>
                      <a:pt x="946" y="2817"/>
                    </a:lnTo>
                    <a:lnTo>
                      <a:pt x="942" y="2809"/>
                    </a:lnTo>
                    <a:lnTo>
                      <a:pt x="937" y="2800"/>
                    </a:lnTo>
                    <a:lnTo>
                      <a:pt x="934" y="2783"/>
                    </a:lnTo>
                    <a:lnTo>
                      <a:pt x="933" y="2766"/>
                    </a:lnTo>
                    <a:lnTo>
                      <a:pt x="932" y="2758"/>
                    </a:lnTo>
                    <a:lnTo>
                      <a:pt x="931" y="2751"/>
                    </a:lnTo>
                    <a:lnTo>
                      <a:pt x="929" y="2745"/>
                    </a:lnTo>
                    <a:lnTo>
                      <a:pt x="926" y="2741"/>
                    </a:lnTo>
                    <a:lnTo>
                      <a:pt x="924" y="2739"/>
                    </a:lnTo>
                    <a:lnTo>
                      <a:pt x="922" y="2738"/>
                    </a:lnTo>
                    <a:lnTo>
                      <a:pt x="920" y="2737"/>
                    </a:lnTo>
                    <a:lnTo>
                      <a:pt x="917" y="2737"/>
                    </a:lnTo>
                    <a:lnTo>
                      <a:pt x="909" y="2737"/>
                    </a:lnTo>
                    <a:lnTo>
                      <a:pt x="900" y="2740"/>
                    </a:lnTo>
                    <a:lnTo>
                      <a:pt x="894" y="2742"/>
                    </a:lnTo>
                    <a:lnTo>
                      <a:pt x="887" y="2743"/>
                    </a:lnTo>
                    <a:lnTo>
                      <a:pt x="883" y="2743"/>
                    </a:lnTo>
                    <a:lnTo>
                      <a:pt x="879" y="2742"/>
                    </a:lnTo>
                    <a:lnTo>
                      <a:pt x="874" y="2740"/>
                    </a:lnTo>
                    <a:lnTo>
                      <a:pt x="871" y="2737"/>
                    </a:lnTo>
                    <a:lnTo>
                      <a:pt x="868" y="2732"/>
                    </a:lnTo>
                    <a:lnTo>
                      <a:pt x="866" y="2728"/>
                    </a:lnTo>
                    <a:lnTo>
                      <a:pt x="858" y="2706"/>
                    </a:lnTo>
                    <a:lnTo>
                      <a:pt x="852" y="2684"/>
                    </a:lnTo>
                    <a:lnTo>
                      <a:pt x="850" y="2676"/>
                    </a:lnTo>
                    <a:lnTo>
                      <a:pt x="848" y="2669"/>
                    </a:lnTo>
                    <a:lnTo>
                      <a:pt x="847" y="2660"/>
                    </a:lnTo>
                    <a:lnTo>
                      <a:pt x="848" y="2652"/>
                    </a:lnTo>
                    <a:lnTo>
                      <a:pt x="852" y="2634"/>
                    </a:lnTo>
                    <a:lnTo>
                      <a:pt x="856" y="2617"/>
                    </a:lnTo>
                    <a:lnTo>
                      <a:pt x="870" y="2582"/>
                    </a:lnTo>
                    <a:lnTo>
                      <a:pt x="882" y="2551"/>
                    </a:lnTo>
                    <a:lnTo>
                      <a:pt x="882" y="2549"/>
                    </a:lnTo>
                    <a:lnTo>
                      <a:pt x="881" y="2548"/>
                    </a:lnTo>
                    <a:lnTo>
                      <a:pt x="879" y="2547"/>
                    </a:lnTo>
                    <a:lnTo>
                      <a:pt x="876" y="2545"/>
                    </a:lnTo>
                    <a:lnTo>
                      <a:pt x="867" y="2545"/>
                    </a:lnTo>
                    <a:lnTo>
                      <a:pt x="857" y="2547"/>
                    </a:lnTo>
                    <a:lnTo>
                      <a:pt x="835" y="2550"/>
                    </a:lnTo>
                    <a:lnTo>
                      <a:pt x="820" y="2551"/>
                    </a:lnTo>
                    <a:lnTo>
                      <a:pt x="818" y="2550"/>
                    </a:lnTo>
                    <a:lnTo>
                      <a:pt x="816" y="2549"/>
                    </a:lnTo>
                    <a:lnTo>
                      <a:pt x="815" y="2545"/>
                    </a:lnTo>
                    <a:lnTo>
                      <a:pt x="815" y="2542"/>
                    </a:lnTo>
                    <a:lnTo>
                      <a:pt x="814" y="2534"/>
                    </a:lnTo>
                    <a:lnTo>
                      <a:pt x="815" y="2524"/>
                    </a:lnTo>
                    <a:lnTo>
                      <a:pt x="817" y="2503"/>
                    </a:lnTo>
                    <a:lnTo>
                      <a:pt x="818" y="2487"/>
                    </a:lnTo>
                    <a:lnTo>
                      <a:pt x="799" y="2468"/>
                    </a:lnTo>
                    <a:lnTo>
                      <a:pt x="780" y="2448"/>
                    </a:lnTo>
                    <a:lnTo>
                      <a:pt x="777" y="2443"/>
                    </a:lnTo>
                    <a:lnTo>
                      <a:pt x="774" y="2437"/>
                    </a:lnTo>
                    <a:lnTo>
                      <a:pt x="770" y="2431"/>
                    </a:lnTo>
                    <a:lnTo>
                      <a:pt x="769" y="2424"/>
                    </a:lnTo>
                    <a:lnTo>
                      <a:pt x="768" y="2418"/>
                    </a:lnTo>
                    <a:lnTo>
                      <a:pt x="767" y="2412"/>
                    </a:lnTo>
                    <a:lnTo>
                      <a:pt x="768" y="2404"/>
                    </a:lnTo>
                    <a:lnTo>
                      <a:pt x="770" y="2395"/>
                    </a:lnTo>
                    <a:lnTo>
                      <a:pt x="773" y="2389"/>
                    </a:lnTo>
                    <a:lnTo>
                      <a:pt x="777" y="2383"/>
                    </a:lnTo>
                    <a:lnTo>
                      <a:pt x="782" y="2379"/>
                    </a:lnTo>
                    <a:lnTo>
                      <a:pt x="788" y="2376"/>
                    </a:lnTo>
                    <a:lnTo>
                      <a:pt x="803" y="2370"/>
                    </a:lnTo>
                    <a:lnTo>
                      <a:pt x="818" y="2367"/>
                    </a:lnTo>
                    <a:lnTo>
                      <a:pt x="835" y="2364"/>
                    </a:lnTo>
                    <a:lnTo>
                      <a:pt x="851" y="2361"/>
                    </a:lnTo>
                    <a:lnTo>
                      <a:pt x="857" y="2358"/>
                    </a:lnTo>
                    <a:lnTo>
                      <a:pt x="864" y="2354"/>
                    </a:lnTo>
                    <a:lnTo>
                      <a:pt x="869" y="2350"/>
                    </a:lnTo>
                    <a:lnTo>
                      <a:pt x="873" y="2345"/>
                    </a:lnTo>
                    <a:lnTo>
                      <a:pt x="876" y="2340"/>
                    </a:lnTo>
                    <a:lnTo>
                      <a:pt x="877" y="2337"/>
                    </a:lnTo>
                    <a:lnTo>
                      <a:pt x="877" y="2333"/>
                    </a:lnTo>
                    <a:lnTo>
                      <a:pt x="876" y="2328"/>
                    </a:lnTo>
                    <a:lnTo>
                      <a:pt x="873" y="2319"/>
                    </a:lnTo>
                    <a:lnTo>
                      <a:pt x="871" y="2310"/>
                    </a:lnTo>
                    <a:lnTo>
                      <a:pt x="869" y="2301"/>
                    </a:lnTo>
                    <a:lnTo>
                      <a:pt x="869" y="2294"/>
                    </a:lnTo>
                    <a:lnTo>
                      <a:pt x="871" y="2289"/>
                    </a:lnTo>
                    <a:lnTo>
                      <a:pt x="873" y="2286"/>
                    </a:lnTo>
                    <a:lnTo>
                      <a:pt x="877" y="2284"/>
                    </a:lnTo>
                    <a:lnTo>
                      <a:pt x="881" y="2282"/>
                    </a:lnTo>
                    <a:lnTo>
                      <a:pt x="896" y="2275"/>
                    </a:lnTo>
                    <a:lnTo>
                      <a:pt x="907" y="2270"/>
                    </a:lnTo>
                    <a:lnTo>
                      <a:pt x="911" y="2267"/>
                    </a:lnTo>
                    <a:lnTo>
                      <a:pt x="915" y="2264"/>
                    </a:lnTo>
                    <a:lnTo>
                      <a:pt x="918" y="2260"/>
                    </a:lnTo>
                    <a:lnTo>
                      <a:pt x="920" y="2256"/>
                    </a:lnTo>
                    <a:lnTo>
                      <a:pt x="921" y="2253"/>
                    </a:lnTo>
                    <a:lnTo>
                      <a:pt x="922" y="2248"/>
                    </a:lnTo>
                    <a:lnTo>
                      <a:pt x="923" y="2243"/>
                    </a:lnTo>
                    <a:lnTo>
                      <a:pt x="922" y="2238"/>
                    </a:lnTo>
                    <a:lnTo>
                      <a:pt x="921" y="2225"/>
                    </a:lnTo>
                    <a:lnTo>
                      <a:pt x="918" y="2208"/>
                    </a:lnTo>
                    <a:lnTo>
                      <a:pt x="913" y="2194"/>
                    </a:lnTo>
                    <a:lnTo>
                      <a:pt x="907" y="2180"/>
                    </a:lnTo>
                    <a:lnTo>
                      <a:pt x="899" y="2167"/>
                    </a:lnTo>
                    <a:lnTo>
                      <a:pt x="891" y="2156"/>
                    </a:lnTo>
                    <a:lnTo>
                      <a:pt x="882" y="2143"/>
                    </a:lnTo>
                    <a:lnTo>
                      <a:pt x="873" y="2130"/>
                    </a:lnTo>
                    <a:lnTo>
                      <a:pt x="867" y="2116"/>
                    </a:lnTo>
                    <a:lnTo>
                      <a:pt x="860" y="2102"/>
                    </a:lnTo>
                    <a:lnTo>
                      <a:pt x="856" y="2085"/>
                    </a:lnTo>
                    <a:lnTo>
                      <a:pt x="853" y="2068"/>
                    </a:lnTo>
                    <a:lnTo>
                      <a:pt x="850" y="2051"/>
                    </a:lnTo>
                    <a:lnTo>
                      <a:pt x="846" y="2034"/>
                    </a:lnTo>
                    <a:lnTo>
                      <a:pt x="843" y="2016"/>
                    </a:lnTo>
                    <a:lnTo>
                      <a:pt x="838" y="2000"/>
                    </a:lnTo>
                    <a:lnTo>
                      <a:pt x="834" y="1991"/>
                    </a:lnTo>
                    <a:lnTo>
                      <a:pt x="831" y="1984"/>
                    </a:lnTo>
                    <a:lnTo>
                      <a:pt x="827" y="1975"/>
                    </a:lnTo>
                    <a:lnTo>
                      <a:pt x="822" y="1968"/>
                    </a:lnTo>
                    <a:lnTo>
                      <a:pt x="813" y="1955"/>
                    </a:lnTo>
                    <a:lnTo>
                      <a:pt x="803" y="1942"/>
                    </a:lnTo>
                    <a:lnTo>
                      <a:pt x="793" y="1929"/>
                    </a:lnTo>
                    <a:lnTo>
                      <a:pt x="781" y="1918"/>
                    </a:lnTo>
                    <a:lnTo>
                      <a:pt x="769" y="1907"/>
                    </a:lnTo>
                    <a:lnTo>
                      <a:pt x="756" y="1899"/>
                    </a:lnTo>
                    <a:lnTo>
                      <a:pt x="749" y="1895"/>
                    </a:lnTo>
                    <a:lnTo>
                      <a:pt x="741" y="1892"/>
                    </a:lnTo>
                    <a:lnTo>
                      <a:pt x="734" y="1889"/>
                    </a:lnTo>
                    <a:lnTo>
                      <a:pt x="725" y="1888"/>
                    </a:lnTo>
                    <a:lnTo>
                      <a:pt x="710" y="1884"/>
                    </a:lnTo>
                    <a:lnTo>
                      <a:pt x="685" y="1881"/>
                    </a:lnTo>
                    <a:lnTo>
                      <a:pt x="672" y="1880"/>
                    </a:lnTo>
                    <a:lnTo>
                      <a:pt x="661" y="1880"/>
                    </a:lnTo>
                    <a:lnTo>
                      <a:pt x="652" y="1880"/>
                    </a:lnTo>
                    <a:lnTo>
                      <a:pt x="648" y="1881"/>
                    </a:lnTo>
                    <a:lnTo>
                      <a:pt x="645" y="1880"/>
                    </a:lnTo>
                    <a:lnTo>
                      <a:pt x="640" y="1881"/>
                    </a:lnTo>
                    <a:lnTo>
                      <a:pt x="636" y="1883"/>
                    </a:lnTo>
                    <a:lnTo>
                      <a:pt x="632" y="1888"/>
                    </a:lnTo>
                    <a:lnTo>
                      <a:pt x="627" y="1893"/>
                    </a:lnTo>
                    <a:lnTo>
                      <a:pt x="624" y="1901"/>
                    </a:lnTo>
                    <a:lnTo>
                      <a:pt x="617" y="1917"/>
                    </a:lnTo>
                    <a:lnTo>
                      <a:pt x="609" y="1934"/>
                    </a:lnTo>
                    <a:lnTo>
                      <a:pt x="606" y="1943"/>
                    </a:lnTo>
                    <a:lnTo>
                      <a:pt x="601" y="1949"/>
                    </a:lnTo>
                    <a:lnTo>
                      <a:pt x="598" y="1954"/>
                    </a:lnTo>
                    <a:lnTo>
                      <a:pt x="594" y="1957"/>
                    </a:lnTo>
                    <a:lnTo>
                      <a:pt x="593" y="1958"/>
                    </a:lnTo>
                    <a:lnTo>
                      <a:pt x="591" y="1958"/>
                    </a:lnTo>
                    <a:lnTo>
                      <a:pt x="588" y="1957"/>
                    </a:lnTo>
                    <a:lnTo>
                      <a:pt x="586" y="1955"/>
                    </a:lnTo>
                    <a:lnTo>
                      <a:pt x="582" y="1949"/>
                    </a:lnTo>
                    <a:lnTo>
                      <a:pt x="578" y="1941"/>
                    </a:lnTo>
                    <a:lnTo>
                      <a:pt x="573" y="1931"/>
                    </a:lnTo>
                    <a:lnTo>
                      <a:pt x="569" y="1926"/>
                    </a:lnTo>
                    <a:lnTo>
                      <a:pt x="567" y="1923"/>
                    </a:lnTo>
                    <a:lnTo>
                      <a:pt x="565" y="1923"/>
                    </a:lnTo>
                    <a:lnTo>
                      <a:pt x="561" y="1922"/>
                    </a:lnTo>
                    <a:lnTo>
                      <a:pt x="559" y="1923"/>
                    </a:lnTo>
                    <a:lnTo>
                      <a:pt x="555" y="1926"/>
                    </a:lnTo>
                    <a:lnTo>
                      <a:pt x="550" y="1930"/>
                    </a:lnTo>
                    <a:lnTo>
                      <a:pt x="546" y="1934"/>
                    </a:lnTo>
                    <a:lnTo>
                      <a:pt x="541" y="1940"/>
                    </a:lnTo>
                    <a:lnTo>
                      <a:pt x="536" y="1944"/>
                    </a:lnTo>
                    <a:lnTo>
                      <a:pt x="532" y="1948"/>
                    </a:lnTo>
                    <a:lnTo>
                      <a:pt x="528" y="1951"/>
                    </a:lnTo>
                    <a:lnTo>
                      <a:pt x="522" y="1951"/>
                    </a:lnTo>
                    <a:lnTo>
                      <a:pt x="520" y="1951"/>
                    </a:lnTo>
                    <a:lnTo>
                      <a:pt x="518" y="1949"/>
                    </a:lnTo>
                    <a:lnTo>
                      <a:pt x="516" y="1947"/>
                    </a:lnTo>
                    <a:lnTo>
                      <a:pt x="513" y="1945"/>
                    </a:lnTo>
                    <a:lnTo>
                      <a:pt x="508" y="1935"/>
                    </a:lnTo>
                    <a:lnTo>
                      <a:pt x="503" y="1922"/>
                    </a:lnTo>
                    <a:lnTo>
                      <a:pt x="501" y="1915"/>
                    </a:lnTo>
                    <a:lnTo>
                      <a:pt x="497" y="1908"/>
                    </a:lnTo>
                    <a:lnTo>
                      <a:pt x="494" y="1903"/>
                    </a:lnTo>
                    <a:lnTo>
                      <a:pt x="492" y="1899"/>
                    </a:lnTo>
                    <a:lnTo>
                      <a:pt x="489" y="1896"/>
                    </a:lnTo>
                    <a:lnTo>
                      <a:pt x="485" y="1894"/>
                    </a:lnTo>
                    <a:lnTo>
                      <a:pt x="482" y="1893"/>
                    </a:lnTo>
                    <a:lnTo>
                      <a:pt x="478" y="1893"/>
                    </a:lnTo>
                    <a:lnTo>
                      <a:pt x="470" y="1896"/>
                    </a:lnTo>
                    <a:lnTo>
                      <a:pt x="462" y="1902"/>
                    </a:lnTo>
                    <a:lnTo>
                      <a:pt x="452" y="1909"/>
                    </a:lnTo>
                    <a:lnTo>
                      <a:pt x="440" y="1918"/>
                    </a:lnTo>
                    <a:lnTo>
                      <a:pt x="428" y="1929"/>
                    </a:lnTo>
                    <a:lnTo>
                      <a:pt x="416" y="1938"/>
                    </a:lnTo>
                    <a:lnTo>
                      <a:pt x="405" y="1947"/>
                    </a:lnTo>
                    <a:lnTo>
                      <a:pt x="395" y="1953"/>
                    </a:lnTo>
                    <a:lnTo>
                      <a:pt x="390" y="1955"/>
                    </a:lnTo>
                    <a:lnTo>
                      <a:pt x="386" y="1955"/>
                    </a:lnTo>
                    <a:lnTo>
                      <a:pt x="380" y="1954"/>
                    </a:lnTo>
                    <a:lnTo>
                      <a:pt x="376" y="1950"/>
                    </a:lnTo>
                    <a:lnTo>
                      <a:pt x="372" y="1946"/>
                    </a:lnTo>
                    <a:lnTo>
                      <a:pt x="367" y="1940"/>
                    </a:lnTo>
                    <a:lnTo>
                      <a:pt x="363" y="1932"/>
                    </a:lnTo>
                    <a:lnTo>
                      <a:pt x="359" y="1921"/>
                    </a:lnTo>
                    <a:lnTo>
                      <a:pt x="355" y="1916"/>
                    </a:lnTo>
                    <a:lnTo>
                      <a:pt x="353" y="1910"/>
                    </a:lnTo>
                    <a:lnTo>
                      <a:pt x="350" y="1906"/>
                    </a:lnTo>
                    <a:lnTo>
                      <a:pt x="347" y="1903"/>
                    </a:lnTo>
                    <a:lnTo>
                      <a:pt x="343" y="1900"/>
                    </a:lnTo>
                    <a:lnTo>
                      <a:pt x="339" y="1897"/>
                    </a:lnTo>
                    <a:lnTo>
                      <a:pt x="336" y="1896"/>
                    </a:lnTo>
                    <a:lnTo>
                      <a:pt x="332" y="1895"/>
                    </a:lnTo>
                    <a:lnTo>
                      <a:pt x="323" y="1896"/>
                    </a:lnTo>
                    <a:lnTo>
                      <a:pt x="313" y="1899"/>
                    </a:lnTo>
                    <a:lnTo>
                      <a:pt x="303" y="1902"/>
                    </a:lnTo>
                    <a:lnTo>
                      <a:pt x="294" y="1907"/>
                    </a:lnTo>
                    <a:lnTo>
                      <a:pt x="274" y="1920"/>
                    </a:lnTo>
                    <a:lnTo>
                      <a:pt x="256" y="1934"/>
                    </a:lnTo>
                    <a:lnTo>
                      <a:pt x="239" y="1946"/>
                    </a:lnTo>
                    <a:lnTo>
                      <a:pt x="226" y="1956"/>
                    </a:lnTo>
                    <a:lnTo>
                      <a:pt x="221" y="1958"/>
                    </a:lnTo>
                    <a:lnTo>
                      <a:pt x="214" y="1960"/>
                    </a:lnTo>
                    <a:lnTo>
                      <a:pt x="209" y="1961"/>
                    </a:lnTo>
                    <a:lnTo>
                      <a:pt x="205" y="1962"/>
                    </a:lnTo>
                    <a:lnTo>
                      <a:pt x="199" y="1962"/>
                    </a:lnTo>
                    <a:lnTo>
                      <a:pt x="195" y="1961"/>
                    </a:lnTo>
                    <a:lnTo>
                      <a:pt x="190" y="1959"/>
                    </a:lnTo>
                    <a:lnTo>
                      <a:pt x="185" y="1957"/>
                    </a:lnTo>
                    <a:lnTo>
                      <a:pt x="178" y="1951"/>
                    </a:lnTo>
                    <a:lnTo>
                      <a:pt x="170" y="1944"/>
                    </a:lnTo>
                    <a:lnTo>
                      <a:pt x="162" y="1934"/>
                    </a:lnTo>
                    <a:lnTo>
                      <a:pt x="157" y="1923"/>
                    </a:lnTo>
                    <a:lnTo>
                      <a:pt x="152" y="1911"/>
                    </a:lnTo>
                    <a:lnTo>
                      <a:pt x="146" y="1900"/>
                    </a:lnTo>
                    <a:lnTo>
                      <a:pt x="143" y="1888"/>
                    </a:lnTo>
                    <a:lnTo>
                      <a:pt x="139" y="1875"/>
                    </a:lnTo>
                    <a:lnTo>
                      <a:pt x="133" y="1852"/>
                    </a:lnTo>
                    <a:lnTo>
                      <a:pt x="130" y="1833"/>
                    </a:lnTo>
                    <a:lnTo>
                      <a:pt x="126" y="1800"/>
                    </a:lnTo>
                    <a:lnTo>
                      <a:pt x="123" y="1783"/>
                    </a:lnTo>
                    <a:lnTo>
                      <a:pt x="122" y="1782"/>
                    </a:lnTo>
                    <a:lnTo>
                      <a:pt x="120" y="1781"/>
                    </a:lnTo>
                    <a:lnTo>
                      <a:pt x="118" y="1782"/>
                    </a:lnTo>
                    <a:lnTo>
                      <a:pt x="115" y="1784"/>
                    </a:lnTo>
                    <a:lnTo>
                      <a:pt x="106" y="1792"/>
                    </a:lnTo>
                    <a:lnTo>
                      <a:pt x="92" y="1805"/>
                    </a:lnTo>
                    <a:lnTo>
                      <a:pt x="77" y="1819"/>
                    </a:lnTo>
                    <a:lnTo>
                      <a:pt x="66" y="1829"/>
                    </a:lnTo>
                    <a:lnTo>
                      <a:pt x="62" y="1833"/>
                    </a:lnTo>
                    <a:lnTo>
                      <a:pt x="57" y="1835"/>
                    </a:lnTo>
                    <a:lnTo>
                      <a:pt x="54" y="1836"/>
                    </a:lnTo>
                    <a:lnTo>
                      <a:pt x="51" y="1836"/>
                    </a:lnTo>
                    <a:lnTo>
                      <a:pt x="48" y="1835"/>
                    </a:lnTo>
                    <a:lnTo>
                      <a:pt x="45" y="1832"/>
                    </a:lnTo>
                    <a:lnTo>
                      <a:pt x="42" y="1828"/>
                    </a:lnTo>
                    <a:lnTo>
                      <a:pt x="40" y="1824"/>
                    </a:lnTo>
                    <a:lnTo>
                      <a:pt x="34" y="1812"/>
                    </a:lnTo>
                    <a:lnTo>
                      <a:pt x="26" y="1797"/>
                    </a:lnTo>
                    <a:lnTo>
                      <a:pt x="0" y="1724"/>
                    </a:lnTo>
                    <a:lnTo>
                      <a:pt x="0" y="1724"/>
                    </a:lnTo>
                    <a:lnTo>
                      <a:pt x="11" y="1713"/>
                    </a:lnTo>
                    <a:lnTo>
                      <a:pt x="21" y="1700"/>
                    </a:lnTo>
                    <a:lnTo>
                      <a:pt x="29" y="1688"/>
                    </a:lnTo>
                    <a:lnTo>
                      <a:pt x="38" y="1674"/>
                    </a:lnTo>
                    <a:lnTo>
                      <a:pt x="47" y="1661"/>
                    </a:lnTo>
                    <a:lnTo>
                      <a:pt x="56" y="1649"/>
                    </a:lnTo>
                    <a:lnTo>
                      <a:pt x="67" y="1637"/>
                    </a:lnTo>
                    <a:lnTo>
                      <a:pt x="79" y="1626"/>
                    </a:lnTo>
                    <a:lnTo>
                      <a:pt x="97" y="1612"/>
                    </a:lnTo>
                    <a:lnTo>
                      <a:pt x="115" y="1596"/>
                    </a:lnTo>
                    <a:lnTo>
                      <a:pt x="131" y="1578"/>
                    </a:lnTo>
                    <a:lnTo>
                      <a:pt x="147" y="1559"/>
                    </a:lnTo>
                    <a:lnTo>
                      <a:pt x="164" y="1539"/>
                    </a:lnTo>
                    <a:lnTo>
                      <a:pt x="178" y="1517"/>
                    </a:lnTo>
                    <a:lnTo>
                      <a:pt x="193" y="1496"/>
                    </a:lnTo>
                    <a:lnTo>
                      <a:pt x="206" y="1473"/>
                    </a:lnTo>
                    <a:lnTo>
                      <a:pt x="232" y="1427"/>
                    </a:lnTo>
                    <a:lnTo>
                      <a:pt x="257" y="1380"/>
                    </a:lnTo>
                    <a:lnTo>
                      <a:pt x="280" y="1336"/>
                    </a:lnTo>
                    <a:lnTo>
                      <a:pt x="301" y="1293"/>
                    </a:lnTo>
                    <a:lnTo>
                      <a:pt x="313" y="1270"/>
                    </a:lnTo>
                    <a:lnTo>
                      <a:pt x="323" y="1247"/>
                    </a:lnTo>
                    <a:lnTo>
                      <a:pt x="332" y="1225"/>
                    </a:lnTo>
                    <a:lnTo>
                      <a:pt x="339" y="1202"/>
                    </a:lnTo>
                    <a:lnTo>
                      <a:pt x="347" y="1180"/>
                    </a:lnTo>
                    <a:lnTo>
                      <a:pt x="352" y="1159"/>
                    </a:lnTo>
                    <a:lnTo>
                      <a:pt x="358" y="1136"/>
                    </a:lnTo>
                    <a:lnTo>
                      <a:pt x="363" y="1114"/>
                    </a:lnTo>
                    <a:lnTo>
                      <a:pt x="372" y="1070"/>
                    </a:lnTo>
                    <a:lnTo>
                      <a:pt x="381" y="1026"/>
                    </a:lnTo>
                    <a:lnTo>
                      <a:pt x="387" y="1002"/>
                    </a:lnTo>
                    <a:lnTo>
                      <a:pt x="392" y="979"/>
                    </a:lnTo>
                    <a:lnTo>
                      <a:pt x="399" y="956"/>
                    </a:lnTo>
                    <a:lnTo>
                      <a:pt x="406" y="932"/>
                    </a:lnTo>
                    <a:lnTo>
                      <a:pt x="405" y="914"/>
                    </a:lnTo>
                    <a:lnTo>
                      <a:pt x="403" y="897"/>
                    </a:lnTo>
                    <a:lnTo>
                      <a:pt x="401" y="882"/>
                    </a:lnTo>
                    <a:lnTo>
                      <a:pt x="397" y="869"/>
                    </a:lnTo>
                    <a:lnTo>
                      <a:pt x="392" y="856"/>
                    </a:lnTo>
                    <a:lnTo>
                      <a:pt x="386" y="844"/>
                    </a:lnTo>
                    <a:lnTo>
                      <a:pt x="380" y="834"/>
                    </a:lnTo>
                    <a:lnTo>
                      <a:pt x="373" y="824"/>
                    </a:lnTo>
                    <a:lnTo>
                      <a:pt x="359" y="803"/>
                    </a:lnTo>
                    <a:lnTo>
                      <a:pt x="341" y="783"/>
                    </a:lnTo>
                    <a:lnTo>
                      <a:pt x="324" y="761"/>
                    </a:lnTo>
                    <a:lnTo>
                      <a:pt x="307" y="735"/>
                    </a:lnTo>
                    <a:lnTo>
                      <a:pt x="285" y="695"/>
                    </a:lnTo>
                    <a:lnTo>
                      <a:pt x="262" y="657"/>
                    </a:lnTo>
                    <a:lnTo>
                      <a:pt x="256" y="647"/>
                    </a:lnTo>
                    <a:lnTo>
                      <a:pt x="248" y="639"/>
                    </a:lnTo>
                    <a:lnTo>
                      <a:pt x="241" y="632"/>
                    </a:lnTo>
                    <a:lnTo>
                      <a:pt x="232" y="625"/>
                    </a:lnTo>
                    <a:lnTo>
                      <a:pt x="222" y="620"/>
                    </a:lnTo>
                    <a:lnTo>
                      <a:pt x="212" y="615"/>
                    </a:lnTo>
                    <a:lnTo>
                      <a:pt x="200" y="613"/>
                    </a:lnTo>
                    <a:lnTo>
                      <a:pt x="188" y="611"/>
                    </a:lnTo>
                    <a:lnTo>
                      <a:pt x="178" y="610"/>
                    </a:lnTo>
                    <a:lnTo>
                      <a:pt x="169" y="609"/>
                    </a:lnTo>
                    <a:lnTo>
                      <a:pt x="160" y="606"/>
                    </a:lnTo>
                    <a:lnTo>
                      <a:pt x="154" y="603"/>
                    </a:lnTo>
                    <a:lnTo>
                      <a:pt x="148" y="598"/>
                    </a:lnTo>
                    <a:lnTo>
                      <a:pt x="144" y="593"/>
                    </a:lnTo>
                    <a:lnTo>
                      <a:pt x="141" y="587"/>
                    </a:lnTo>
                    <a:lnTo>
                      <a:pt x="139" y="581"/>
                    </a:lnTo>
                    <a:lnTo>
                      <a:pt x="138" y="573"/>
                    </a:lnTo>
                    <a:lnTo>
                      <a:pt x="136" y="567"/>
                    </a:lnTo>
                    <a:lnTo>
                      <a:pt x="136" y="558"/>
                    </a:lnTo>
                    <a:lnTo>
                      <a:pt x="138" y="551"/>
                    </a:lnTo>
                    <a:lnTo>
                      <a:pt x="142" y="532"/>
                    </a:lnTo>
                    <a:lnTo>
                      <a:pt x="147" y="514"/>
                    </a:lnTo>
                    <a:lnTo>
                      <a:pt x="154" y="495"/>
                    </a:lnTo>
                    <a:lnTo>
                      <a:pt x="162" y="476"/>
                    </a:lnTo>
                    <a:lnTo>
                      <a:pt x="171" y="457"/>
                    </a:lnTo>
                    <a:lnTo>
                      <a:pt x="180" y="438"/>
                    </a:lnTo>
                    <a:lnTo>
                      <a:pt x="188" y="420"/>
                    </a:lnTo>
                    <a:lnTo>
                      <a:pt x="195" y="405"/>
                    </a:lnTo>
                    <a:lnTo>
                      <a:pt x="201" y="390"/>
                    </a:lnTo>
                    <a:lnTo>
                      <a:pt x="205" y="378"/>
                    </a:lnTo>
                    <a:lnTo>
                      <a:pt x="209" y="361"/>
                    </a:lnTo>
                    <a:lnTo>
                      <a:pt x="211" y="343"/>
                    </a:lnTo>
                    <a:lnTo>
                      <a:pt x="213" y="327"/>
                    </a:lnTo>
                    <a:lnTo>
                      <a:pt x="213" y="312"/>
                    </a:lnTo>
                    <a:lnTo>
                      <a:pt x="213" y="297"/>
                    </a:lnTo>
                    <a:lnTo>
                      <a:pt x="211" y="281"/>
                    </a:lnTo>
                    <a:lnTo>
                      <a:pt x="209" y="263"/>
                    </a:lnTo>
                    <a:lnTo>
                      <a:pt x="206" y="245"/>
                    </a:lnTo>
                    <a:lnTo>
                      <a:pt x="205" y="233"/>
                    </a:lnTo>
                    <a:lnTo>
                      <a:pt x="204" y="222"/>
                    </a:lnTo>
                    <a:lnTo>
                      <a:pt x="204" y="222"/>
                    </a:lnTo>
                    <a:lnTo>
                      <a:pt x="251" y="257"/>
                    </a:lnTo>
                    <a:lnTo>
                      <a:pt x="249" y="272"/>
                    </a:lnTo>
                    <a:lnTo>
                      <a:pt x="249" y="288"/>
                    </a:lnTo>
                    <a:lnTo>
                      <a:pt x="251" y="306"/>
                    </a:lnTo>
                    <a:lnTo>
                      <a:pt x="255" y="323"/>
                    </a:lnTo>
                    <a:lnTo>
                      <a:pt x="262" y="357"/>
                    </a:lnTo>
                    <a:lnTo>
                      <a:pt x="271" y="387"/>
                    </a:lnTo>
                    <a:lnTo>
                      <a:pt x="287" y="385"/>
                    </a:lnTo>
                    <a:lnTo>
                      <a:pt x="302" y="383"/>
                    </a:lnTo>
                    <a:lnTo>
                      <a:pt x="316" y="380"/>
                    </a:lnTo>
                    <a:lnTo>
                      <a:pt x="328" y="376"/>
                    </a:lnTo>
                    <a:lnTo>
                      <a:pt x="340" y="370"/>
                    </a:lnTo>
                    <a:lnTo>
                      <a:pt x="351" y="364"/>
                    </a:lnTo>
                    <a:lnTo>
                      <a:pt x="361" y="357"/>
                    </a:lnTo>
                    <a:lnTo>
                      <a:pt x="371" y="349"/>
                    </a:lnTo>
                    <a:lnTo>
                      <a:pt x="388" y="330"/>
                    </a:lnTo>
                    <a:lnTo>
                      <a:pt x="406" y="311"/>
                    </a:lnTo>
                    <a:lnTo>
                      <a:pt x="425" y="289"/>
                    </a:lnTo>
                    <a:lnTo>
                      <a:pt x="445" y="267"/>
                    </a:lnTo>
                    <a:lnTo>
                      <a:pt x="453" y="260"/>
                    </a:lnTo>
                    <a:lnTo>
                      <a:pt x="459" y="257"/>
                    </a:lnTo>
                    <a:lnTo>
                      <a:pt x="462" y="257"/>
                    </a:lnTo>
                    <a:lnTo>
                      <a:pt x="465" y="257"/>
                    </a:lnTo>
                    <a:lnTo>
                      <a:pt x="467" y="257"/>
                    </a:lnTo>
                    <a:lnTo>
                      <a:pt x="469" y="259"/>
                    </a:lnTo>
                    <a:lnTo>
                      <a:pt x="472" y="263"/>
                    </a:lnTo>
                    <a:lnTo>
                      <a:pt x="475" y="269"/>
                    </a:lnTo>
                    <a:lnTo>
                      <a:pt x="478" y="276"/>
                    </a:lnTo>
                    <a:lnTo>
                      <a:pt x="480" y="285"/>
                    </a:lnTo>
                    <a:lnTo>
                      <a:pt x="482" y="294"/>
                    </a:lnTo>
                    <a:lnTo>
                      <a:pt x="485" y="302"/>
                    </a:lnTo>
                    <a:lnTo>
                      <a:pt x="489" y="311"/>
                    </a:lnTo>
                    <a:lnTo>
                      <a:pt x="493" y="320"/>
                    </a:lnTo>
                    <a:lnTo>
                      <a:pt x="498" y="326"/>
                    </a:lnTo>
                    <a:lnTo>
                      <a:pt x="505" y="331"/>
                    </a:lnTo>
                    <a:lnTo>
                      <a:pt x="509" y="334"/>
                    </a:lnTo>
                    <a:lnTo>
                      <a:pt x="514" y="336"/>
                    </a:lnTo>
                    <a:lnTo>
                      <a:pt x="518" y="336"/>
                    </a:lnTo>
                    <a:lnTo>
                      <a:pt x="522" y="337"/>
                    </a:lnTo>
                    <a:lnTo>
                      <a:pt x="530" y="336"/>
                    </a:lnTo>
                    <a:lnTo>
                      <a:pt x="537" y="335"/>
                    </a:lnTo>
                    <a:lnTo>
                      <a:pt x="545" y="331"/>
                    </a:lnTo>
                    <a:lnTo>
                      <a:pt x="553" y="328"/>
                    </a:lnTo>
                    <a:lnTo>
                      <a:pt x="570" y="318"/>
                    </a:lnTo>
                    <a:lnTo>
                      <a:pt x="587" y="307"/>
                    </a:lnTo>
                    <a:lnTo>
                      <a:pt x="604" y="295"/>
                    </a:lnTo>
                    <a:lnTo>
                      <a:pt x="621" y="283"/>
                    </a:lnTo>
                    <a:lnTo>
                      <a:pt x="636" y="273"/>
                    </a:lnTo>
                    <a:lnTo>
                      <a:pt x="650" y="264"/>
                    </a:lnTo>
                    <a:lnTo>
                      <a:pt x="654" y="263"/>
                    </a:lnTo>
                    <a:lnTo>
                      <a:pt x="658" y="262"/>
                    </a:lnTo>
                    <a:lnTo>
                      <a:pt x="662" y="261"/>
                    </a:lnTo>
                    <a:lnTo>
                      <a:pt x="665" y="261"/>
                    </a:lnTo>
                    <a:lnTo>
                      <a:pt x="673" y="263"/>
                    </a:lnTo>
                    <a:lnTo>
                      <a:pt x="679" y="267"/>
                    </a:lnTo>
                    <a:lnTo>
                      <a:pt x="686" y="272"/>
                    </a:lnTo>
                    <a:lnTo>
                      <a:pt x="691" y="279"/>
                    </a:lnTo>
                    <a:lnTo>
                      <a:pt x="697" y="286"/>
                    </a:lnTo>
                    <a:lnTo>
                      <a:pt x="702" y="295"/>
                    </a:lnTo>
                    <a:lnTo>
                      <a:pt x="713" y="313"/>
                    </a:lnTo>
                    <a:lnTo>
                      <a:pt x="723" y="333"/>
                    </a:lnTo>
                    <a:lnTo>
                      <a:pt x="727" y="342"/>
                    </a:lnTo>
                    <a:lnTo>
                      <a:pt x="733" y="351"/>
                    </a:lnTo>
                    <a:lnTo>
                      <a:pt x="738" y="358"/>
                    </a:lnTo>
                    <a:lnTo>
                      <a:pt x="743" y="366"/>
                    </a:lnTo>
                    <a:lnTo>
                      <a:pt x="749" y="370"/>
                    </a:lnTo>
                    <a:lnTo>
                      <a:pt x="753" y="374"/>
                    </a:lnTo>
                    <a:lnTo>
                      <a:pt x="759" y="377"/>
                    </a:lnTo>
                    <a:lnTo>
                      <a:pt x="763" y="378"/>
                    </a:lnTo>
                    <a:lnTo>
                      <a:pt x="767" y="378"/>
                    </a:lnTo>
                    <a:lnTo>
                      <a:pt x="773" y="378"/>
                    </a:lnTo>
                    <a:lnTo>
                      <a:pt x="777" y="377"/>
                    </a:lnTo>
                    <a:lnTo>
                      <a:pt x="780" y="375"/>
                    </a:lnTo>
                    <a:lnTo>
                      <a:pt x="789" y="369"/>
                    </a:lnTo>
                    <a:lnTo>
                      <a:pt x="796" y="363"/>
                    </a:lnTo>
                    <a:lnTo>
                      <a:pt x="804" y="355"/>
                    </a:lnTo>
                    <a:lnTo>
                      <a:pt x="812" y="349"/>
                    </a:lnTo>
                    <a:lnTo>
                      <a:pt x="816" y="344"/>
                    </a:lnTo>
                    <a:lnTo>
                      <a:pt x="821" y="342"/>
                    </a:lnTo>
                    <a:lnTo>
                      <a:pt x="826" y="341"/>
                    </a:lnTo>
                    <a:lnTo>
                      <a:pt x="831" y="340"/>
                    </a:lnTo>
                    <a:lnTo>
                      <a:pt x="841" y="341"/>
                    </a:lnTo>
                    <a:lnTo>
                      <a:pt x="852" y="343"/>
                    </a:lnTo>
                    <a:lnTo>
                      <a:pt x="863" y="348"/>
                    </a:lnTo>
                    <a:lnTo>
                      <a:pt x="873" y="352"/>
                    </a:lnTo>
                    <a:lnTo>
                      <a:pt x="883" y="355"/>
                    </a:lnTo>
                    <a:lnTo>
                      <a:pt x="893" y="357"/>
                    </a:lnTo>
                    <a:lnTo>
                      <a:pt x="923" y="361"/>
                    </a:lnTo>
                    <a:lnTo>
                      <a:pt x="962" y="367"/>
                    </a:lnTo>
                    <a:lnTo>
                      <a:pt x="971" y="367"/>
                    </a:lnTo>
                    <a:lnTo>
                      <a:pt x="980" y="367"/>
                    </a:lnTo>
                    <a:lnTo>
                      <a:pt x="988" y="367"/>
                    </a:lnTo>
                    <a:lnTo>
                      <a:pt x="995" y="365"/>
                    </a:lnTo>
                    <a:lnTo>
                      <a:pt x="1000" y="362"/>
                    </a:lnTo>
                    <a:lnTo>
                      <a:pt x="1005" y="357"/>
                    </a:lnTo>
                    <a:lnTo>
                      <a:pt x="1007" y="354"/>
                    </a:lnTo>
                    <a:lnTo>
                      <a:pt x="1007" y="351"/>
                    </a:lnTo>
                    <a:lnTo>
                      <a:pt x="1008" y="347"/>
                    </a:lnTo>
                    <a:lnTo>
                      <a:pt x="1008" y="343"/>
                    </a:lnTo>
                    <a:lnTo>
                      <a:pt x="1008" y="327"/>
                    </a:lnTo>
                    <a:lnTo>
                      <a:pt x="1011" y="313"/>
                    </a:lnTo>
                    <a:lnTo>
                      <a:pt x="1014" y="299"/>
                    </a:lnTo>
                    <a:lnTo>
                      <a:pt x="1021" y="286"/>
                    </a:lnTo>
                    <a:lnTo>
                      <a:pt x="1028" y="273"/>
                    </a:lnTo>
                    <a:lnTo>
                      <a:pt x="1037" y="261"/>
                    </a:lnTo>
                    <a:lnTo>
                      <a:pt x="1047" y="250"/>
                    </a:lnTo>
                    <a:lnTo>
                      <a:pt x="1058" y="241"/>
                    </a:lnTo>
                    <a:lnTo>
                      <a:pt x="1070" y="231"/>
                    </a:lnTo>
                    <a:lnTo>
                      <a:pt x="1081" y="221"/>
                    </a:lnTo>
                    <a:lnTo>
                      <a:pt x="1094" y="213"/>
                    </a:lnTo>
                    <a:lnTo>
                      <a:pt x="1109" y="205"/>
                    </a:lnTo>
                    <a:lnTo>
                      <a:pt x="1136" y="191"/>
                    </a:lnTo>
                    <a:lnTo>
                      <a:pt x="1163" y="179"/>
                    </a:lnTo>
                    <a:lnTo>
                      <a:pt x="1168" y="177"/>
                    </a:lnTo>
                    <a:lnTo>
                      <a:pt x="1175" y="176"/>
                    </a:lnTo>
                    <a:lnTo>
                      <a:pt x="1180" y="176"/>
                    </a:lnTo>
                    <a:lnTo>
                      <a:pt x="1185" y="178"/>
                    </a:lnTo>
                    <a:lnTo>
                      <a:pt x="1190" y="179"/>
                    </a:lnTo>
                    <a:lnTo>
                      <a:pt x="1194" y="182"/>
                    </a:lnTo>
                    <a:lnTo>
                      <a:pt x="1198" y="187"/>
                    </a:lnTo>
                    <a:lnTo>
                      <a:pt x="1203" y="191"/>
                    </a:lnTo>
                    <a:lnTo>
                      <a:pt x="1209" y="202"/>
                    </a:lnTo>
                    <a:lnTo>
                      <a:pt x="1215" y="215"/>
                    </a:lnTo>
                    <a:lnTo>
                      <a:pt x="1220" y="230"/>
                    </a:lnTo>
                    <a:lnTo>
                      <a:pt x="1223" y="246"/>
                    </a:lnTo>
                    <a:lnTo>
                      <a:pt x="1230" y="280"/>
                    </a:lnTo>
                    <a:lnTo>
                      <a:pt x="1233" y="312"/>
                    </a:lnTo>
                    <a:lnTo>
                      <a:pt x="1235" y="338"/>
                    </a:lnTo>
                    <a:lnTo>
                      <a:pt x="1239" y="354"/>
                    </a:lnTo>
                    <a:lnTo>
                      <a:pt x="1243" y="353"/>
                    </a:lnTo>
                    <a:lnTo>
                      <a:pt x="1249" y="348"/>
                    </a:lnTo>
                    <a:lnTo>
                      <a:pt x="1257" y="341"/>
                    </a:lnTo>
                    <a:lnTo>
                      <a:pt x="1266" y="334"/>
                    </a:lnTo>
                    <a:lnTo>
                      <a:pt x="1275" y="325"/>
                    </a:lnTo>
                    <a:lnTo>
                      <a:pt x="1284" y="317"/>
                    </a:lnTo>
                    <a:lnTo>
                      <a:pt x="1293" y="311"/>
                    </a:lnTo>
                    <a:lnTo>
                      <a:pt x="1301" y="307"/>
                    </a:lnTo>
                    <a:lnTo>
                      <a:pt x="1318" y="302"/>
                    </a:lnTo>
                    <a:lnTo>
                      <a:pt x="1334" y="299"/>
                    </a:lnTo>
                    <a:lnTo>
                      <a:pt x="1351" y="296"/>
                    </a:lnTo>
                    <a:lnTo>
                      <a:pt x="1369" y="294"/>
                    </a:lnTo>
                    <a:lnTo>
                      <a:pt x="1387" y="293"/>
                    </a:lnTo>
                    <a:lnTo>
                      <a:pt x="1407" y="293"/>
                    </a:lnTo>
                    <a:lnTo>
                      <a:pt x="1425" y="293"/>
                    </a:lnTo>
                    <a:lnTo>
                      <a:pt x="1444" y="294"/>
                    </a:lnTo>
                    <a:lnTo>
                      <a:pt x="1463" y="295"/>
                    </a:lnTo>
                    <a:lnTo>
                      <a:pt x="1482" y="297"/>
                    </a:lnTo>
                    <a:lnTo>
                      <a:pt x="1501" y="300"/>
                    </a:lnTo>
                    <a:lnTo>
                      <a:pt x="1518" y="303"/>
                    </a:lnTo>
                    <a:lnTo>
                      <a:pt x="1536" y="307"/>
                    </a:lnTo>
                    <a:lnTo>
                      <a:pt x="1553" y="311"/>
                    </a:lnTo>
                    <a:lnTo>
                      <a:pt x="1569" y="316"/>
                    </a:lnTo>
                    <a:lnTo>
                      <a:pt x="1584" y="321"/>
                    </a:lnTo>
                    <a:lnTo>
                      <a:pt x="1588" y="323"/>
                    </a:lnTo>
                    <a:lnTo>
                      <a:pt x="1589" y="325"/>
                    </a:lnTo>
                    <a:lnTo>
                      <a:pt x="1602" y="326"/>
                    </a:lnTo>
                    <a:lnTo>
                      <a:pt x="1612" y="326"/>
                    </a:lnTo>
                    <a:lnTo>
                      <a:pt x="1623" y="326"/>
                    </a:lnTo>
                    <a:lnTo>
                      <a:pt x="1633" y="324"/>
                    </a:lnTo>
                    <a:lnTo>
                      <a:pt x="1642" y="322"/>
                    </a:lnTo>
                    <a:lnTo>
                      <a:pt x="1650" y="318"/>
                    </a:lnTo>
                    <a:lnTo>
                      <a:pt x="1659" y="314"/>
                    </a:lnTo>
                    <a:lnTo>
                      <a:pt x="1668" y="310"/>
                    </a:lnTo>
                    <a:lnTo>
                      <a:pt x="1702" y="287"/>
                    </a:lnTo>
                    <a:lnTo>
                      <a:pt x="1743" y="259"/>
                    </a:lnTo>
                    <a:lnTo>
                      <a:pt x="1754" y="252"/>
                    </a:lnTo>
                    <a:lnTo>
                      <a:pt x="1765" y="246"/>
                    </a:lnTo>
                    <a:lnTo>
                      <a:pt x="1775" y="242"/>
                    </a:lnTo>
                    <a:lnTo>
                      <a:pt x="1785" y="239"/>
                    </a:lnTo>
                    <a:lnTo>
                      <a:pt x="1793" y="236"/>
                    </a:lnTo>
                    <a:lnTo>
                      <a:pt x="1802" y="234"/>
                    </a:lnTo>
                    <a:lnTo>
                      <a:pt x="1811" y="234"/>
                    </a:lnTo>
                    <a:lnTo>
                      <a:pt x="1818" y="234"/>
                    </a:lnTo>
                    <a:lnTo>
                      <a:pt x="1826" y="235"/>
                    </a:lnTo>
                    <a:lnTo>
                      <a:pt x="1832" y="236"/>
                    </a:lnTo>
                    <a:lnTo>
                      <a:pt x="1839" y="239"/>
                    </a:lnTo>
                    <a:lnTo>
                      <a:pt x="1845" y="242"/>
                    </a:lnTo>
                    <a:lnTo>
                      <a:pt x="1857" y="248"/>
                    </a:lnTo>
                    <a:lnTo>
                      <a:pt x="1869" y="256"/>
                    </a:lnTo>
                    <a:lnTo>
                      <a:pt x="1891" y="273"/>
                    </a:lnTo>
                    <a:lnTo>
                      <a:pt x="1913" y="287"/>
                    </a:lnTo>
                    <a:lnTo>
                      <a:pt x="1919" y="290"/>
                    </a:lnTo>
                    <a:lnTo>
                      <a:pt x="1926" y="293"/>
                    </a:lnTo>
                    <a:lnTo>
                      <a:pt x="1932" y="294"/>
                    </a:lnTo>
                    <a:lnTo>
                      <a:pt x="1939" y="295"/>
                    </a:lnTo>
                    <a:lnTo>
                      <a:pt x="1945" y="296"/>
                    </a:lnTo>
                    <a:lnTo>
                      <a:pt x="1953" y="296"/>
                    </a:lnTo>
                    <a:lnTo>
                      <a:pt x="1961" y="294"/>
                    </a:lnTo>
                    <a:lnTo>
                      <a:pt x="1969" y="291"/>
                    </a:lnTo>
                    <a:lnTo>
                      <a:pt x="1980" y="288"/>
                    </a:lnTo>
                    <a:lnTo>
                      <a:pt x="1987" y="283"/>
                    </a:lnTo>
                    <a:lnTo>
                      <a:pt x="1995" y="276"/>
                    </a:lnTo>
                    <a:lnTo>
                      <a:pt x="2000" y="270"/>
                    </a:lnTo>
                    <a:lnTo>
                      <a:pt x="2005" y="262"/>
                    </a:lnTo>
                    <a:lnTo>
                      <a:pt x="2008" y="254"/>
                    </a:lnTo>
                    <a:lnTo>
                      <a:pt x="2011" y="244"/>
                    </a:lnTo>
                    <a:lnTo>
                      <a:pt x="2013" y="234"/>
                    </a:lnTo>
                    <a:lnTo>
                      <a:pt x="2017" y="215"/>
                    </a:lnTo>
                    <a:lnTo>
                      <a:pt x="2019" y="195"/>
                    </a:lnTo>
                    <a:lnTo>
                      <a:pt x="2020" y="186"/>
                    </a:lnTo>
                    <a:lnTo>
                      <a:pt x="2021" y="176"/>
                    </a:lnTo>
                    <a:lnTo>
                      <a:pt x="2023" y="167"/>
                    </a:lnTo>
                    <a:lnTo>
                      <a:pt x="2026" y="159"/>
                    </a:lnTo>
                    <a:lnTo>
                      <a:pt x="2031" y="149"/>
                    </a:lnTo>
                    <a:lnTo>
                      <a:pt x="2035" y="140"/>
                    </a:lnTo>
                    <a:lnTo>
                      <a:pt x="2041" y="132"/>
                    </a:lnTo>
                    <a:lnTo>
                      <a:pt x="2047" y="124"/>
                    </a:lnTo>
                    <a:lnTo>
                      <a:pt x="2060" y="110"/>
                    </a:lnTo>
                    <a:lnTo>
                      <a:pt x="2074" y="98"/>
                    </a:lnTo>
                    <a:lnTo>
                      <a:pt x="2106" y="75"/>
                    </a:lnTo>
                    <a:lnTo>
                      <a:pt x="2138" y="53"/>
                    </a:lnTo>
                    <a:lnTo>
                      <a:pt x="2145" y="50"/>
                    </a:lnTo>
                    <a:lnTo>
                      <a:pt x="2153" y="43"/>
                    </a:lnTo>
                    <a:lnTo>
                      <a:pt x="2161" y="37"/>
                    </a:lnTo>
                    <a:lnTo>
                      <a:pt x="2166" y="30"/>
                    </a:lnTo>
                    <a:lnTo>
                      <a:pt x="2172" y="25"/>
                    </a:lnTo>
                    <a:lnTo>
                      <a:pt x="2178" y="19"/>
                    </a:lnTo>
                    <a:lnTo>
                      <a:pt x="2184" y="15"/>
                    </a:lnTo>
                    <a:lnTo>
                      <a:pt x="2190" y="11"/>
                    </a:lnTo>
                    <a:lnTo>
                      <a:pt x="2197" y="7"/>
                    </a:lnTo>
                    <a:lnTo>
                      <a:pt x="2203" y="5"/>
                    </a:lnTo>
                    <a:lnTo>
                      <a:pt x="2211" y="3"/>
                    </a:lnTo>
                    <a:lnTo>
                      <a:pt x="2217" y="1"/>
                    </a:lnTo>
                    <a:lnTo>
                      <a:pt x="2231" y="0"/>
                    </a:lnTo>
                    <a:lnTo>
                      <a:pt x="2245" y="0"/>
                    </a:lnTo>
                    <a:lnTo>
                      <a:pt x="2261" y="2"/>
                    </a:lnTo>
                    <a:lnTo>
                      <a:pt x="2276" y="7"/>
                    </a:lnTo>
                    <a:lnTo>
                      <a:pt x="2276" y="7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96" name="Freeform 11">
                <a:extLst>
                  <a:ext uri="{FF2B5EF4-FFF2-40B4-BE49-F238E27FC236}">
                    <a16:creationId xmlns:a16="http://schemas.microsoft.com/office/drawing/2014/main" id="{22F6EC10-C2A0-45F5-B65D-1111FBCB64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61538" y="1581555"/>
                <a:ext cx="1233488" cy="1219200"/>
              </a:xfrm>
              <a:custGeom>
                <a:avLst/>
                <a:gdLst>
                  <a:gd name="T0" fmla="*/ 1855 w 3106"/>
                  <a:gd name="T1" fmla="*/ 112 h 3070"/>
                  <a:gd name="T2" fmla="*/ 1921 w 3106"/>
                  <a:gd name="T3" fmla="*/ 57 h 3070"/>
                  <a:gd name="T4" fmla="*/ 1953 w 3106"/>
                  <a:gd name="T5" fmla="*/ 187 h 3070"/>
                  <a:gd name="T6" fmla="*/ 2006 w 3106"/>
                  <a:gd name="T7" fmla="*/ 238 h 3070"/>
                  <a:gd name="T8" fmla="*/ 2104 w 3106"/>
                  <a:gd name="T9" fmla="*/ 178 h 3070"/>
                  <a:gd name="T10" fmla="*/ 2154 w 3106"/>
                  <a:gd name="T11" fmla="*/ 186 h 3070"/>
                  <a:gd name="T12" fmla="*/ 2191 w 3106"/>
                  <a:gd name="T13" fmla="*/ 231 h 3070"/>
                  <a:gd name="T14" fmla="*/ 2279 w 3106"/>
                  <a:gd name="T15" fmla="*/ 169 h 3070"/>
                  <a:gd name="T16" fmla="*/ 2309 w 3106"/>
                  <a:gd name="T17" fmla="*/ 211 h 3070"/>
                  <a:gd name="T18" fmla="*/ 2342 w 3106"/>
                  <a:gd name="T19" fmla="*/ 216 h 3070"/>
                  <a:gd name="T20" fmla="*/ 2374 w 3106"/>
                  <a:gd name="T21" fmla="*/ 207 h 3070"/>
                  <a:gd name="T22" fmla="*/ 2402 w 3106"/>
                  <a:gd name="T23" fmla="*/ 225 h 3070"/>
                  <a:gd name="T24" fmla="*/ 2446 w 3106"/>
                  <a:gd name="T25" fmla="*/ 156 h 3070"/>
                  <a:gd name="T26" fmla="*/ 2542 w 3106"/>
                  <a:gd name="T27" fmla="*/ 168 h 3070"/>
                  <a:gd name="T28" fmla="*/ 2628 w 3106"/>
                  <a:gd name="T29" fmla="*/ 251 h 3070"/>
                  <a:gd name="T30" fmla="*/ 2661 w 3106"/>
                  <a:gd name="T31" fmla="*/ 378 h 3070"/>
                  <a:gd name="T32" fmla="*/ 2722 w 3106"/>
                  <a:gd name="T33" fmla="*/ 501 h 3070"/>
                  <a:gd name="T34" fmla="*/ 2708 w 3106"/>
                  <a:gd name="T35" fmla="*/ 546 h 3070"/>
                  <a:gd name="T36" fmla="*/ 2674 w 3106"/>
                  <a:gd name="T37" fmla="*/ 595 h 3070"/>
                  <a:gd name="T38" fmla="*/ 2652 w 3106"/>
                  <a:gd name="T39" fmla="*/ 637 h 3070"/>
                  <a:gd name="T40" fmla="*/ 2569 w 3106"/>
                  <a:gd name="T41" fmla="*/ 680 h 3070"/>
                  <a:gd name="T42" fmla="*/ 2619 w 3106"/>
                  <a:gd name="T43" fmla="*/ 763 h 3070"/>
                  <a:gd name="T44" fmla="*/ 2636 w 3106"/>
                  <a:gd name="T45" fmla="*/ 826 h 3070"/>
                  <a:gd name="T46" fmla="*/ 2657 w 3106"/>
                  <a:gd name="T47" fmla="*/ 893 h 3070"/>
                  <a:gd name="T48" fmla="*/ 2669 w 3106"/>
                  <a:gd name="T49" fmla="*/ 1008 h 3070"/>
                  <a:gd name="T50" fmla="*/ 2718 w 3106"/>
                  <a:gd name="T51" fmla="*/ 1013 h 3070"/>
                  <a:gd name="T52" fmla="*/ 2735 w 3106"/>
                  <a:gd name="T53" fmla="*/ 1059 h 3070"/>
                  <a:gd name="T54" fmla="*/ 2824 w 3106"/>
                  <a:gd name="T55" fmla="*/ 1126 h 3070"/>
                  <a:gd name="T56" fmla="*/ 2860 w 3106"/>
                  <a:gd name="T57" fmla="*/ 1185 h 3070"/>
                  <a:gd name="T58" fmla="*/ 2924 w 3106"/>
                  <a:gd name="T59" fmla="*/ 1315 h 3070"/>
                  <a:gd name="T60" fmla="*/ 3106 w 3106"/>
                  <a:gd name="T61" fmla="*/ 1527 h 3070"/>
                  <a:gd name="T62" fmla="*/ 2499 w 3106"/>
                  <a:gd name="T63" fmla="*/ 2511 h 3070"/>
                  <a:gd name="T64" fmla="*/ 2439 w 3106"/>
                  <a:gd name="T65" fmla="*/ 2490 h 3070"/>
                  <a:gd name="T66" fmla="*/ 2302 w 3106"/>
                  <a:gd name="T67" fmla="*/ 2544 h 3070"/>
                  <a:gd name="T68" fmla="*/ 2121 w 3106"/>
                  <a:gd name="T69" fmla="*/ 2515 h 3070"/>
                  <a:gd name="T70" fmla="*/ 1979 w 3106"/>
                  <a:gd name="T71" fmla="*/ 2399 h 3070"/>
                  <a:gd name="T72" fmla="*/ 1879 w 3106"/>
                  <a:gd name="T73" fmla="*/ 2251 h 3070"/>
                  <a:gd name="T74" fmla="*/ 1839 w 3106"/>
                  <a:gd name="T75" fmla="*/ 2250 h 3070"/>
                  <a:gd name="T76" fmla="*/ 1738 w 3106"/>
                  <a:gd name="T77" fmla="*/ 2276 h 3070"/>
                  <a:gd name="T78" fmla="*/ 1662 w 3106"/>
                  <a:gd name="T79" fmla="*/ 2255 h 3070"/>
                  <a:gd name="T80" fmla="*/ 1525 w 3106"/>
                  <a:gd name="T81" fmla="*/ 2098 h 3070"/>
                  <a:gd name="T82" fmla="*/ 1432 w 3106"/>
                  <a:gd name="T83" fmla="*/ 2068 h 3070"/>
                  <a:gd name="T84" fmla="*/ 1223 w 3106"/>
                  <a:gd name="T85" fmla="*/ 2098 h 3070"/>
                  <a:gd name="T86" fmla="*/ 1142 w 3106"/>
                  <a:gd name="T87" fmla="*/ 2061 h 3070"/>
                  <a:gd name="T88" fmla="*/ 697 w 3106"/>
                  <a:gd name="T89" fmla="*/ 2056 h 3070"/>
                  <a:gd name="T90" fmla="*/ 610 w 3106"/>
                  <a:gd name="T91" fmla="*/ 2083 h 3070"/>
                  <a:gd name="T92" fmla="*/ 548 w 3106"/>
                  <a:gd name="T93" fmla="*/ 2104 h 3070"/>
                  <a:gd name="T94" fmla="*/ 419 w 3106"/>
                  <a:gd name="T95" fmla="*/ 2021 h 3070"/>
                  <a:gd name="T96" fmla="*/ 243 w 3106"/>
                  <a:gd name="T97" fmla="*/ 2017 h 3070"/>
                  <a:gd name="T98" fmla="*/ 169 w 3106"/>
                  <a:gd name="T99" fmla="*/ 1954 h 3070"/>
                  <a:gd name="T100" fmla="*/ 98 w 3106"/>
                  <a:gd name="T101" fmla="*/ 1757 h 3070"/>
                  <a:gd name="T102" fmla="*/ 23 w 3106"/>
                  <a:gd name="T103" fmla="*/ 1661 h 3070"/>
                  <a:gd name="T104" fmla="*/ 88 w 3106"/>
                  <a:gd name="T105" fmla="*/ 1532 h 3070"/>
                  <a:gd name="T106" fmla="*/ 196 w 3106"/>
                  <a:gd name="T107" fmla="*/ 1474 h 3070"/>
                  <a:gd name="T108" fmla="*/ 411 w 3106"/>
                  <a:gd name="T109" fmla="*/ 1379 h 3070"/>
                  <a:gd name="T110" fmla="*/ 585 w 3106"/>
                  <a:gd name="T111" fmla="*/ 1159 h 3070"/>
                  <a:gd name="T112" fmla="*/ 727 w 3106"/>
                  <a:gd name="T113" fmla="*/ 1034 h 3070"/>
                  <a:gd name="T114" fmla="*/ 854 w 3106"/>
                  <a:gd name="T115" fmla="*/ 915 h 3070"/>
                  <a:gd name="T116" fmla="*/ 1114 w 3106"/>
                  <a:gd name="T117" fmla="*/ 777 h 3070"/>
                  <a:gd name="T118" fmla="*/ 1297 w 3106"/>
                  <a:gd name="T119" fmla="*/ 679 h 3070"/>
                  <a:gd name="T120" fmla="*/ 1421 w 3106"/>
                  <a:gd name="T121" fmla="*/ 524 h 3070"/>
                  <a:gd name="T122" fmla="*/ 1521 w 3106"/>
                  <a:gd name="T123" fmla="*/ 402 h 3070"/>
                  <a:gd name="T124" fmla="*/ 1665 w 3106"/>
                  <a:gd name="T125" fmla="*/ 258 h 3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106" h="3070">
                    <a:moveTo>
                      <a:pt x="1801" y="0"/>
                    </a:moveTo>
                    <a:lnTo>
                      <a:pt x="1827" y="73"/>
                    </a:lnTo>
                    <a:lnTo>
                      <a:pt x="1835" y="88"/>
                    </a:lnTo>
                    <a:lnTo>
                      <a:pt x="1841" y="100"/>
                    </a:lnTo>
                    <a:lnTo>
                      <a:pt x="1843" y="104"/>
                    </a:lnTo>
                    <a:lnTo>
                      <a:pt x="1846" y="108"/>
                    </a:lnTo>
                    <a:lnTo>
                      <a:pt x="1849" y="111"/>
                    </a:lnTo>
                    <a:lnTo>
                      <a:pt x="1852" y="112"/>
                    </a:lnTo>
                    <a:lnTo>
                      <a:pt x="1855" y="112"/>
                    </a:lnTo>
                    <a:lnTo>
                      <a:pt x="1858" y="111"/>
                    </a:lnTo>
                    <a:lnTo>
                      <a:pt x="1863" y="109"/>
                    </a:lnTo>
                    <a:lnTo>
                      <a:pt x="1867" y="105"/>
                    </a:lnTo>
                    <a:lnTo>
                      <a:pt x="1878" y="95"/>
                    </a:lnTo>
                    <a:lnTo>
                      <a:pt x="1893" y="81"/>
                    </a:lnTo>
                    <a:lnTo>
                      <a:pt x="1907" y="68"/>
                    </a:lnTo>
                    <a:lnTo>
                      <a:pt x="1916" y="60"/>
                    </a:lnTo>
                    <a:lnTo>
                      <a:pt x="1919" y="58"/>
                    </a:lnTo>
                    <a:lnTo>
                      <a:pt x="1921" y="57"/>
                    </a:lnTo>
                    <a:lnTo>
                      <a:pt x="1923" y="58"/>
                    </a:lnTo>
                    <a:lnTo>
                      <a:pt x="1924" y="59"/>
                    </a:lnTo>
                    <a:lnTo>
                      <a:pt x="1927" y="76"/>
                    </a:lnTo>
                    <a:lnTo>
                      <a:pt x="1931" y="109"/>
                    </a:lnTo>
                    <a:lnTo>
                      <a:pt x="1934" y="128"/>
                    </a:lnTo>
                    <a:lnTo>
                      <a:pt x="1940" y="151"/>
                    </a:lnTo>
                    <a:lnTo>
                      <a:pt x="1944" y="164"/>
                    </a:lnTo>
                    <a:lnTo>
                      <a:pt x="1947" y="176"/>
                    </a:lnTo>
                    <a:lnTo>
                      <a:pt x="1953" y="187"/>
                    </a:lnTo>
                    <a:lnTo>
                      <a:pt x="1958" y="199"/>
                    </a:lnTo>
                    <a:lnTo>
                      <a:pt x="1963" y="210"/>
                    </a:lnTo>
                    <a:lnTo>
                      <a:pt x="1971" y="220"/>
                    </a:lnTo>
                    <a:lnTo>
                      <a:pt x="1979" y="227"/>
                    </a:lnTo>
                    <a:lnTo>
                      <a:pt x="1986" y="233"/>
                    </a:lnTo>
                    <a:lnTo>
                      <a:pt x="1991" y="235"/>
                    </a:lnTo>
                    <a:lnTo>
                      <a:pt x="1996" y="237"/>
                    </a:lnTo>
                    <a:lnTo>
                      <a:pt x="2000" y="238"/>
                    </a:lnTo>
                    <a:lnTo>
                      <a:pt x="2006" y="238"/>
                    </a:lnTo>
                    <a:lnTo>
                      <a:pt x="2010" y="237"/>
                    </a:lnTo>
                    <a:lnTo>
                      <a:pt x="2015" y="236"/>
                    </a:lnTo>
                    <a:lnTo>
                      <a:pt x="2022" y="234"/>
                    </a:lnTo>
                    <a:lnTo>
                      <a:pt x="2027" y="232"/>
                    </a:lnTo>
                    <a:lnTo>
                      <a:pt x="2040" y="222"/>
                    </a:lnTo>
                    <a:lnTo>
                      <a:pt x="2057" y="210"/>
                    </a:lnTo>
                    <a:lnTo>
                      <a:pt x="2075" y="196"/>
                    </a:lnTo>
                    <a:lnTo>
                      <a:pt x="2095" y="183"/>
                    </a:lnTo>
                    <a:lnTo>
                      <a:pt x="2104" y="178"/>
                    </a:lnTo>
                    <a:lnTo>
                      <a:pt x="2114" y="175"/>
                    </a:lnTo>
                    <a:lnTo>
                      <a:pt x="2124" y="172"/>
                    </a:lnTo>
                    <a:lnTo>
                      <a:pt x="2133" y="171"/>
                    </a:lnTo>
                    <a:lnTo>
                      <a:pt x="2137" y="172"/>
                    </a:lnTo>
                    <a:lnTo>
                      <a:pt x="2140" y="173"/>
                    </a:lnTo>
                    <a:lnTo>
                      <a:pt x="2144" y="176"/>
                    </a:lnTo>
                    <a:lnTo>
                      <a:pt x="2148" y="179"/>
                    </a:lnTo>
                    <a:lnTo>
                      <a:pt x="2151" y="182"/>
                    </a:lnTo>
                    <a:lnTo>
                      <a:pt x="2154" y="186"/>
                    </a:lnTo>
                    <a:lnTo>
                      <a:pt x="2156" y="192"/>
                    </a:lnTo>
                    <a:lnTo>
                      <a:pt x="2160" y="197"/>
                    </a:lnTo>
                    <a:lnTo>
                      <a:pt x="2164" y="208"/>
                    </a:lnTo>
                    <a:lnTo>
                      <a:pt x="2168" y="216"/>
                    </a:lnTo>
                    <a:lnTo>
                      <a:pt x="2173" y="222"/>
                    </a:lnTo>
                    <a:lnTo>
                      <a:pt x="2177" y="226"/>
                    </a:lnTo>
                    <a:lnTo>
                      <a:pt x="2181" y="230"/>
                    </a:lnTo>
                    <a:lnTo>
                      <a:pt x="2187" y="231"/>
                    </a:lnTo>
                    <a:lnTo>
                      <a:pt x="2191" y="231"/>
                    </a:lnTo>
                    <a:lnTo>
                      <a:pt x="2196" y="229"/>
                    </a:lnTo>
                    <a:lnTo>
                      <a:pt x="2206" y="223"/>
                    </a:lnTo>
                    <a:lnTo>
                      <a:pt x="2217" y="214"/>
                    </a:lnTo>
                    <a:lnTo>
                      <a:pt x="2229" y="205"/>
                    </a:lnTo>
                    <a:lnTo>
                      <a:pt x="2241" y="194"/>
                    </a:lnTo>
                    <a:lnTo>
                      <a:pt x="2253" y="185"/>
                    </a:lnTo>
                    <a:lnTo>
                      <a:pt x="2263" y="178"/>
                    </a:lnTo>
                    <a:lnTo>
                      <a:pt x="2271" y="172"/>
                    </a:lnTo>
                    <a:lnTo>
                      <a:pt x="2279" y="169"/>
                    </a:lnTo>
                    <a:lnTo>
                      <a:pt x="2283" y="169"/>
                    </a:lnTo>
                    <a:lnTo>
                      <a:pt x="2286" y="170"/>
                    </a:lnTo>
                    <a:lnTo>
                      <a:pt x="2290" y="172"/>
                    </a:lnTo>
                    <a:lnTo>
                      <a:pt x="2293" y="175"/>
                    </a:lnTo>
                    <a:lnTo>
                      <a:pt x="2295" y="179"/>
                    </a:lnTo>
                    <a:lnTo>
                      <a:pt x="2298" y="184"/>
                    </a:lnTo>
                    <a:lnTo>
                      <a:pt x="2302" y="191"/>
                    </a:lnTo>
                    <a:lnTo>
                      <a:pt x="2304" y="198"/>
                    </a:lnTo>
                    <a:lnTo>
                      <a:pt x="2309" y="211"/>
                    </a:lnTo>
                    <a:lnTo>
                      <a:pt x="2314" y="221"/>
                    </a:lnTo>
                    <a:lnTo>
                      <a:pt x="2317" y="223"/>
                    </a:lnTo>
                    <a:lnTo>
                      <a:pt x="2319" y="225"/>
                    </a:lnTo>
                    <a:lnTo>
                      <a:pt x="2321" y="227"/>
                    </a:lnTo>
                    <a:lnTo>
                      <a:pt x="2323" y="227"/>
                    </a:lnTo>
                    <a:lnTo>
                      <a:pt x="2329" y="227"/>
                    </a:lnTo>
                    <a:lnTo>
                      <a:pt x="2333" y="224"/>
                    </a:lnTo>
                    <a:lnTo>
                      <a:pt x="2337" y="220"/>
                    </a:lnTo>
                    <a:lnTo>
                      <a:pt x="2342" y="216"/>
                    </a:lnTo>
                    <a:lnTo>
                      <a:pt x="2347" y="210"/>
                    </a:lnTo>
                    <a:lnTo>
                      <a:pt x="2351" y="206"/>
                    </a:lnTo>
                    <a:lnTo>
                      <a:pt x="2356" y="202"/>
                    </a:lnTo>
                    <a:lnTo>
                      <a:pt x="2360" y="199"/>
                    </a:lnTo>
                    <a:lnTo>
                      <a:pt x="2362" y="198"/>
                    </a:lnTo>
                    <a:lnTo>
                      <a:pt x="2366" y="199"/>
                    </a:lnTo>
                    <a:lnTo>
                      <a:pt x="2368" y="199"/>
                    </a:lnTo>
                    <a:lnTo>
                      <a:pt x="2370" y="202"/>
                    </a:lnTo>
                    <a:lnTo>
                      <a:pt x="2374" y="207"/>
                    </a:lnTo>
                    <a:lnTo>
                      <a:pt x="2379" y="217"/>
                    </a:lnTo>
                    <a:lnTo>
                      <a:pt x="2383" y="225"/>
                    </a:lnTo>
                    <a:lnTo>
                      <a:pt x="2387" y="231"/>
                    </a:lnTo>
                    <a:lnTo>
                      <a:pt x="2389" y="233"/>
                    </a:lnTo>
                    <a:lnTo>
                      <a:pt x="2392" y="234"/>
                    </a:lnTo>
                    <a:lnTo>
                      <a:pt x="2394" y="234"/>
                    </a:lnTo>
                    <a:lnTo>
                      <a:pt x="2395" y="233"/>
                    </a:lnTo>
                    <a:lnTo>
                      <a:pt x="2399" y="230"/>
                    </a:lnTo>
                    <a:lnTo>
                      <a:pt x="2402" y="225"/>
                    </a:lnTo>
                    <a:lnTo>
                      <a:pt x="2407" y="219"/>
                    </a:lnTo>
                    <a:lnTo>
                      <a:pt x="2410" y="210"/>
                    </a:lnTo>
                    <a:lnTo>
                      <a:pt x="2418" y="193"/>
                    </a:lnTo>
                    <a:lnTo>
                      <a:pt x="2425" y="177"/>
                    </a:lnTo>
                    <a:lnTo>
                      <a:pt x="2428" y="169"/>
                    </a:lnTo>
                    <a:lnTo>
                      <a:pt x="2433" y="164"/>
                    </a:lnTo>
                    <a:lnTo>
                      <a:pt x="2437" y="159"/>
                    </a:lnTo>
                    <a:lnTo>
                      <a:pt x="2441" y="157"/>
                    </a:lnTo>
                    <a:lnTo>
                      <a:pt x="2446" y="156"/>
                    </a:lnTo>
                    <a:lnTo>
                      <a:pt x="2449" y="157"/>
                    </a:lnTo>
                    <a:lnTo>
                      <a:pt x="2453" y="156"/>
                    </a:lnTo>
                    <a:lnTo>
                      <a:pt x="2462" y="156"/>
                    </a:lnTo>
                    <a:lnTo>
                      <a:pt x="2473" y="156"/>
                    </a:lnTo>
                    <a:lnTo>
                      <a:pt x="2486" y="157"/>
                    </a:lnTo>
                    <a:lnTo>
                      <a:pt x="2511" y="160"/>
                    </a:lnTo>
                    <a:lnTo>
                      <a:pt x="2526" y="164"/>
                    </a:lnTo>
                    <a:lnTo>
                      <a:pt x="2535" y="165"/>
                    </a:lnTo>
                    <a:lnTo>
                      <a:pt x="2542" y="168"/>
                    </a:lnTo>
                    <a:lnTo>
                      <a:pt x="2550" y="171"/>
                    </a:lnTo>
                    <a:lnTo>
                      <a:pt x="2557" y="175"/>
                    </a:lnTo>
                    <a:lnTo>
                      <a:pt x="2570" y="183"/>
                    </a:lnTo>
                    <a:lnTo>
                      <a:pt x="2582" y="194"/>
                    </a:lnTo>
                    <a:lnTo>
                      <a:pt x="2594" y="205"/>
                    </a:lnTo>
                    <a:lnTo>
                      <a:pt x="2604" y="218"/>
                    </a:lnTo>
                    <a:lnTo>
                      <a:pt x="2614" y="231"/>
                    </a:lnTo>
                    <a:lnTo>
                      <a:pt x="2623" y="244"/>
                    </a:lnTo>
                    <a:lnTo>
                      <a:pt x="2628" y="251"/>
                    </a:lnTo>
                    <a:lnTo>
                      <a:pt x="2632" y="260"/>
                    </a:lnTo>
                    <a:lnTo>
                      <a:pt x="2635" y="267"/>
                    </a:lnTo>
                    <a:lnTo>
                      <a:pt x="2639" y="276"/>
                    </a:lnTo>
                    <a:lnTo>
                      <a:pt x="2644" y="292"/>
                    </a:lnTo>
                    <a:lnTo>
                      <a:pt x="2647" y="310"/>
                    </a:lnTo>
                    <a:lnTo>
                      <a:pt x="2651" y="327"/>
                    </a:lnTo>
                    <a:lnTo>
                      <a:pt x="2654" y="344"/>
                    </a:lnTo>
                    <a:lnTo>
                      <a:pt x="2657" y="361"/>
                    </a:lnTo>
                    <a:lnTo>
                      <a:pt x="2661" y="378"/>
                    </a:lnTo>
                    <a:lnTo>
                      <a:pt x="2668" y="392"/>
                    </a:lnTo>
                    <a:lnTo>
                      <a:pt x="2674" y="406"/>
                    </a:lnTo>
                    <a:lnTo>
                      <a:pt x="2683" y="419"/>
                    </a:lnTo>
                    <a:lnTo>
                      <a:pt x="2692" y="432"/>
                    </a:lnTo>
                    <a:lnTo>
                      <a:pt x="2700" y="443"/>
                    </a:lnTo>
                    <a:lnTo>
                      <a:pt x="2708" y="456"/>
                    </a:lnTo>
                    <a:lnTo>
                      <a:pt x="2714" y="470"/>
                    </a:lnTo>
                    <a:lnTo>
                      <a:pt x="2719" y="484"/>
                    </a:lnTo>
                    <a:lnTo>
                      <a:pt x="2722" y="501"/>
                    </a:lnTo>
                    <a:lnTo>
                      <a:pt x="2723" y="514"/>
                    </a:lnTo>
                    <a:lnTo>
                      <a:pt x="2724" y="519"/>
                    </a:lnTo>
                    <a:lnTo>
                      <a:pt x="2723" y="524"/>
                    </a:lnTo>
                    <a:lnTo>
                      <a:pt x="2722" y="529"/>
                    </a:lnTo>
                    <a:lnTo>
                      <a:pt x="2721" y="532"/>
                    </a:lnTo>
                    <a:lnTo>
                      <a:pt x="2719" y="536"/>
                    </a:lnTo>
                    <a:lnTo>
                      <a:pt x="2716" y="540"/>
                    </a:lnTo>
                    <a:lnTo>
                      <a:pt x="2712" y="543"/>
                    </a:lnTo>
                    <a:lnTo>
                      <a:pt x="2708" y="546"/>
                    </a:lnTo>
                    <a:lnTo>
                      <a:pt x="2697" y="551"/>
                    </a:lnTo>
                    <a:lnTo>
                      <a:pt x="2682" y="558"/>
                    </a:lnTo>
                    <a:lnTo>
                      <a:pt x="2678" y="560"/>
                    </a:lnTo>
                    <a:lnTo>
                      <a:pt x="2674" y="562"/>
                    </a:lnTo>
                    <a:lnTo>
                      <a:pt x="2672" y="565"/>
                    </a:lnTo>
                    <a:lnTo>
                      <a:pt x="2670" y="570"/>
                    </a:lnTo>
                    <a:lnTo>
                      <a:pt x="2670" y="577"/>
                    </a:lnTo>
                    <a:lnTo>
                      <a:pt x="2672" y="586"/>
                    </a:lnTo>
                    <a:lnTo>
                      <a:pt x="2674" y="595"/>
                    </a:lnTo>
                    <a:lnTo>
                      <a:pt x="2677" y="604"/>
                    </a:lnTo>
                    <a:lnTo>
                      <a:pt x="2678" y="609"/>
                    </a:lnTo>
                    <a:lnTo>
                      <a:pt x="2678" y="613"/>
                    </a:lnTo>
                    <a:lnTo>
                      <a:pt x="2677" y="616"/>
                    </a:lnTo>
                    <a:lnTo>
                      <a:pt x="2674" y="621"/>
                    </a:lnTo>
                    <a:lnTo>
                      <a:pt x="2670" y="626"/>
                    </a:lnTo>
                    <a:lnTo>
                      <a:pt x="2665" y="630"/>
                    </a:lnTo>
                    <a:lnTo>
                      <a:pt x="2658" y="634"/>
                    </a:lnTo>
                    <a:lnTo>
                      <a:pt x="2652" y="637"/>
                    </a:lnTo>
                    <a:lnTo>
                      <a:pt x="2636" y="640"/>
                    </a:lnTo>
                    <a:lnTo>
                      <a:pt x="2619" y="643"/>
                    </a:lnTo>
                    <a:lnTo>
                      <a:pt x="2604" y="646"/>
                    </a:lnTo>
                    <a:lnTo>
                      <a:pt x="2589" y="652"/>
                    </a:lnTo>
                    <a:lnTo>
                      <a:pt x="2583" y="655"/>
                    </a:lnTo>
                    <a:lnTo>
                      <a:pt x="2578" y="659"/>
                    </a:lnTo>
                    <a:lnTo>
                      <a:pt x="2574" y="665"/>
                    </a:lnTo>
                    <a:lnTo>
                      <a:pt x="2571" y="671"/>
                    </a:lnTo>
                    <a:lnTo>
                      <a:pt x="2569" y="680"/>
                    </a:lnTo>
                    <a:lnTo>
                      <a:pt x="2568" y="688"/>
                    </a:lnTo>
                    <a:lnTo>
                      <a:pt x="2569" y="694"/>
                    </a:lnTo>
                    <a:lnTo>
                      <a:pt x="2570" y="700"/>
                    </a:lnTo>
                    <a:lnTo>
                      <a:pt x="2571" y="707"/>
                    </a:lnTo>
                    <a:lnTo>
                      <a:pt x="2575" y="713"/>
                    </a:lnTo>
                    <a:lnTo>
                      <a:pt x="2578" y="719"/>
                    </a:lnTo>
                    <a:lnTo>
                      <a:pt x="2581" y="724"/>
                    </a:lnTo>
                    <a:lnTo>
                      <a:pt x="2600" y="744"/>
                    </a:lnTo>
                    <a:lnTo>
                      <a:pt x="2619" y="763"/>
                    </a:lnTo>
                    <a:lnTo>
                      <a:pt x="2618" y="779"/>
                    </a:lnTo>
                    <a:lnTo>
                      <a:pt x="2616" y="800"/>
                    </a:lnTo>
                    <a:lnTo>
                      <a:pt x="2615" y="810"/>
                    </a:lnTo>
                    <a:lnTo>
                      <a:pt x="2616" y="818"/>
                    </a:lnTo>
                    <a:lnTo>
                      <a:pt x="2616" y="821"/>
                    </a:lnTo>
                    <a:lnTo>
                      <a:pt x="2617" y="825"/>
                    </a:lnTo>
                    <a:lnTo>
                      <a:pt x="2619" y="826"/>
                    </a:lnTo>
                    <a:lnTo>
                      <a:pt x="2621" y="827"/>
                    </a:lnTo>
                    <a:lnTo>
                      <a:pt x="2636" y="826"/>
                    </a:lnTo>
                    <a:lnTo>
                      <a:pt x="2658" y="823"/>
                    </a:lnTo>
                    <a:lnTo>
                      <a:pt x="2668" y="821"/>
                    </a:lnTo>
                    <a:lnTo>
                      <a:pt x="2677" y="821"/>
                    </a:lnTo>
                    <a:lnTo>
                      <a:pt x="2680" y="823"/>
                    </a:lnTo>
                    <a:lnTo>
                      <a:pt x="2682" y="824"/>
                    </a:lnTo>
                    <a:lnTo>
                      <a:pt x="2683" y="825"/>
                    </a:lnTo>
                    <a:lnTo>
                      <a:pt x="2683" y="827"/>
                    </a:lnTo>
                    <a:lnTo>
                      <a:pt x="2671" y="858"/>
                    </a:lnTo>
                    <a:lnTo>
                      <a:pt x="2657" y="893"/>
                    </a:lnTo>
                    <a:lnTo>
                      <a:pt x="2653" y="910"/>
                    </a:lnTo>
                    <a:lnTo>
                      <a:pt x="2649" y="928"/>
                    </a:lnTo>
                    <a:lnTo>
                      <a:pt x="2648" y="936"/>
                    </a:lnTo>
                    <a:lnTo>
                      <a:pt x="2649" y="945"/>
                    </a:lnTo>
                    <a:lnTo>
                      <a:pt x="2651" y="952"/>
                    </a:lnTo>
                    <a:lnTo>
                      <a:pt x="2653" y="960"/>
                    </a:lnTo>
                    <a:lnTo>
                      <a:pt x="2659" y="982"/>
                    </a:lnTo>
                    <a:lnTo>
                      <a:pt x="2667" y="1004"/>
                    </a:lnTo>
                    <a:lnTo>
                      <a:pt x="2669" y="1008"/>
                    </a:lnTo>
                    <a:lnTo>
                      <a:pt x="2672" y="1013"/>
                    </a:lnTo>
                    <a:lnTo>
                      <a:pt x="2675" y="1016"/>
                    </a:lnTo>
                    <a:lnTo>
                      <a:pt x="2680" y="1018"/>
                    </a:lnTo>
                    <a:lnTo>
                      <a:pt x="2684" y="1019"/>
                    </a:lnTo>
                    <a:lnTo>
                      <a:pt x="2688" y="1019"/>
                    </a:lnTo>
                    <a:lnTo>
                      <a:pt x="2695" y="1018"/>
                    </a:lnTo>
                    <a:lnTo>
                      <a:pt x="2701" y="1016"/>
                    </a:lnTo>
                    <a:lnTo>
                      <a:pt x="2710" y="1013"/>
                    </a:lnTo>
                    <a:lnTo>
                      <a:pt x="2718" y="1013"/>
                    </a:lnTo>
                    <a:lnTo>
                      <a:pt x="2721" y="1013"/>
                    </a:lnTo>
                    <a:lnTo>
                      <a:pt x="2723" y="1014"/>
                    </a:lnTo>
                    <a:lnTo>
                      <a:pt x="2725" y="1015"/>
                    </a:lnTo>
                    <a:lnTo>
                      <a:pt x="2727" y="1017"/>
                    </a:lnTo>
                    <a:lnTo>
                      <a:pt x="2730" y="1021"/>
                    </a:lnTo>
                    <a:lnTo>
                      <a:pt x="2732" y="1027"/>
                    </a:lnTo>
                    <a:lnTo>
                      <a:pt x="2733" y="1034"/>
                    </a:lnTo>
                    <a:lnTo>
                      <a:pt x="2734" y="1042"/>
                    </a:lnTo>
                    <a:lnTo>
                      <a:pt x="2735" y="1059"/>
                    </a:lnTo>
                    <a:lnTo>
                      <a:pt x="2738" y="1076"/>
                    </a:lnTo>
                    <a:lnTo>
                      <a:pt x="2743" y="1085"/>
                    </a:lnTo>
                    <a:lnTo>
                      <a:pt x="2747" y="1093"/>
                    </a:lnTo>
                    <a:lnTo>
                      <a:pt x="2752" y="1099"/>
                    </a:lnTo>
                    <a:lnTo>
                      <a:pt x="2761" y="1105"/>
                    </a:lnTo>
                    <a:lnTo>
                      <a:pt x="2776" y="1112"/>
                    </a:lnTo>
                    <a:lnTo>
                      <a:pt x="2793" y="1116"/>
                    </a:lnTo>
                    <a:lnTo>
                      <a:pt x="2809" y="1121"/>
                    </a:lnTo>
                    <a:lnTo>
                      <a:pt x="2824" y="1126"/>
                    </a:lnTo>
                    <a:lnTo>
                      <a:pt x="2832" y="1128"/>
                    </a:lnTo>
                    <a:lnTo>
                      <a:pt x="2838" y="1132"/>
                    </a:lnTo>
                    <a:lnTo>
                      <a:pt x="2843" y="1136"/>
                    </a:lnTo>
                    <a:lnTo>
                      <a:pt x="2848" y="1141"/>
                    </a:lnTo>
                    <a:lnTo>
                      <a:pt x="2852" y="1148"/>
                    </a:lnTo>
                    <a:lnTo>
                      <a:pt x="2855" y="1154"/>
                    </a:lnTo>
                    <a:lnTo>
                      <a:pt x="2858" y="1163"/>
                    </a:lnTo>
                    <a:lnTo>
                      <a:pt x="2858" y="1172"/>
                    </a:lnTo>
                    <a:lnTo>
                      <a:pt x="2860" y="1185"/>
                    </a:lnTo>
                    <a:lnTo>
                      <a:pt x="2862" y="1197"/>
                    </a:lnTo>
                    <a:lnTo>
                      <a:pt x="2865" y="1210"/>
                    </a:lnTo>
                    <a:lnTo>
                      <a:pt x="2869" y="1222"/>
                    </a:lnTo>
                    <a:lnTo>
                      <a:pt x="2874" y="1234"/>
                    </a:lnTo>
                    <a:lnTo>
                      <a:pt x="2879" y="1246"/>
                    </a:lnTo>
                    <a:lnTo>
                      <a:pt x="2886" y="1258"/>
                    </a:lnTo>
                    <a:lnTo>
                      <a:pt x="2892" y="1269"/>
                    </a:lnTo>
                    <a:lnTo>
                      <a:pt x="2907" y="1292"/>
                    </a:lnTo>
                    <a:lnTo>
                      <a:pt x="2924" y="1315"/>
                    </a:lnTo>
                    <a:lnTo>
                      <a:pt x="2942" y="1337"/>
                    </a:lnTo>
                    <a:lnTo>
                      <a:pt x="2960" y="1359"/>
                    </a:lnTo>
                    <a:lnTo>
                      <a:pt x="3001" y="1402"/>
                    </a:lnTo>
                    <a:lnTo>
                      <a:pt x="3040" y="1445"/>
                    </a:lnTo>
                    <a:lnTo>
                      <a:pt x="3058" y="1465"/>
                    </a:lnTo>
                    <a:lnTo>
                      <a:pt x="3075" y="1486"/>
                    </a:lnTo>
                    <a:lnTo>
                      <a:pt x="3092" y="1506"/>
                    </a:lnTo>
                    <a:lnTo>
                      <a:pt x="3106" y="1527"/>
                    </a:lnTo>
                    <a:lnTo>
                      <a:pt x="3106" y="1527"/>
                    </a:lnTo>
                    <a:lnTo>
                      <a:pt x="3106" y="2519"/>
                    </a:lnTo>
                    <a:lnTo>
                      <a:pt x="3106" y="2519"/>
                    </a:lnTo>
                    <a:lnTo>
                      <a:pt x="3106" y="3070"/>
                    </a:lnTo>
                    <a:lnTo>
                      <a:pt x="3106" y="3070"/>
                    </a:lnTo>
                    <a:lnTo>
                      <a:pt x="2962" y="3065"/>
                    </a:lnTo>
                    <a:lnTo>
                      <a:pt x="2812" y="3000"/>
                    </a:lnTo>
                    <a:lnTo>
                      <a:pt x="2509" y="2526"/>
                    </a:lnTo>
                    <a:lnTo>
                      <a:pt x="2504" y="2518"/>
                    </a:lnTo>
                    <a:lnTo>
                      <a:pt x="2499" y="2511"/>
                    </a:lnTo>
                    <a:lnTo>
                      <a:pt x="2493" y="2505"/>
                    </a:lnTo>
                    <a:lnTo>
                      <a:pt x="2488" y="2500"/>
                    </a:lnTo>
                    <a:lnTo>
                      <a:pt x="2481" y="2495"/>
                    </a:lnTo>
                    <a:lnTo>
                      <a:pt x="2475" y="2493"/>
                    </a:lnTo>
                    <a:lnTo>
                      <a:pt x="2468" y="2491"/>
                    </a:lnTo>
                    <a:lnTo>
                      <a:pt x="2462" y="2490"/>
                    </a:lnTo>
                    <a:lnTo>
                      <a:pt x="2454" y="2489"/>
                    </a:lnTo>
                    <a:lnTo>
                      <a:pt x="2447" y="2489"/>
                    </a:lnTo>
                    <a:lnTo>
                      <a:pt x="2439" y="2490"/>
                    </a:lnTo>
                    <a:lnTo>
                      <a:pt x="2432" y="2491"/>
                    </a:lnTo>
                    <a:lnTo>
                      <a:pt x="2416" y="2495"/>
                    </a:lnTo>
                    <a:lnTo>
                      <a:pt x="2400" y="2502"/>
                    </a:lnTo>
                    <a:lnTo>
                      <a:pt x="2369" y="2516"/>
                    </a:lnTo>
                    <a:lnTo>
                      <a:pt x="2340" y="2530"/>
                    </a:lnTo>
                    <a:lnTo>
                      <a:pt x="2325" y="2536"/>
                    </a:lnTo>
                    <a:lnTo>
                      <a:pt x="2314" y="2541"/>
                    </a:lnTo>
                    <a:lnTo>
                      <a:pt x="2307" y="2543"/>
                    </a:lnTo>
                    <a:lnTo>
                      <a:pt x="2302" y="2544"/>
                    </a:lnTo>
                    <a:lnTo>
                      <a:pt x="2297" y="2544"/>
                    </a:lnTo>
                    <a:lnTo>
                      <a:pt x="2293" y="2544"/>
                    </a:lnTo>
                    <a:lnTo>
                      <a:pt x="2256" y="2540"/>
                    </a:lnTo>
                    <a:lnTo>
                      <a:pt x="2217" y="2535"/>
                    </a:lnTo>
                    <a:lnTo>
                      <a:pt x="2198" y="2532"/>
                    </a:lnTo>
                    <a:lnTo>
                      <a:pt x="2178" y="2529"/>
                    </a:lnTo>
                    <a:lnTo>
                      <a:pt x="2159" y="2526"/>
                    </a:lnTo>
                    <a:lnTo>
                      <a:pt x="2140" y="2520"/>
                    </a:lnTo>
                    <a:lnTo>
                      <a:pt x="2121" y="2515"/>
                    </a:lnTo>
                    <a:lnTo>
                      <a:pt x="2102" y="2509"/>
                    </a:lnTo>
                    <a:lnTo>
                      <a:pt x="2085" y="2502"/>
                    </a:lnTo>
                    <a:lnTo>
                      <a:pt x="2068" y="2493"/>
                    </a:lnTo>
                    <a:lnTo>
                      <a:pt x="2051" y="2484"/>
                    </a:lnTo>
                    <a:lnTo>
                      <a:pt x="2036" y="2473"/>
                    </a:lnTo>
                    <a:lnTo>
                      <a:pt x="2022" y="2460"/>
                    </a:lnTo>
                    <a:lnTo>
                      <a:pt x="2010" y="2445"/>
                    </a:lnTo>
                    <a:lnTo>
                      <a:pt x="1994" y="2423"/>
                    </a:lnTo>
                    <a:lnTo>
                      <a:pt x="1979" y="2399"/>
                    </a:lnTo>
                    <a:lnTo>
                      <a:pt x="1965" y="2372"/>
                    </a:lnTo>
                    <a:lnTo>
                      <a:pt x="1949" y="2346"/>
                    </a:lnTo>
                    <a:lnTo>
                      <a:pt x="1934" y="2319"/>
                    </a:lnTo>
                    <a:lnTo>
                      <a:pt x="1918" y="2296"/>
                    </a:lnTo>
                    <a:lnTo>
                      <a:pt x="1910" y="2284"/>
                    </a:lnTo>
                    <a:lnTo>
                      <a:pt x="1902" y="2274"/>
                    </a:lnTo>
                    <a:lnTo>
                      <a:pt x="1894" y="2264"/>
                    </a:lnTo>
                    <a:lnTo>
                      <a:pt x="1884" y="2256"/>
                    </a:lnTo>
                    <a:lnTo>
                      <a:pt x="1879" y="2251"/>
                    </a:lnTo>
                    <a:lnTo>
                      <a:pt x="1875" y="2248"/>
                    </a:lnTo>
                    <a:lnTo>
                      <a:pt x="1869" y="2246"/>
                    </a:lnTo>
                    <a:lnTo>
                      <a:pt x="1866" y="2244"/>
                    </a:lnTo>
                    <a:lnTo>
                      <a:pt x="1862" y="2243"/>
                    </a:lnTo>
                    <a:lnTo>
                      <a:pt x="1858" y="2243"/>
                    </a:lnTo>
                    <a:lnTo>
                      <a:pt x="1855" y="2244"/>
                    </a:lnTo>
                    <a:lnTo>
                      <a:pt x="1852" y="2244"/>
                    </a:lnTo>
                    <a:lnTo>
                      <a:pt x="1845" y="2247"/>
                    </a:lnTo>
                    <a:lnTo>
                      <a:pt x="1839" y="2250"/>
                    </a:lnTo>
                    <a:lnTo>
                      <a:pt x="1830" y="2254"/>
                    </a:lnTo>
                    <a:lnTo>
                      <a:pt x="1819" y="2256"/>
                    </a:lnTo>
                    <a:lnTo>
                      <a:pt x="1805" y="2261"/>
                    </a:lnTo>
                    <a:lnTo>
                      <a:pt x="1793" y="2265"/>
                    </a:lnTo>
                    <a:lnTo>
                      <a:pt x="1781" y="2270"/>
                    </a:lnTo>
                    <a:lnTo>
                      <a:pt x="1769" y="2272"/>
                    </a:lnTo>
                    <a:lnTo>
                      <a:pt x="1759" y="2274"/>
                    </a:lnTo>
                    <a:lnTo>
                      <a:pt x="1748" y="2275"/>
                    </a:lnTo>
                    <a:lnTo>
                      <a:pt x="1738" y="2276"/>
                    </a:lnTo>
                    <a:lnTo>
                      <a:pt x="1728" y="2276"/>
                    </a:lnTo>
                    <a:lnTo>
                      <a:pt x="1719" y="2276"/>
                    </a:lnTo>
                    <a:lnTo>
                      <a:pt x="1710" y="2274"/>
                    </a:lnTo>
                    <a:lnTo>
                      <a:pt x="1701" y="2273"/>
                    </a:lnTo>
                    <a:lnTo>
                      <a:pt x="1693" y="2270"/>
                    </a:lnTo>
                    <a:lnTo>
                      <a:pt x="1685" y="2266"/>
                    </a:lnTo>
                    <a:lnTo>
                      <a:pt x="1676" y="2263"/>
                    </a:lnTo>
                    <a:lnTo>
                      <a:pt x="1669" y="2259"/>
                    </a:lnTo>
                    <a:lnTo>
                      <a:pt x="1662" y="2255"/>
                    </a:lnTo>
                    <a:lnTo>
                      <a:pt x="1648" y="2244"/>
                    </a:lnTo>
                    <a:lnTo>
                      <a:pt x="1634" y="2231"/>
                    </a:lnTo>
                    <a:lnTo>
                      <a:pt x="1620" y="2217"/>
                    </a:lnTo>
                    <a:lnTo>
                      <a:pt x="1607" y="2201"/>
                    </a:lnTo>
                    <a:lnTo>
                      <a:pt x="1580" y="2166"/>
                    </a:lnTo>
                    <a:lnTo>
                      <a:pt x="1552" y="2126"/>
                    </a:lnTo>
                    <a:lnTo>
                      <a:pt x="1543" y="2115"/>
                    </a:lnTo>
                    <a:lnTo>
                      <a:pt x="1534" y="2106"/>
                    </a:lnTo>
                    <a:lnTo>
                      <a:pt x="1525" y="2098"/>
                    </a:lnTo>
                    <a:lnTo>
                      <a:pt x="1515" y="2090"/>
                    </a:lnTo>
                    <a:lnTo>
                      <a:pt x="1505" y="2084"/>
                    </a:lnTo>
                    <a:lnTo>
                      <a:pt x="1495" y="2080"/>
                    </a:lnTo>
                    <a:lnTo>
                      <a:pt x="1486" y="2075"/>
                    </a:lnTo>
                    <a:lnTo>
                      <a:pt x="1475" y="2072"/>
                    </a:lnTo>
                    <a:lnTo>
                      <a:pt x="1465" y="2070"/>
                    </a:lnTo>
                    <a:lnTo>
                      <a:pt x="1454" y="2069"/>
                    </a:lnTo>
                    <a:lnTo>
                      <a:pt x="1443" y="2068"/>
                    </a:lnTo>
                    <a:lnTo>
                      <a:pt x="1432" y="2068"/>
                    </a:lnTo>
                    <a:lnTo>
                      <a:pt x="1411" y="2070"/>
                    </a:lnTo>
                    <a:lnTo>
                      <a:pt x="1388" y="2073"/>
                    </a:lnTo>
                    <a:lnTo>
                      <a:pt x="1344" y="2083"/>
                    </a:lnTo>
                    <a:lnTo>
                      <a:pt x="1298" y="2093"/>
                    </a:lnTo>
                    <a:lnTo>
                      <a:pt x="1276" y="2097"/>
                    </a:lnTo>
                    <a:lnTo>
                      <a:pt x="1255" y="2099"/>
                    </a:lnTo>
                    <a:lnTo>
                      <a:pt x="1244" y="2099"/>
                    </a:lnTo>
                    <a:lnTo>
                      <a:pt x="1233" y="2099"/>
                    </a:lnTo>
                    <a:lnTo>
                      <a:pt x="1223" y="2098"/>
                    </a:lnTo>
                    <a:lnTo>
                      <a:pt x="1214" y="2096"/>
                    </a:lnTo>
                    <a:lnTo>
                      <a:pt x="1202" y="2093"/>
                    </a:lnTo>
                    <a:lnTo>
                      <a:pt x="1192" y="2088"/>
                    </a:lnTo>
                    <a:lnTo>
                      <a:pt x="1182" y="2082"/>
                    </a:lnTo>
                    <a:lnTo>
                      <a:pt x="1172" y="2075"/>
                    </a:lnTo>
                    <a:lnTo>
                      <a:pt x="1163" y="2070"/>
                    </a:lnTo>
                    <a:lnTo>
                      <a:pt x="1153" y="2065"/>
                    </a:lnTo>
                    <a:lnTo>
                      <a:pt x="1147" y="2062"/>
                    </a:lnTo>
                    <a:lnTo>
                      <a:pt x="1142" y="2061"/>
                    </a:lnTo>
                    <a:lnTo>
                      <a:pt x="1136" y="2060"/>
                    </a:lnTo>
                    <a:lnTo>
                      <a:pt x="1129" y="2060"/>
                    </a:lnTo>
                    <a:lnTo>
                      <a:pt x="868" y="2057"/>
                    </a:lnTo>
                    <a:lnTo>
                      <a:pt x="842" y="2057"/>
                    </a:lnTo>
                    <a:lnTo>
                      <a:pt x="814" y="2056"/>
                    </a:lnTo>
                    <a:lnTo>
                      <a:pt x="784" y="2055"/>
                    </a:lnTo>
                    <a:lnTo>
                      <a:pt x="755" y="2054"/>
                    </a:lnTo>
                    <a:lnTo>
                      <a:pt x="726" y="2055"/>
                    </a:lnTo>
                    <a:lnTo>
                      <a:pt x="697" y="2056"/>
                    </a:lnTo>
                    <a:lnTo>
                      <a:pt x="683" y="2057"/>
                    </a:lnTo>
                    <a:lnTo>
                      <a:pt x="670" y="2059"/>
                    </a:lnTo>
                    <a:lnTo>
                      <a:pt x="655" y="2061"/>
                    </a:lnTo>
                    <a:lnTo>
                      <a:pt x="644" y="2065"/>
                    </a:lnTo>
                    <a:lnTo>
                      <a:pt x="637" y="2066"/>
                    </a:lnTo>
                    <a:lnTo>
                      <a:pt x="632" y="2069"/>
                    </a:lnTo>
                    <a:lnTo>
                      <a:pt x="626" y="2071"/>
                    </a:lnTo>
                    <a:lnTo>
                      <a:pt x="621" y="2075"/>
                    </a:lnTo>
                    <a:lnTo>
                      <a:pt x="610" y="2083"/>
                    </a:lnTo>
                    <a:lnTo>
                      <a:pt x="600" y="2092"/>
                    </a:lnTo>
                    <a:lnTo>
                      <a:pt x="589" y="2099"/>
                    </a:lnTo>
                    <a:lnTo>
                      <a:pt x="580" y="2104"/>
                    </a:lnTo>
                    <a:lnTo>
                      <a:pt x="574" y="2107"/>
                    </a:lnTo>
                    <a:lnTo>
                      <a:pt x="569" y="2108"/>
                    </a:lnTo>
                    <a:lnTo>
                      <a:pt x="564" y="2109"/>
                    </a:lnTo>
                    <a:lnTo>
                      <a:pt x="559" y="2108"/>
                    </a:lnTo>
                    <a:lnTo>
                      <a:pt x="554" y="2107"/>
                    </a:lnTo>
                    <a:lnTo>
                      <a:pt x="548" y="2104"/>
                    </a:lnTo>
                    <a:lnTo>
                      <a:pt x="542" y="2101"/>
                    </a:lnTo>
                    <a:lnTo>
                      <a:pt x="535" y="2097"/>
                    </a:lnTo>
                    <a:lnTo>
                      <a:pt x="521" y="2087"/>
                    </a:lnTo>
                    <a:lnTo>
                      <a:pt x="506" y="2076"/>
                    </a:lnTo>
                    <a:lnTo>
                      <a:pt x="478" y="2053"/>
                    </a:lnTo>
                    <a:lnTo>
                      <a:pt x="456" y="2034"/>
                    </a:lnTo>
                    <a:lnTo>
                      <a:pt x="451" y="2033"/>
                    </a:lnTo>
                    <a:lnTo>
                      <a:pt x="434" y="2027"/>
                    </a:lnTo>
                    <a:lnTo>
                      <a:pt x="419" y="2021"/>
                    </a:lnTo>
                    <a:lnTo>
                      <a:pt x="403" y="2019"/>
                    </a:lnTo>
                    <a:lnTo>
                      <a:pt x="386" y="2017"/>
                    </a:lnTo>
                    <a:lnTo>
                      <a:pt x="353" y="2017"/>
                    </a:lnTo>
                    <a:lnTo>
                      <a:pt x="321" y="2019"/>
                    </a:lnTo>
                    <a:lnTo>
                      <a:pt x="304" y="2020"/>
                    </a:lnTo>
                    <a:lnTo>
                      <a:pt x="288" y="2021"/>
                    </a:lnTo>
                    <a:lnTo>
                      <a:pt x="273" y="2021"/>
                    </a:lnTo>
                    <a:lnTo>
                      <a:pt x="258" y="2019"/>
                    </a:lnTo>
                    <a:lnTo>
                      <a:pt x="243" y="2017"/>
                    </a:lnTo>
                    <a:lnTo>
                      <a:pt x="227" y="2013"/>
                    </a:lnTo>
                    <a:lnTo>
                      <a:pt x="221" y="2009"/>
                    </a:lnTo>
                    <a:lnTo>
                      <a:pt x="213" y="2006"/>
                    </a:lnTo>
                    <a:lnTo>
                      <a:pt x="207" y="2002"/>
                    </a:lnTo>
                    <a:lnTo>
                      <a:pt x="199" y="1998"/>
                    </a:lnTo>
                    <a:lnTo>
                      <a:pt x="192" y="1990"/>
                    </a:lnTo>
                    <a:lnTo>
                      <a:pt x="184" y="1980"/>
                    </a:lnTo>
                    <a:lnTo>
                      <a:pt x="176" y="1968"/>
                    </a:lnTo>
                    <a:lnTo>
                      <a:pt x="169" y="1954"/>
                    </a:lnTo>
                    <a:lnTo>
                      <a:pt x="162" y="1940"/>
                    </a:lnTo>
                    <a:lnTo>
                      <a:pt x="155" y="1924"/>
                    </a:lnTo>
                    <a:lnTo>
                      <a:pt x="148" y="1907"/>
                    </a:lnTo>
                    <a:lnTo>
                      <a:pt x="143" y="1890"/>
                    </a:lnTo>
                    <a:lnTo>
                      <a:pt x="131" y="1854"/>
                    </a:lnTo>
                    <a:lnTo>
                      <a:pt x="120" y="1820"/>
                    </a:lnTo>
                    <a:lnTo>
                      <a:pt x="111" y="1790"/>
                    </a:lnTo>
                    <a:lnTo>
                      <a:pt x="103" y="1765"/>
                    </a:lnTo>
                    <a:lnTo>
                      <a:pt x="98" y="1757"/>
                    </a:lnTo>
                    <a:lnTo>
                      <a:pt x="94" y="1748"/>
                    </a:lnTo>
                    <a:lnTo>
                      <a:pt x="89" y="1741"/>
                    </a:lnTo>
                    <a:lnTo>
                      <a:pt x="83" y="1733"/>
                    </a:lnTo>
                    <a:lnTo>
                      <a:pt x="70" y="1718"/>
                    </a:lnTo>
                    <a:lnTo>
                      <a:pt x="57" y="1704"/>
                    </a:lnTo>
                    <a:lnTo>
                      <a:pt x="44" y="1690"/>
                    </a:lnTo>
                    <a:lnTo>
                      <a:pt x="32" y="1676"/>
                    </a:lnTo>
                    <a:lnTo>
                      <a:pt x="27" y="1668"/>
                    </a:lnTo>
                    <a:lnTo>
                      <a:pt x="23" y="1661"/>
                    </a:lnTo>
                    <a:lnTo>
                      <a:pt x="18" y="1652"/>
                    </a:lnTo>
                    <a:lnTo>
                      <a:pt x="16" y="1643"/>
                    </a:lnTo>
                    <a:lnTo>
                      <a:pt x="0" y="1554"/>
                    </a:lnTo>
                    <a:lnTo>
                      <a:pt x="0" y="1554"/>
                    </a:lnTo>
                    <a:lnTo>
                      <a:pt x="4" y="1553"/>
                    </a:lnTo>
                    <a:lnTo>
                      <a:pt x="10" y="1550"/>
                    </a:lnTo>
                    <a:lnTo>
                      <a:pt x="37" y="1545"/>
                    </a:lnTo>
                    <a:lnTo>
                      <a:pt x="70" y="1536"/>
                    </a:lnTo>
                    <a:lnTo>
                      <a:pt x="88" y="1532"/>
                    </a:lnTo>
                    <a:lnTo>
                      <a:pt x="102" y="1526"/>
                    </a:lnTo>
                    <a:lnTo>
                      <a:pt x="108" y="1522"/>
                    </a:lnTo>
                    <a:lnTo>
                      <a:pt x="115" y="1518"/>
                    </a:lnTo>
                    <a:lnTo>
                      <a:pt x="119" y="1514"/>
                    </a:lnTo>
                    <a:lnTo>
                      <a:pt x="122" y="1509"/>
                    </a:lnTo>
                    <a:lnTo>
                      <a:pt x="139" y="1500"/>
                    </a:lnTo>
                    <a:lnTo>
                      <a:pt x="157" y="1490"/>
                    </a:lnTo>
                    <a:lnTo>
                      <a:pt x="175" y="1481"/>
                    </a:lnTo>
                    <a:lnTo>
                      <a:pt x="196" y="1474"/>
                    </a:lnTo>
                    <a:lnTo>
                      <a:pt x="236" y="1460"/>
                    </a:lnTo>
                    <a:lnTo>
                      <a:pt x="278" y="1445"/>
                    </a:lnTo>
                    <a:lnTo>
                      <a:pt x="299" y="1438"/>
                    </a:lnTo>
                    <a:lnTo>
                      <a:pt x="319" y="1429"/>
                    </a:lnTo>
                    <a:lnTo>
                      <a:pt x="339" y="1422"/>
                    </a:lnTo>
                    <a:lnTo>
                      <a:pt x="359" y="1412"/>
                    </a:lnTo>
                    <a:lnTo>
                      <a:pt x="377" y="1402"/>
                    </a:lnTo>
                    <a:lnTo>
                      <a:pt x="394" y="1391"/>
                    </a:lnTo>
                    <a:lnTo>
                      <a:pt x="411" y="1379"/>
                    </a:lnTo>
                    <a:lnTo>
                      <a:pt x="426" y="1365"/>
                    </a:lnTo>
                    <a:lnTo>
                      <a:pt x="442" y="1346"/>
                    </a:lnTo>
                    <a:lnTo>
                      <a:pt x="458" y="1327"/>
                    </a:lnTo>
                    <a:lnTo>
                      <a:pt x="474" y="1307"/>
                    </a:lnTo>
                    <a:lnTo>
                      <a:pt x="490" y="1287"/>
                    </a:lnTo>
                    <a:lnTo>
                      <a:pt x="521" y="1244"/>
                    </a:lnTo>
                    <a:lnTo>
                      <a:pt x="552" y="1202"/>
                    </a:lnTo>
                    <a:lnTo>
                      <a:pt x="569" y="1180"/>
                    </a:lnTo>
                    <a:lnTo>
                      <a:pt x="585" y="1159"/>
                    </a:lnTo>
                    <a:lnTo>
                      <a:pt x="601" y="1140"/>
                    </a:lnTo>
                    <a:lnTo>
                      <a:pt x="619" y="1122"/>
                    </a:lnTo>
                    <a:lnTo>
                      <a:pt x="637" y="1103"/>
                    </a:lnTo>
                    <a:lnTo>
                      <a:pt x="655" y="1087"/>
                    </a:lnTo>
                    <a:lnTo>
                      <a:pt x="674" y="1072"/>
                    </a:lnTo>
                    <a:lnTo>
                      <a:pt x="694" y="1059"/>
                    </a:lnTo>
                    <a:lnTo>
                      <a:pt x="706" y="1051"/>
                    </a:lnTo>
                    <a:lnTo>
                      <a:pt x="717" y="1043"/>
                    </a:lnTo>
                    <a:lnTo>
                      <a:pt x="727" y="1034"/>
                    </a:lnTo>
                    <a:lnTo>
                      <a:pt x="738" y="1024"/>
                    </a:lnTo>
                    <a:lnTo>
                      <a:pt x="756" y="1004"/>
                    </a:lnTo>
                    <a:lnTo>
                      <a:pt x="775" y="983"/>
                    </a:lnTo>
                    <a:lnTo>
                      <a:pt x="792" y="963"/>
                    </a:lnTo>
                    <a:lnTo>
                      <a:pt x="811" y="943"/>
                    </a:lnTo>
                    <a:lnTo>
                      <a:pt x="821" y="935"/>
                    </a:lnTo>
                    <a:lnTo>
                      <a:pt x="831" y="927"/>
                    </a:lnTo>
                    <a:lnTo>
                      <a:pt x="842" y="921"/>
                    </a:lnTo>
                    <a:lnTo>
                      <a:pt x="854" y="915"/>
                    </a:lnTo>
                    <a:lnTo>
                      <a:pt x="885" y="900"/>
                    </a:lnTo>
                    <a:lnTo>
                      <a:pt x="917" y="886"/>
                    </a:lnTo>
                    <a:lnTo>
                      <a:pt x="948" y="870"/>
                    </a:lnTo>
                    <a:lnTo>
                      <a:pt x="979" y="854"/>
                    </a:lnTo>
                    <a:lnTo>
                      <a:pt x="1010" y="837"/>
                    </a:lnTo>
                    <a:lnTo>
                      <a:pt x="1040" y="819"/>
                    </a:lnTo>
                    <a:lnTo>
                      <a:pt x="1071" y="801"/>
                    </a:lnTo>
                    <a:lnTo>
                      <a:pt x="1100" y="781"/>
                    </a:lnTo>
                    <a:lnTo>
                      <a:pt x="1114" y="777"/>
                    </a:lnTo>
                    <a:lnTo>
                      <a:pt x="1129" y="771"/>
                    </a:lnTo>
                    <a:lnTo>
                      <a:pt x="1145" y="764"/>
                    </a:lnTo>
                    <a:lnTo>
                      <a:pt x="1163" y="758"/>
                    </a:lnTo>
                    <a:lnTo>
                      <a:pt x="1197" y="740"/>
                    </a:lnTo>
                    <a:lnTo>
                      <a:pt x="1232" y="722"/>
                    </a:lnTo>
                    <a:lnTo>
                      <a:pt x="1249" y="711"/>
                    </a:lnTo>
                    <a:lnTo>
                      <a:pt x="1266" y="700"/>
                    </a:lnTo>
                    <a:lnTo>
                      <a:pt x="1282" y="690"/>
                    </a:lnTo>
                    <a:lnTo>
                      <a:pt x="1297" y="679"/>
                    </a:lnTo>
                    <a:lnTo>
                      <a:pt x="1311" y="668"/>
                    </a:lnTo>
                    <a:lnTo>
                      <a:pt x="1324" y="657"/>
                    </a:lnTo>
                    <a:lnTo>
                      <a:pt x="1336" y="646"/>
                    </a:lnTo>
                    <a:lnTo>
                      <a:pt x="1346" y="635"/>
                    </a:lnTo>
                    <a:lnTo>
                      <a:pt x="1363" y="614"/>
                    </a:lnTo>
                    <a:lnTo>
                      <a:pt x="1378" y="592"/>
                    </a:lnTo>
                    <a:lnTo>
                      <a:pt x="1393" y="570"/>
                    </a:lnTo>
                    <a:lnTo>
                      <a:pt x="1408" y="547"/>
                    </a:lnTo>
                    <a:lnTo>
                      <a:pt x="1421" y="524"/>
                    </a:lnTo>
                    <a:lnTo>
                      <a:pt x="1435" y="501"/>
                    </a:lnTo>
                    <a:lnTo>
                      <a:pt x="1449" y="478"/>
                    </a:lnTo>
                    <a:lnTo>
                      <a:pt x="1464" y="455"/>
                    </a:lnTo>
                    <a:lnTo>
                      <a:pt x="1470" y="447"/>
                    </a:lnTo>
                    <a:lnTo>
                      <a:pt x="1477" y="438"/>
                    </a:lnTo>
                    <a:lnTo>
                      <a:pt x="1483" y="432"/>
                    </a:lnTo>
                    <a:lnTo>
                      <a:pt x="1491" y="424"/>
                    </a:lnTo>
                    <a:lnTo>
                      <a:pt x="1506" y="413"/>
                    </a:lnTo>
                    <a:lnTo>
                      <a:pt x="1521" y="402"/>
                    </a:lnTo>
                    <a:lnTo>
                      <a:pt x="1538" y="393"/>
                    </a:lnTo>
                    <a:lnTo>
                      <a:pt x="1554" y="383"/>
                    </a:lnTo>
                    <a:lnTo>
                      <a:pt x="1569" y="371"/>
                    </a:lnTo>
                    <a:lnTo>
                      <a:pt x="1584" y="358"/>
                    </a:lnTo>
                    <a:lnTo>
                      <a:pt x="1603" y="341"/>
                    </a:lnTo>
                    <a:lnTo>
                      <a:pt x="1619" y="321"/>
                    </a:lnTo>
                    <a:lnTo>
                      <a:pt x="1635" y="301"/>
                    </a:lnTo>
                    <a:lnTo>
                      <a:pt x="1650" y="279"/>
                    </a:lnTo>
                    <a:lnTo>
                      <a:pt x="1665" y="258"/>
                    </a:lnTo>
                    <a:lnTo>
                      <a:pt x="1680" y="235"/>
                    </a:lnTo>
                    <a:lnTo>
                      <a:pt x="1693" y="211"/>
                    </a:lnTo>
                    <a:lnTo>
                      <a:pt x="1706" y="187"/>
                    </a:lnTo>
                    <a:lnTo>
                      <a:pt x="1730" y="140"/>
                    </a:lnTo>
                    <a:lnTo>
                      <a:pt x="1754" y="91"/>
                    </a:lnTo>
                    <a:lnTo>
                      <a:pt x="1777" y="44"/>
                    </a:lnTo>
                    <a:lnTo>
                      <a:pt x="1801" y="0"/>
                    </a:lnTo>
                    <a:lnTo>
                      <a:pt x="180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97" name="Freeform 12">
                <a:extLst>
                  <a:ext uri="{FF2B5EF4-FFF2-40B4-BE49-F238E27FC236}">
                    <a16:creationId xmlns:a16="http://schemas.microsoft.com/office/drawing/2014/main" id="{28278964-2B7D-40C7-9518-36E3A110E3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61538" y="1581555"/>
                <a:ext cx="1233488" cy="1219200"/>
              </a:xfrm>
              <a:custGeom>
                <a:avLst/>
                <a:gdLst>
                  <a:gd name="T0" fmla="*/ 1855 w 3106"/>
                  <a:gd name="T1" fmla="*/ 112 h 3070"/>
                  <a:gd name="T2" fmla="*/ 1921 w 3106"/>
                  <a:gd name="T3" fmla="*/ 57 h 3070"/>
                  <a:gd name="T4" fmla="*/ 1953 w 3106"/>
                  <a:gd name="T5" fmla="*/ 187 h 3070"/>
                  <a:gd name="T6" fmla="*/ 2006 w 3106"/>
                  <a:gd name="T7" fmla="*/ 238 h 3070"/>
                  <a:gd name="T8" fmla="*/ 2104 w 3106"/>
                  <a:gd name="T9" fmla="*/ 178 h 3070"/>
                  <a:gd name="T10" fmla="*/ 2154 w 3106"/>
                  <a:gd name="T11" fmla="*/ 186 h 3070"/>
                  <a:gd name="T12" fmla="*/ 2191 w 3106"/>
                  <a:gd name="T13" fmla="*/ 231 h 3070"/>
                  <a:gd name="T14" fmla="*/ 2279 w 3106"/>
                  <a:gd name="T15" fmla="*/ 169 h 3070"/>
                  <a:gd name="T16" fmla="*/ 2309 w 3106"/>
                  <a:gd name="T17" fmla="*/ 211 h 3070"/>
                  <a:gd name="T18" fmla="*/ 2342 w 3106"/>
                  <a:gd name="T19" fmla="*/ 216 h 3070"/>
                  <a:gd name="T20" fmla="*/ 2374 w 3106"/>
                  <a:gd name="T21" fmla="*/ 207 h 3070"/>
                  <a:gd name="T22" fmla="*/ 2402 w 3106"/>
                  <a:gd name="T23" fmla="*/ 225 h 3070"/>
                  <a:gd name="T24" fmla="*/ 2446 w 3106"/>
                  <a:gd name="T25" fmla="*/ 156 h 3070"/>
                  <a:gd name="T26" fmla="*/ 2542 w 3106"/>
                  <a:gd name="T27" fmla="*/ 168 h 3070"/>
                  <a:gd name="T28" fmla="*/ 2628 w 3106"/>
                  <a:gd name="T29" fmla="*/ 251 h 3070"/>
                  <a:gd name="T30" fmla="*/ 2661 w 3106"/>
                  <a:gd name="T31" fmla="*/ 378 h 3070"/>
                  <a:gd name="T32" fmla="*/ 2722 w 3106"/>
                  <a:gd name="T33" fmla="*/ 501 h 3070"/>
                  <a:gd name="T34" fmla="*/ 2708 w 3106"/>
                  <a:gd name="T35" fmla="*/ 546 h 3070"/>
                  <a:gd name="T36" fmla="*/ 2674 w 3106"/>
                  <a:gd name="T37" fmla="*/ 595 h 3070"/>
                  <a:gd name="T38" fmla="*/ 2652 w 3106"/>
                  <a:gd name="T39" fmla="*/ 637 h 3070"/>
                  <a:gd name="T40" fmla="*/ 2569 w 3106"/>
                  <a:gd name="T41" fmla="*/ 680 h 3070"/>
                  <a:gd name="T42" fmla="*/ 2619 w 3106"/>
                  <a:gd name="T43" fmla="*/ 763 h 3070"/>
                  <a:gd name="T44" fmla="*/ 2636 w 3106"/>
                  <a:gd name="T45" fmla="*/ 826 h 3070"/>
                  <a:gd name="T46" fmla="*/ 2657 w 3106"/>
                  <a:gd name="T47" fmla="*/ 893 h 3070"/>
                  <a:gd name="T48" fmla="*/ 2669 w 3106"/>
                  <a:gd name="T49" fmla="*/ 1008 h 3070"/>
                  <a:gd name="T50" fmla="*/ 2718 w 3106"/>
                  <a:gd name="T51" fmla="*/ 1013 h 3070"/>
                  <a:gd name="T52" fmla="*/ 2735 w 3106"/>
                  <a:gd name="T53" fmla="*/ 1059 h 3070"/>
                  <a:gd name="T54" fmla="*/ 2824 w 3106"/>
                  <a:gd name="T55" fmla="*/ 1126 h 3070"/>
                  <a:gd name="T56" fmla="*/ 2860 w 3106"/>
                  <a:gd name="T57" fmla="*/ 1185 h 3070"/>
                  <a:gd name="T58" fmla="*/ 2924 w 3106"/>
                  <a:gd name="T59" fmla="*/ 1315 h 3070"/>
                  <a:gd name="T60" fmla="*/ 3106 w 3106"/>
                  <a:gd name="T61" fmla="*/ 1527 h 3070"/>
                  <a:gd name="T62" fmla="*/ 2499 w 3106"/>
                  <a:gd name="T63" fmla="*/ 2511 h 3070"/>
                  <a:gd name="T64" fmla="*/ 2439 w 3106"/>
                  <a:gd name="T65" fmla="*/ 2490 h 3070"/>
                  <a:gd name="T66" fmla="*/ 2302 w 3106"/>
                  <a:gd name="T67" fmla="*/ 2544 h 3070"/>
                  <a:gd name="T68" fmla="*/ 2121 w 3106"/>
                  <a:gd name="T69" fmla="*/ 2515 h 3070"/>
                  <a:gd name="T70" fmla="*/ 1979 w 3106"/>
                  <a:gd name="T71" fmla="*/ 2399 h 3070"/>
                  <a:gd name="T72" fmla="*/ 1879 w 3106"/>
                  <a:gd name="T73" fmla="*/ 2251 h 3070"/>
                  <a:gd name="T74" fmla="*/ 1839 w 3106"/>
                  <a:gd name="T75" fmla="*/ 2250 h 3070"/>
                  <a:gd name="T76" fmla="*/ 1738 w 3106"/>
                  <a:gd name="T77" fmla="*/ 2276 h 3070"/>
                  <a:gd name="T78" fmla="*/ 1662 w 3106"/>
                  <a:gd name="T79" fmla="*/ 2255 h 3070"/>
                  <a:gd name="T80" fmla="*/ 1525 w 3106"/>
                  <a:gd name="T81" fmla="*/ 2098 h 3070"/>
                  <a:gd name="T82" fmla="*/ 1432 w 3106"/>
                  <a:gd name="T83" fmla="*/ 2068 h 3070"/>
                  <a:gd name="T84" fmla="*/ 1223 w 3106"/>
                  <a:gd name="T85" fmla="*/ 2098 h 3070"/>
                  <a:gd name="T86" fmla="*/ 1142 w 3106"/>
                  <a:gd name="T87" fmla="*/ 2061 h 3070"/>
                  <a:gd name="T88" fmla="*/ 697 w 3106"/>
                  <a:gd name="T89" fmla="*/ 2056 h 3070"/>
                  <a:gd name="T90" fmla="*/ 610 w 3106"/>
                  <a:gd name="T91" fmla="*/ 2083 h 3070"/>
                  <a:gd name="T92" fmla="*/ 548 w 3106"/>
                  <a:gd name="T93" fmla="*/ 2104 h 3070"/>
                  <a:gd name="T94" fmla="*/ 419 w 3106"/>
                  <a:gd name="T95" fmla="*/ 2021 h 3070"/>
                  <a:gd name="T96" fmla="*/ 243 w 3106"/>
                  <a:gd name="T97" fmla="*/ 2017 h 3070"/>
                  <a:gd name="T98" fmla="*/ 169 w 3106"/>
                  <a:gd name="T99" fmla="*/ 1954 h 3070"/>
                  <a:gd name="T100" fmla="*/ 98 w 3106"/>
                  <a:gd name="T101" fmla="*/ 1757 h 3070"/>
                  <a:gd name="T102" fmla="*/ 23 w 3106"/>
                  <a:gd name="T103" fmla="*/ 1661 h 3070"/>
                  <a:gd name="T104" fmla="*/ 88 w 3106"/>
                  <a:gd name="T105" fmla="*/ 1532 h 3070"/>
                  <a:gd name="T106" fmla="*/ 196 w 3106"/>
                  <a:gd name="T107" fmla="*/ 1474 h 3070"/>
                  <a:gd name="T108" fmla="*/ 411 w 3106"/>
                  <a:gd name="T109" fmla="*/ 1379 h 3070"/>
                  <a:gd name="T110" fmla="*/ 585 w 3106"/>
                  <a:gd name="T111" fmla="*/ 1159 h 3070"/>
                  <a:gd name="T112" fmla="*/ 727 w 3106"/>
                  <a:gd name="T113" fmla="*/ 1034 h 3070"/>
                  <a:gd name="T114" fmla="*/ 854 w 3106"/>
                  <a:gd name="T115" fmla="*/ 915 h 3070"/>
                  <a:gd name="T116" fmla="*/ 1114 w 3106"/>
                  <a:gd name="T117" fmla="*/ 777 h 3070"/>
                  <a:gd name="T118" fmla="*/ 1297 w 3106"/>
                  <a:gd name="T119" fmla="*/ 679 h 3070"/>
                  <a:gd name="T120" fmla="*/ 1421 w 3106"/>
                  <a:gd name="T121" fmla="*/ 524 h 3070"/>
                  <a:gd name="T122" fmla="*/ 1521 w 3106"/>
                  <a:gd name="T123" fmla="*/ 402 h 3070"/>
                  <a:gd name="T124" fmla="*/ 1665 w 3106"/>
                  <a:gd name="T125" fmla="*/ 258 h 3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106" h="3070">
                    <a:moveTo>
                      <a:pt x="1801" y="0"/>
                    </a:moveTo>
                    <a:lnTo>
                      <a:pt x="1827" y="73"/>
                    </a:lnTo>
                    <a:lnTo>
                      <a:pt x="1835" y="88"/>
                    </a:lnTo>
                    <a:lnTo>
                      <a:pt x="1841" y="100"/>
                    </a:lnTo>
                    <a:lnTo>
                      <a:pt x="1843" y="104"/>
                    </a:lnTo>
                    <a:lnTo>
                      <a:pt x="1846" y="108"/>
                    </a:lnTo>
                    <a:lnTo>
                      <a:pt x="1849" y="111"/>
                    </a:lnTo>
                    <a:lnTo>
                      <a:pt x="1852" y="112"/>
                    </a:lnTo>
                    <a:lnTo>
                      <a:pt x="1855" y="112"/>
                    </a:lnTo>
                    <a:lnTo>
                      <a:pt x="1858" y="111"/>
                    </a:lnTo>
                    <a:lnTo>
                      <a:pt x="1863" y="109"/>
                    </a:lnTo>
                    <a:lnTo>
                      <a:pt x="1867" y="105"/>
                    </a:lnTo>
                    <a:lnTo>
                      <a:pt x="1878" y="95"/>
                    </a:lnTo>
                    <a:lnTo>
                      <a:pt x="1893" y="81"/>
                    </a:lnTo>
                    <a:lnTo>
                      <a:pt x="1907" y="68"/>
                    </a:lnTo>
                    <a:lnTo>
                      <a:pt x="1916" y="60"/>
                    </a:lnTo>
                    <a:lnTo>
                      <a:pt x="1919" y="58"/>
                    </a:lnTo>
                    <a:lnTo>
                      <a:pt x="1921" y="57"/>
                    </a:lnTo>
                    <a:lnTo>
                      <a:pt x="1923" y="58"/>
                    </a:lnTo>
                    <a:lnTo>
                      <a:pt x="1924" y="59"/>
                    </a:lnTo>
                    <a:lnTo>
                      <a:pt x="1927" y="76"/>
                    </a:lnTo>
                    <a:lnTo>
                      <a:pt x="1931" y="109"/>
                    </a:lnTo>
                    <a:lnTo>
                      <a:pt x="1934" y="128"/>
                    </a:lnTo>
                    <a:lnTo>
                      <a:pt x="1940" y="151"/>
                    </a:lnTo>
                    <a:lnTo>
                      <a:pt x="1944" y="164"/>
                    </a:lnTo>
                    <a:lnTo>
                      <a:pt x="1947" y="176"/>
                    </a:lnTo>
                    <a:lnTo>
                      <a:pt x="1953" y="187"/>
                    </a:lnTo>
                    <a:lnTo>
                      <a:pt x="1958" y="199"/>
                    </a:lnTo>
                    <a:lnTo>
                      <a:pt x="1963" y="210"/>
                    </a:lnTo>
                    <a:lnTo>
                      <a:pt x="1971" y="220"/>
                    </a:lnTo>
                    <a:lnTo>
                      <a:pt x="1979" y="227"/>
                    </a:lnTo>
                    <a:lnTo>
                      <a:pt x="1986" y="233"/>
                    </a:lnTo>
                    <a:lnTo>
                      <a:pt x="1991" y="235"/>
                    </a:lnTo>
                    <a:lnTo>
                      <a:pt x="1996" y="237"/>
                    </a:lnTo>
                    <a:lnTo>
                      <a:pt x="2000" y="238"/>
                    </a:lnTo>
                    <a:lnTo>
                      <a:pt x="2006" y="238"/>
                    </a:lnTo>
                    <a:lnTo>
                      <a:pt x="2010" y="237"/>
                    </a:lnTo>
                    <a:lnTo>
                      <a:pt x="2015" y="236"/>
                    </a:lnTo>
                    <a:lnTo>
                      <a:pt x="2022" y="234"/>
                    </a:lnTo>
                    <a:lnTo>
                      <a:pt x="2027" y="232"/>
                    </a:lnTo>
                    <a:lnTo>
                      <a:pt x="2040" y="222"/>
                    </a:lnTo>
                    <a:lnTo>
                      <a:pt x="2057" y="210"/>
                    </a:lnTo>
                    <a:lnTo>
                      <a:pt x="2075" y="196"/>
                    </a:lnTo>
                    <a:lnTo>
                      <a:pt x="2095" y="183"/>
                    </a:lnTo>
                    <a:lnTo>
                      <a:pt x="2104" y="178"/>
                    </a:lnTo>
                    <a:lnTo>
                      <a:pt x="2114" y="175"/>
                    </a:lnTo>
                    <a:lnTo>
                      <a:pt x="2124" y="172"/>
                    </a:lnTo>
                    <a:lnTo>
                      <a:pt x="2133" y="171"/>
                    </a:lnTo>
                    <a:lnTo>
                      <a:pt x="2137" y="172"/>
                    </a:lnTo>
                    <a:lnTo>
                      <a:pt x="2140" y="173"/>
                    </a:lnTo>
                    <a:lnTo>
                      <a:pt x="2144" y="176"/>
                    </a:lnTo>
                    <a:lnTo>
                      <a:pt x="2148" y="179"/>
                    </a:lnTo>
                    <a:lnTo>
                      <a:pt x="2151" y="182"/>
                    </a:lnTo>
                    <a:lnTo>
                      <a:pt x="2154" y="186"/>
                    </a:lnTo>
                    <a:lnTo>
                      <a:pt x="2156" y="192"/>
                    </a:lnTo>
                    <a:lnTo>
                      <a:pt x="2160" y="197"/>
                    </a:lnTo>
                    <a:lnTo>
                      <a:pt x="2164" y="208"/>
                    </a:lnTo>
                    <a:lnTo>
                      <a:pt x="2168" y="216"/>
                    </a:lnTo>
                    <a:lnTo>
                      <a:pt x="2173" y="222"/>
                    </a:lnTo>
                    <a:lnTo>
                      <a:pt x="2177" y="226"/>
                    </a:lnTo>
                    <a:lnTo>
                      <a:pt x="2181" y="230"/>
                    </a:lnTo>
                    <a:lnTo>
                      <a:pt x="2187" y="231"/>
                    </a:lnTo>
                    <a:lnTo>
                      <a:pt x="2191" y="231"/>
                    </a:lnTo>
                    <a:lnTo>
                      <a:pt x="2196" y="229"/>
                    </a:lnTo>
                    <a:lnTo>
                      <a:pt x="2206" y="223"/>
                    </a:lnTo>
                    <a:lnTo>
                      <a:pt x="2217" y="214"/>
                    </a:lnTo>
                    <a:lnTo>
                      <a:pt x="2229" y="205"/>
                    </a:lnTo>
                    <a:lnTo>
                      <a:pt x="2241" y="194"/>
                    </a:lnTo>
                    <a:lnTo>
                      <a:pt x="2253" y="185"/>
                    </a:lnTo>
                    <a:lnTo>
                      <a:pt x="2263" y="178"/>
                    </a:lnTo>
                    <a:lnTo>
                      <a:pt x="2271" y="172"/>
                    </a:lnTo>
                    <a:lnTo>
                      <a:pt x="2279" y="169"/>
                    </a:lnTo>
                    <a:lnTo>
                      <a:pt x="2283" y="169"/>
                    </a:lnTo>
                    <a:lnTo>
                      <a:pt x="2286" y="170"/>
                    </a:lnTo>
                    <a:lnTo>
                      <a:pt x="2290" y="172"/>
                    </a:lnTo>
                    <a:lnTo>
                      <a:pt x="2293" y="175"/>
                    </a:lnTo>
                    <a:lnTo>
                      <a:pt x="2295" y="179"/>
                    </a:lnTo>
                    <a:lnTo>
                      <a:pt x="2298" y="184"/>
                    </a:lnTo>
                    <a:lnTo>
                      <a:pt x="2302" y="191"/>
                    </a:lnTo>
                    <a:lnTo>
                      <a:pt x="2304" y="198"/>
                    </a:lnTo>
                    <a:lnTo>
                      <a:pt x="2309" y="211"/>
                    </a:lnTo>
                    <a:lnTo>
                      <a:pt x="2314" y="221"/>
                    </a:lnTo>
                    <a:lnTo>
                      <a:pt x="2317" y="223"/>
                    </a:lnTo>
                    <a:lnTo>
                      <a:pt x="2319" y="225"/>
                    </a:lnTo>
                    <a:lnTo>
                      <a:pt x="2321" y="227"/>
                    </a:lnTo>
                    <a:lnTo>
                      <a:pt x="2323" y="227"/>
                    </a:lnTo>
                    <a:lnTo>
                      <a:pt x="2329" y="227"/>
                    </a:lnTo>
                    <a:lnTo>
                      <a:pt x="2333" y="224"/>
                    </a:lnTo>
                    <a:lnTo>
                      <a:pt x="2337" y="220"/>
                    </a:lnTo>
                    <a:lnTo>
                      <a:pt x="2342" y="216"/>
                    </a:lnTo>
                    <a:lnTo>
                      <a:pt x="2347" y="210"/>
                    </a:lnTo>
                    <a:lnTo>
                      <a:pt x="2351" y="206"/>
                    </a:lnTo>
                    <a:lnTo>
                      <a:pt x="2356" y="202"/>
                    </a:lnTo>
                    <a:lnTo>
                      <a:pt x="2360" y="199"/>
                    </a:lnTo>
                    <a:lnTo>
                      <a:pt x="2362" y="198"/>
                    </a:lnTo>
                    <a:lnTo>
                      <a:pt x="2366" y="199"/>
                    </a:lnTo>
                    <a:lnTo>
                      <a:pt x="2368" y="199"/>
                    </a:lnTo>
                    <a:lnTo>
                      <a:pt x="2370" y="202"/>
                    </a:lnTo>
                    <a:lnTo>
                      <a:pt x="2374" y="207"/>
                    </a:lnTo>
                    <a:lnTo>
                      <a:pt x="2379" y="217"/>
                    </a:lnTo>
                    <a:lnTo>
                      <a:pt x="2383" y="225"/>
                    </a:lnTo>
                    <a:lnTo>
                      <a:pt x="2387" y="231"/>
                    </a:lnTo>
                    <a:lnTo>
                      <a:pt x="2389" y="233"/>
                    </a:lnTo>
                    <a:lnTo>
                      <a:pt x="2392" y="234"/>
                    </a:lnTo>
                    <a:lnTo>
                      <a:pt x="2394" y="234"/>
                    </a:lnTo>
                    <a:lnTo>
                      <a:pt x="2395" y="233"/>
                    </a:lnTo>
                    <a:lnTo>
                      <a:pt x="2399" y="230"/>
                    </a:lnTo>
                    <a:lnTo>
                      <a:pt x="2402" y="225"/>
                    </a:lnTo>
                    <a:lnTo>
                      <a:pt x="2407" y="219"/>
                    </a:lnTo>
                    <a:lnTo>
                      <a:pt x="2410" y="210"/>
                    </a:lnTo>
                    <a:lnTo>
                      <a:pt x="2418" y="193"/>
                    </a:lnTo>
                    <a:lnTo>
                      <a:pt x="2425" y="177"/>
                    </a:lnTo>
                    <a:lnTo>
                      <a:pt x="2428" y="169"/>
                    </a:lnTo>
                    <a:lnTo>
                      <a:pt x="2433" y="164"/>
                    </a:lnTo>
                    <a:lnTo>
                      <a:pt x="2437" y="159"/>
                    </a:lnTo>
                    <a:lnTo>
                      <a:pt x="2441" y="157"/>
                    </a:lnTo>
                    <a:lnTo>
                      <a:pt x="2446" y="156"/>
                    </a:lnTo>
                    <a:lnTo>
                      <a:pt x="2449" y="157"/>
                    </a:lnTo>
                    <a:lnTo>
                      <a:pt x="2453" y="156"/>
                    </a:lnTo>
                    <a:lnTo>
                      <a:pt x="2462" y="156"/>
                    </a:lnTo>
                    <a:lnTo>
                      <a:pt x="2473" y="156"/>
                    </a:lnTo>
                    <a:lnTo>
                      <a:pt x="2486" y="157"/>
                    </a:lnTo>
                    <a:lnTo>
                      <a:pt x="2511" y="160"/>
                    </a:lnTo>
                    <a:lnTo>
                      <a:pt x="2526" y="164"/>
                    </a:lnTo>
                    <a:lnTo>
                      <a:pt x="2535" y="165"/>
                    </a:lnTo>
                    <a:lnTo>
                      <a:pt x="2542" y="168"/>
                    </a:lnTo>
                    <a:lnTo>
                      <a:pt x="2550" y="171"/>
                    </a:lnTo>
                    <a:lnTo>
                      <a:pt x="2557" y="175"/>
                    </a:lnTo>
                    <a:lnTo>
                      <a:pt x="2570" y="183"/>
                    </a:lnTo>
                    <a:lnTo>
                      <a:pt x="2582" y="194"/>
                    </a:lnTo>
                    <a:lnTo>
                      <a:pt x="2594" y="205"/>
                    </a:lnTo>
                    <a:lnTo>
                      <a:pt x="2604" y="218"/>
                    </a:lnTo>
                    <a:lnTo>
                      <a:pt x="2614" y="231"/>
                    </a:lnTo>
                    <a:lnTo>
                      <a:pt x="2623" y="244"/>
                    </a:lnTo>
                    <a:lnTo>
                      <a:pt x="2628" y="251"/>
                    </a:lnTo>
                    <a:lnTo>
                      <a:pt x="2632" y="260"/>
                    </a:lnTo>
                    <a:lnTo>
                      <a:pt x="2635" y="267"/>
                    </a:lnTo>
                    <a:lnTo>
                      <a:pt x="2639" y="276"/>
                    </a:lnTo>
                    <a:lnTo>
                      <a:pt x="2644" y="292"/>
                    </a:lnTo>
                    <a:lnTo>
                      <a:pt x="2647" y="310"/>
                    </a:lnTo>
                    <a:lnTo>
                      <a:pt x="2651" y="327"/>
                    </a:lnTo>
                    <a:lnTo>
                      <a:pt x="2654" y="344"/>
                    </a:lnTo>
                    <a:lnTo>
                      <a:pt x="2657" y="361"/>
                    </a:lnTo>
                    <a:lnTo>
                      <a:pt x="2661" y="378"/>
                    </a:lnTo>
                    <a:lnTo>
                      <a:pt x="2668" y="392"/>
                    </a:lnTo>
                    <a:lnTo>
                      <a:pt x="2674" y="406"/>
                    </a:lnTo>
                    <a:lnTo>
                      <a:pt x="2683" y="419"/>
                    </a:lnTo>
                    <a:lnTo>
                      <a:pt x="2692" y="432"/>
                    </a:lnTo>
                    <a:lnTo>
                      <a:pt x="2700" y="443"/>
                    </a:lnTo>
                    <a:lnTo>
                      <a:pt x="2708" y="456"/>
                    </a:lnTo>
                    <a:lnTo>
                      <a:pt x="2714" y="470"/>
                    </a:lnTo>
                    <a:lnTo>
                      <a:pt x="2719" y="484"/>
                    </a:lnTo>
                    <a:lnTo>
                      <a:pt x="2722" y="501"/>
                    </a:lnTo>
                    <a:lnTo>
                      <a:pt x="2723" y="514"/>
                    </a:lnTo>
                    <a:lnTo>
                      <a:pt x="2724" y="519"/>
                    </a:lnTo>
                    <a:lnTo>
                      <a:pt x="2723" y="524"/>
                    </a:lnTo>
                    <a:lnTo>
                      <a:pt x="2722" y="529"/>
                    </a:lnTo>
                    <a:lnTo>
                      <a:pt x="2721" y="532"/>
                    </a:lnTo>
                    <a:lnTo>
                      <a:pt x="2719" y="536"/>
                    </a:lnTo>
                    <a:lnTo>
                      <a:pt x="2716" y="540"/>
                    </a:lnTo>
                    <a:lnTo>
                      <a:pt x="2712" y="543"/>
                    </a:lnTo>
                    <a:lnTo>
                      <a:pt x="2708" y="546"/>
                    </a:lnTo>
                    <a:lnTo>
                      <a:pt x="2697" y="551"/>
                    </a:lnTo>
                    <a:lnTo>
                      <a:pt x="2682" y="558"/>
                    </a:lnTo>
                    <a:lnTo>
                      <a:pt x="2678" y="560"/>
                    </a:lnTo>
                    <a:lnTo>
                      <a:pt x="2674" y="562"/>
                    </a:lnTo>
                    <a:lnTo>
                      <a:pt x="2672" y="565"/>
                    </a:lnTo>
                    <a:lnTo>
                      <a:pt x="2670" y="570"/>
                    </a:lnTo>
                    <a:lnTo>
                      <a:pt x="2670" y="577"/>
                    </a:lnTo>
                    <a:lnTo>
                      <a:pt x="2672" y="586"/>
                    </a:lnTo>
                    <a:lnTo>
                      <a:pt x="2674" y="595"/>
                    </a:lnTo>
                    <a:lnTo>
                      <a:pt x="2677" y="604"/>
                    </a:lnTo>
                    <a:lnTo>
                      <a:pt x="2678" y="609"/>
                    </a:lnTo>
                    <a:lnTo>
                      <a:pt x="2678" y="613"/>
                    </a:lnTo>
                    <a:lnTo>
                      <a:pt x="2677" y="616"/>
                    </a:lnTo>
                    <a:lnTo>
                      <a:pt x="2674" y="621"/>
                    </a:lnTo>
                    <a:lnTo>
                      <a:pt x="2670" y="626"/>
                    </a:lnTo>
                    <a:lnTo>
                      <a:pt x="2665" y="630"/>
                    </a:lnTo>
                    <a:lnTo>
                      <a:pt x="2658" y="634"/>
                    </a:lnTo>
                    <a:lnTo>
                      <a:pt x="2652" y="637"/>
                    </a:lnTo>
                    <a:lnTo>
                      <a:pt x="2636" y="640"/>
                    </a:lnTo>
                    <a:lnTo>
                      <a:pt x="2619" y="643"/>
                    </a:lnTo>
                    <a:lnTo>
                      <a:pt x="2604" y="646"/>
                    </a:lnTo>
                    <a:lnTo>
                      <a:pt x="2589" y="652"/>
                    </a:lnTo>
                    <a:lnTo>
                      <a:pt x="2583" y="655"/>
                    </a:lnTo>
                    <a:lnTo>
                      <a:pt x="2578" y="659"/>
                    </a:lnTo>
                    <a:lnTo>
                      <a:pt x="2574" y="665"/>
                    </a:lnTo>
                    <a:lnTo>
                      <a:pt x="2571" y="671"/>
                    </a:lnTo>
                    <a:lnTo>
                      <a:pt x="2569" y="680"/>
                    </a:lnTo>
                    <a:lnTo>
                      <a:pt x="2568" y="688"/>
                    </a:lnTo>
                    <a:lnTo>
                      <a:pt x="2569" y="694"/>
                    </a:lnTo>
                    <a:lnTo>
                      <a:pt x="2570" y="700"/>
                    </a:lnTo>
                    <a:lnTo>
                      <a:pt x="2571" y="707"/>
                    </a:lnTo>
                    <a:lnTo>
                      <a:pt x="2575" y="713"/>
                    </a:lnTo>
                    <a:lnTo>
                      <a:pt x="2578" y="719"/>
                    </a:lnTo>
                    <a:lnTo>
                      <a:pt x="2581" y="724"/>
                    </a:lnTo>
                    <a:lnTo>
                      <a:pt x="2600" y="744"/>
                    </a:lnTo>
                    <a:lnTo>
                      <a:pt x="2619" y="763"/>
                    </a:lnTo>
                    <a:lnTo>
                      <a:pt x="2618" y="779"/>
                    </a:lnTo>
                    <a:lnTo>
                      <a:pt x="2616" y="800"/>
                    </a:lnTo>
                    <a:lnTo>
                      <a:pt x="2615" y="810"/>
                    </a:lnTo>
                    <a:lnTo>
                      <a:pt x="2616" y="818"/>
                    </a:lnTo>
                    <a:lnTo>
                      <a:pt x="2616" y="821"/>
                    </a:lnTo>
                    <a:lnTo>
                      <a:pt x="2617" y="825"/>
                    </a:lnTo>
                    <a:lnTo>
                      <a:pt x="2619" y="826"/>
                    </a:lnTo>
                    <a:lnTo>
                      <a:pt x="2621" y="827"/>
                    </a:lnTo>
                    <a:lnTo>
                      <a:pt x="2636" y="826"/>
                    </a:lnTo>
                    <a:lnTo>
                      <a:pt x="2658" y="823"/>
                    </a:lnTo>
                    <a:lnTo>
                      <a:pt x="2668" y="821"/>
                    </a:lnTo>
                    <a:lnTo>
                      <a:pt x="2677" y="821"/>
                    </a:lnTo>
                    <a:lnTo>
                      <a:pt x="2680" y="823"/>
                    </a:lnTo>
                    <a:lnTo>
                      <a:pt x="2682" y="824"/>
                    </a:lnTo>
                    <a:lnTo>
                      <a:pt x="2683" y="825"/>
                    </a:lnTo>
                    <a:lnTo>
                      <a:pt x="2683" y="827"/>
                    </a:lnTo>
                    <a:lnTo>
                      <a:pt x="2671" y="858"/>
                    </a:lnTo>
                    <a:lnTo>
                      <a:pt x="2657" y="893"/>
                    </a:lnTo>
                    <a:lnTo>
                      <a:pt x="2653" y="910"/>
                    </a:lnTo>
                    <a:lnTo>
                      <a:pt x="2649" y="928"/>
                    </a:lnTo>
                    <a:lnTo>
                      <a:pt x="2648" y="936"/>
                    </a:lnTo>
                    <a:lnTo>
                      <a:pt x="2649" y="945"/>
                    </a:lnTo>
                    <a:lnTo>
                      <a:pt x="2651" y="952"/>
                    </a:lnTo>
                    <a:lnTo>
                      <a:pt x="2653" y="960"/>
                    </a:lnTo>
                    <a:lnTo>
                      <a:pt x="2659" y="982"/>
                    </a:lnTo>
                    <a:lnTo>
                      <a:pt x="2667" y="1004"/>
                    </a:lnTo>
                    <a:lnTo>
                      <a:pt x="2669" y="1008"/>
                    </a:lnTo>
                    <a:lnTo>
                      <a:pt x="2672" y="1013"/>
                    </a:lnTo>
                    <a:lnTo>
                      <a:pt x="2675" y="1016"/>
                    </a:lnTo>
                    <a:lnTo>
                      <a:pt x="2680" y="1018"/>
                    </a:lnTo>
                    <a:lnTo>
                      <a:pt x="2684" y="1019"/>
                    </a:lnTo>
                    <a:lnTo>
                      <a:pt x="2688" y="1019"/>
                    </a:lnTo>
                    <a:lnTo>
                      <a:pt x="2695" y="1018"/>
                    </a:lnTo>
                    <a:lnTo>
                      <a:pt x="2701" y="1016"/>
                    </a:lnTo>
                    <a:lnTo>
                      <a:pt x="2710" y="1013"/>
                    </a:lnTo>
                    <a:lnTo>
                      <a:pt x="2718" y="1013"/>
                    </a:lnTo>
                    <a:lnTo>
                      <a:pt x="2721" y="1013"/>
                    </a:lnTo>
                    <a:lnTo>
                      <a:pt x="2723" y="1014"/>
                    </a:lnTo>
                    <a:lnTo>
                      <a:pt x="2725" y="1015"/>
                    </a:lnTo>
                    <a:lnTo>
                      <a:pt x="2727" y="1017"/>
                    </a:lnTo>
                    <a:lnTo>
                      <a:pt x="2730" y="1021"/>
                    </a:lnTo>
                    <a:lnTo>
                      <a:pt x="2732" y="1027"/>
                    </a:lnTo>
                    <a:lnTo>
                      <a:pt x="2733" y="1034"/>
                    </a:lnTo>
                    <a:lnTo>
                      <a:pt x="2734" y="1042"/>
                    </a:lnTo>
                    <a:lnTo>
                      <a:pt x="2735" y="1059"/>
                    </a:lnTo>
                    <a:lnTo>
                      <a:pt x="2738" y="1076"/>
                    </a:lnTo>
                    <a:lnTo>
                      <a:pt x="2743" y="1085"/>
                    </a:lnTo>
                    <a:lnTo>
                      <a:pt x="2747" y="1093"/>
                    </a:lnTo>
                    <a:lnTo>
                      <a:pt x="2752" y="1099"/>
                    </a:lnTo>
                    <a:lnTo>
                      <a:pt x="2761" y="1105"/>
                    </a:lnTo>
                    <a:lnTo>
                      <a:pt x="2776" y="1112"/>
                    </a:lnTo>
                    <a:lnTo>
                      <a:pt x="2793" y="1116"/>
                    </a:lnTo>
                    <a:lnTo>
                      <a:pt x="2809" y="1121"/>
                    </a:lnTo>
                    <a:lnTo>
                      <a:pt x="2824" y="1126"/>
                    </a:lnTo>
                    <a:lnTo>
                      <a:pt x="2832" y="1128"/>
                    </a:lnTo>
                    <a:lnTo>
                      <a:pt x="2838" y="1132"/>
                    </a:lnTo>
                    <a:lnTo>
                      <a:pt x="2843" y="1136"/>
                    </a:lnTo>
                    <a:lnTo>
                      <a:pt x="2848" y="1141"/>
                    </a:lnTo>
                    <a:lnTo>
                      <a:pt x="2852" y="1148"/>
                    </a:lnTo>
                    <a:lnTo>
                      <a:pt x="2855" y="1154"/>
                    </a:lnTo>
                    <a:lnTo>
                      <a:pt x="2858" y="1163"/>
                    </a:lnTo>
                    <a:lnTo>
                      <a:pt x="2858" y="1172"/>
                    </a:lnTo>
                    <a:lnTo>
                      <a:pt x="2860" y="1185"/>
                    </a:lnTo>
                    <a:lnTo>
                      <a:pt x="2862" y="1197"/>
                    </a:lnTo>
                    <a:lnTo>
                      <a:pt x="2865" y="1210"/>
                    </a:lnTo>
                    <a:lnTo>
                      <a:pt x="2869" y="1222"/>
                    </a:lnTo>
                    <a:lnTo>
                      <a:pt x="2874" y="1234"/>
                    </a:lnTo>
                    <a:lnTo>
                      <a:pt x="2879" y="1246"/>
                    </a:lnTo>
                    <a:lnTo>
                      <a:pt x="2886" y="1258"/>
                    </a:lnTo>
                    <a:lnTo>
                      <a:pt x="2892" y="1269"/>
                    </a:lnTo>
                    <a:lnTo>
                      <a:pt x="2907" y="1292"/>
                    </a:lnTo>
                    <a:lnTo>
                      <a:pt x="2924" y="1315"/>
                    </a:lnTo>
                    <a:lnTo>
                      <a:pt x="2942" y="1337"/>
                    </a:lnTo>
                    <a:lnTo>
                      <a:pt x="2960" y="1359"/>
                    </a:lnTo>
                    <a:lnTo>
                      <a:pt x="3001" y="1402"/>
                    </a:lnTo>
                    <a:lnTo>
                      <a:pt x="3040" y="1445"/>
                    </a:lnTo>
                    <a:lnTo>
                      <a:pt x="3058" y="1465"/>
                    </a:lnTo>
                    <a:lnTo>
                      <a:pt x="3075" y="1486"/>
                    </a:lnTo>
                    <a:lnTo>
                      <a:pt x="3092" y="1506"/>
                    </a:lnTo>
                    <a:lnTo>
                      <a:pt x="3106" y="1527"/>
                    </a:lnTo>
                    <a:lnTo>
                      <a:pt x="3106" y="1527"/>
                    </a:lnTo>
                    <a:lnTo>
                      <a:pt x="3106" y="2519"/>
                    </a:lnTo>
                    <a:lnTo>
                      <a:pt x="3106" y="2519"/>
                    </a:lnTo>
                    <a:lnTo>
                      <a:pt x="3106" y="3070"/>
                    </a:lnTo>
                    <a:lnTo>
                      <a:pt x="3106" y="3070"/>
                    </a:lnTo>
                    <a:lnTo>
                      <a:pt x="2962" y="3065"/>
                    </a:lnTo>
                    <a:lnTo>
                      <a:pt x="2812" y="3000"/>
                    </a:lnTo>
                    <a:lnTo>
                      <a:pt x="2509" y="2526"/>
                    </a:lnTo>
                    <a:lnTo>
                      <a:pt x="2504" y="2518"/>
                    </a:lnTo>
                    <a:lnTo>
                      <a:pt x="2499" y="2511"/>
                    </a:lnTo>
                    <a:lnTo>
                      <a:pt x="2493" y="2505"/>
                    </a:lnTo>
                    <a:lnTo>
                      <a:pt x="2488" y="2500"/>
                    </a:lnTo>
                    <a:lnTo>
                      <a:pt x="2481" y="2495"/>
                    </a:lnTo>
                    <a:lnTo>
                      <a:pt x="2475" y="2493"/>
                    </a:lnTo>
                    <a:lnTo>
                      <a:pt x="2468" y="2491"/>
                    </a:lnTo>
                    <a:lnTo>
                      <a:pt x="2462" y="2490"/>
                    </a:lnTo>
                    <a:lnTo>
                      <a:pt x="2454" y="2489"/>
                    </a:lnTo>
                    <a:lnTo>
                      <a:pt x="2447" y="2489"/>
                    </a:lnTo>
                    <a:lnTo>
                      <a:pt x="2439" y="2490"/>
                    </a:lnTo>
                    <a:lnTo>
                      <a:pt x="2432" y="2491"/>
                    </a:lnTo>
                    <a:lnTo>
                      <a:pt x="2416" y="2495"/>
                    </a:lnTo>
                    <a:lnTo>
                      <a:pt x="2400" y="2502"/>
                    </a:lnTo>
                    <a:lnTo>
                      <a:pt x="2369" y="2516"/>
                    </a:lnTo>
                    <a:lnTo>
                      <a:pt x="2340" y="2530"/>
                    </a:lnTo>
                    <a:lnTo>
                      <a:pt x="2325" y="2536"/>
                    </a:lnTo>
                    <a:lnTo>
                      <a:pt x="2314" y="2541"/>
                    </a:lnTo>
                    <a:lnTo>
                      <a:pt x="2307" y="2543"/>
                    </a:lnTo>
                    <a:lnTo>
                      <a:pt x="2302" y="2544"/>
                    </a:lnTo>
                    <a:lnTo>
                      <a:pt x="2297" y="2544"/>
                    </a:lnTo>
                    <a:lnTo>
                      <a:pt x="2293" y="2544"/>
                    </a:lnTo>
                    <a:lnTo>
                      <a:pt x="2256" y="2540"/>
                    </a:lnTo>
                    <a:lnTo>
                      <a:pt x="2217" y="2535"/>
                    </a:lnTo>
                    <a:lnTo>
                      <a:pt x="2198" y="2532"/>
                    </a:lnTo>
                    <a:lnTo>
                      <a:pt x="2178" y="2529"/>
                    </a:lnTo>
                    <a:lnTo>
                      <a:pt x="2159" y="2526"/>
                    </a:lnTo>
                    <a:lnTo>
                      <a:pt x="2140" y="2520"/>
                    </a:lnTo>
                    <a:lnTo>
                      <a:pt x="2121" y="2515"/>
                    </a:lnTo>
                    <a:lnTo>
                      <a:pt x="2102" y="2509"/>
                    </a:lnTo>
                    <a:lnTo>
                      <a:pt x="2085" y="2502"/>
                    </a:lnTo>
                    <a:lnTo>
                      <a:pt x="2068" y="2493"/>
                    </a:lnTo>
                    <a:lnTo>
                      <a:pt x="2051" y="2484"/>
                    </a:lnTo>
                    <a:lnTo>
                      <a:pt x="2036" y="2473"/>
                    </a:lnTo>
                    <a:lnTo>
                      <a:pt x="2022" y="2460"/>
                    </a:lnTo>
                    <a:lnTo>
                      <a:pt x="2010" y="2445"/>
                    </a:lnTo>
                    <a:lnTo>
                      <a:pt x="1994" y="2423"/>
                    </a:lnTo>
                    <a:lnTo>
                      <a:pt x="1979" y="2399"/>
                    </a:lnTo>
                    <a:lnTo>
                      <a:pt x="1965" y="2372"/>
                    </a:lnTo>
                    <a:lnTo>
                      <a:pt x="1949" y="2346"/>
                    </a:lnTo>
                    <a:lnTo>
                      <a:pt x="1934" y="2319"/>
                    </a:lnTo>
                    <a:lnTo>
                      <a:pt x="1918" y="2296"/>
                    </a:lnTo>
                    <a:lnTo>
                      <a:pt x="1910" y="2284"/>
                    </a:lnTo>
                    <a:lnTo>
                      <a:pt x="1902" y="2274"/>
                    </a:lnTo>
                    <a:lnTo>
                      <a:pt x="1894" y="2264"/>
                    </a:lnTo>
                    <a:lnTo>
                      <a:pt x="1884" y="2256"/>
                    </a:lnTo>
                    <a:lnTo>
                      <a:pt x="1879" y="2251"/>
                    </a:lnTo>
                    <a:lnTo>
                      <a:pt x="1875" y="2248"/>
                    </a:lnTo>
                    <a:lnTo>
                      <a:pt x="1869" y="2246"/>
                    </a:lnTo>
                    <a:lnTo>
                      <a:pt x="1866" y="2244"/>
                    </a:lnTo>
                    <a:lnTo>
                      <a:pt x="1862" y="2243"/>
                    </a:lnTo>
                    <a:lnTo>
                      <a:pt x="1858" y="2243"/>
                    </a:lnTo>
                    <a:lnTo>
                      <a:pt x="1855" y="2244"/>
                    </a:lnTo>
                    <a:lnTo>
                      <a:pt x="1852" y="2244"/>
                    </a:lnTo>
                    <a:lnTo>
                      <a:pt x="1845" y="2247"/>
                    </a:lnTo>
                    <a:lnTo>
                      <a:pt x="1839" y="2250"/>
                    </a:lnTo>
                    <a:lnTo>
                      <a:pt x="1830" y="2254"/>
                    </a:lnTo>
                    <a:lnTo>
                      <a:pt x="1819" y="2256"/>
                    </a:lnTo>
                    <a:lnTo>
                      <a:pt x="1805" y="2261"/>
                    </a:lnTo>
                    <a:lnTo>
                      <a:pt x="1793" y="2265"/>
                    </a:lnTo>
                    <a:lnTo>
                      <a:pt x="1781" y="2270"/>
                    </a:lnTo>
                    <a:lnTo>
                      <a:pt x="1769" y="2272"/>
                    </a:lnTo>
                    <a:lnTo>
                      <a:pt x="1759" y="2274"/>
                    </a:lnTo>
                    <a:lnTo>
                      <a:pt x="1748" y="2275"/>
                    </a:lnTo>
                    <a:lnTo>
                      <a:pt x="1738" y="2276"/>
                    </a:lnTo>
                    <a:lnTo>
                      <a:pt x="1728" y="2276"/>
                    </a:lnTo>
                    <a:lnTo>
                      <a:pt x="1719" y="2276"/>
                    </a:lnTo>
                    <a:lnTo>
                      <a:pt x="1710" y="2274"/>
                    </a:lnTo>
                    <a:lnTo>
                      <a:pt x="1701" y="2273"/>
                    </a:lnTo>
                    <a:lnTo>
                      <a:pt x="1693" y="2270"/>
                    </a:lnTo>
                    <a:lnTo>
                      <a:pt x="1685" y="2266"/>
                    </a:lnTo>
                    <a:lnTo>
                      <a:pt x="1676" y="2263"/>
                    </a:lnTo>
                    <a:lnTo>
                      <a:pt x="1669" y="2259"/>
                    </a:lnTo>
                    <a:lnTo>
                      <a:pt x="1662" y="2255"/>
                    </a:lnTo>
                    <a:lnTo>
                      <a:pt x="1648" y="2244"/>
                    </a:lnTo>
                    <a:lnTo>
                      <a:pt x="1634" y="2231"/>
                    </a:lnTo>
                    <a:lnTo>
                      <a:pt x="1620" y="2217"/>
                    </a:lnTo>
                    <a:lnTo>
                      <a:pt x="1607" y="2201"/>
                    </a:lnTo>
                    <a:lnTo>
                      <a:pt x="1580" y="2166"/>
                    </a:lnTo>
                    <a:lnTo>
                      <a:pt x="1552" y="2126"/>
                    </a:lnTo>
                    <a:lnTo>
                      <a:pt x="1543" y="2115"/>
                    </a:lnTo>
                    <a:lnTo>
                      <a:pt x="1534" y="2106"/>
                    </a:lnTo>
                    <a:lnTo>
                      <a:pt x="1525" y="2098"/>
                    </a:lnTo>
                    <a:lnTo>
                      <a:pt x="1515" y="2090"/>
                    </a:lnTo>
                    <a:lnTo>
                      <a:pt x="1505" y="2084"/>
                    </a:lnTo>
                    <a:lnTo>
                      <a:pt x="1495" y="2080"/>
                    </a:lnTo>
                    <a:lnTo>
                      <a:pt x="1486" y="2075"/>
                    </a:lnTo>
                    <a:lnTo>
                      <a:pt x="1475" y="2072"/>
                    </a:lnTo>
                    <a:lnTo>
                      <a:pt x="1465" y="2070"/>
                    </a:lnTo>
                    <a:lnTo>
                      <a:pt x="1454" y="2069"/>
                    </a:lnTo>
                    <a:lnTo>
                      <a:pt x="1443" y="2068"/>
                    </a:lnTo>
                    <a:lnTo>
                      <a:pt x="1432" y="2068"/>
                    </a:lnTo>
                    <a:lnTo>
                      <a:pt x="1411" y="2070"/>
                    </a:lnTo>
                    <a:lnTo>
                      <a:pt x="1388" y="2073"/>
                    </a:lnTo>
                    <a:lnTo>
                      <a:pt x="1344" y="2083"/>
                    </a:lnTo>
                    <a:lnTo>
                      <a:pt x="1298" y="2093"/>
                    </a:lnTo>
                    <a:lnTo>
                      <a:pt x="1276" y="2097"/>
                    </a:lnTo>
                    <a:lnTo>
                      <a:pt x="1255" y="2099"/>
                    </a:lnTo>
                    <a:lnTo>
                      <a:pt x="1244" y="2099"/>
                    </a:lnTo>
                    <a:lnTo>
                      <a:pt x="1233" y="2099"/>
                    </a:lnTo>
                    <a:lnTo>
                      <a:pt x="1223" y="2098"/>
                    </a:lnTo>
                    <a:lnTo>
                      <a:pt x="1214" y="2096"/>
                    </a:lnTo>
                    <a:lnTo>
                      <a:pt x="1202" y="2093"/>
                    </a:lnTo>
                    <a:lnTo>
                      <a:pt x="1192" y="2088"/>
                    </a:lnTo>
                    <a:lnTo>
                      <a:pt x="1182" y="2082"/>
                    </a:lnTo>
                    <a:lnTo>
                      <a:pt x="1172" y="2075"/>
                    </a:lnTo>
                    <a:lnTo>
                      <a:pt x="1163" y="2070"/>
                    </a:lnTo>
                    <a:lnTo>
                      <a:pt x="1153" y="2065"/>
                    </a:lnTo>
                    <a:lnTo>
                      <a:pt x="1147" y="2062"/>
                    </a:lnTo>
                    <a:lnTo>
                      <a:pt x="1142" y="2061"/>
                    </a:lnTo>
                    <a:lnTo>
                      <a:pt x="1136" y="2060"/>
                    </a:lnTo>
                    <a:lnTo>
                      <a:pt x="1129" y="2060"/>
                    </a:lnTo>
                    <a:lnTo>
                      <a:pt x="868" y="2057"/>
                    </a:lnTo>
                    <a:lnTo>
                      <a:pt x="842" y="2057"/>
                    </a:lnTo>
                    <a:lnTo>
                      <a:pt x="814" y="2056"/>
                    </a:lnTo>
                    <a:lnTo>
                      <a:pt x="784" y="2055"/>
                    </a:lnTo>
                    <a:lnTo>
                      <a:pt x="755" y="2054"/>
                    </a:lnTo>
                    <a:lnTo>
                      <a:pt x="726" y="2055"/>
                    </a:lnTo>
                    <a:lnTo>
                      <a:pt x="697" y="2056"/>
                    </a:lnTo>
                    <a:lnTo>
                      <a:pt x="683" y="2057"/>
                    </a:lnTo>
                    <a:lnTo>
                      <a:pt x="670" y="2059"/>
                    </a:lnTo>
                    <a:lnTo>
                      <a:pt x="655" y="2061"/>
                    </a:lnTo>
                    <a:lnTo>
                      <a:pt x="644" y="2065"/>
                    </a:lnTo>
                    <a:lnTo>
                      <a:pt x="637" y="2066"/>
                    </a:lnTo>
                    <a:lnTo>
                      <a:pt x="632" y="2069"/>
                    </a:lnTo>
                    <a:lnTo>
                      <a:pt x="626" y="2071"/>
                    </a:lnTo>
                    <a:lnTo>
                      <a:pt x="621" y="2075"/>
                    </a:lnTo>
                    <a:lnTo>
                      <a:pt x="610" y="2083"/>
                    </a:lnTo>
                    <a:lnTo>
                      <a:pt x="600" y="2092"/>
                    </a:lnTo>
                    <a:lnTo>
                      <a:pt x="589" y="2099"/>
                    </a:lnTo>
                    <a:lnTo>
                      <a:pt x="580" y="2104"/>
                    </a:lnTo>
                    <a:lnTo>
                      <a:pt x="574" y="2107"/>
                    </a:lnTo>
                    <a:lnTo>
                      <a:pt x="569" y="2108"/>
                    </a:lnTo>
                    <a:lnTo>
                      <a:pt x="564" y="2109"/>
                    </a:lnTo>
                    <a:lnTo>
                      <a:pt x="559" y="2108"/>
                    </a:lnTo>
                    <a:lnTo>
                      <a:pt x="554" y="2107"/>
                    </a:lnTo>
                    <a:lnTo>
                      <a:pt x="548" y="2104"/>
                    </a:lnTo>
                    <a:lnTo>
                      <a:pt x="542" y="2101"/>
                    </a:lnTo>
                    <a:lnTo>
                      <a:pt x="535" y="2097"/>
                    </a:lnTo>
                    <a:lnTo>
                      <a:pt x="521" y="2087"/>
                    </a:lnTo>
                    <a:lnTo>
                      <a:pt x="506" y="2076"/>
                    </a:lnTo>
                    <a:lnTo>
                      <a:pt x="478" y="2053"/>
                    </a:lnTo>
                    <a:lnTo>
                      <a:pt x="456" y="2034"/>
                    </a:lnTo>
                    <a:lnTo>
                      <a:pt x="451" y="2033"/>
                    </a:lnTo>
                    <a:lnTo>
                      <a:pt x="434" y="2027"/>
                    </a:lnTo>
                    <a:lnTo>
                      <a:pt x="419" y="2021"/>
                    </a:lnTo>
                    <a:lnTo>
                      <a:pt x="403" y="2019"/>
                    </a:lnTo>
                    <a:lnTo>
                      <a:pt x="386" y="2017"/>
                    </a:lnTo>
                    <a:lnTo>
                      <a:pt x="353" y="2017"/>
                    </a:lnTo>
                    <a:lnTo>
                      <a:pt x="321" y="2019"/>
                    </a:lnTo>
                    <a:lnTo>
                      <a:pt x="304" y="2020"/>
                    </a:lnTo>
                    <a:lnTo>
                      <a:pt x="288" y="2021"/>
                    </a:lnTo>
                    <a:lnTo>
                      <a:pt x="273" y="2021"/>
                    </a:lnTo>
                    <a:lnTo>
                      <a:pt x="258" y="2019"/>
                    </a:lnTo>
                    <a:lnTo>
                      <a:pt x="243" y="2017"/>
                    </a:lnTo>
                    <a:lnTo>
                      <a:pt x="227" y="2013"/>
                    </a:lnTo>
                    <a:lnTo>
                      <a:pt x="221" y="2009"/>
                    </a:lnTo>
                    <a:lnTo>
                      <a:pt x="213" y="2006"/>
                    </a:lnTo>
                    <a:lnTo>
                      <a:pt x="207" y="2002"/>
                    </a:lnTo>
                    <a:lnTo>
                      <a:pt x="199" y="1998"/>
                    </a:lnTo>
                    <a:lnTo>
                      <a:pt x="192" y="1990"/>
                    </a:lnTo>
                    <a:lnTo>
                      <a:pt x="184" y="1980"/>
                    </a:lnTo>
                    <a:lnTo>
                      <a:pt x="176" y="1968"/>
                    </a:lnTo>
                    <a:lnTo>
                      <a:pt x="169" y="1954"/>
                    </a:lnTo>
                    <a:lnTo>
                      <a:pt x="162" y="1940"/>
                    </a:lnTo>
                    <a:lnTo>
                      <a:pt x="155" y="1924"/>
                    </a:lnTo>
                    <a:lnTo>
                      <a:pt x="148" y="1907"/>
                    </a:lnTo>
                    <a:lnTo>
                      <a:pt x="143" y="1890"/>
                    </a:lnTo>
                    <a:lnTo>
                      <a:pt x="131" y="1854"/>
                    </a:lnTo>
                    <a:lnTo>
                      <a:pt x="120" y="1820"/>
                    </a:lnTo>
                    <a:lnTo>
                      <a:pt x="111" y="1790"/>
                    </a:lnTo>
                    <a:lnTo>
                      <a:pt x="103" y="1765"/>
                    </a:lnTo>
                    <a:lnTo>
                      <a:pt x="98" y="1757"/>
                    </a:lnTo>
                    <a:lnTo>
                      <a:pt x="94" y="1748"/>
                    </a:lnTo>
                    <a:lnTo>
                      <a:pt x="89" y="1741"/>
                    </a:lnTo>
                    <a:lnTo>
                      <a:pt x="83" y="1733"/>
                    </a:lnTo>
                    <a:lnTo>
                      <a:pt x="70" y="1718"/>
                    </a:lnTo>
                    <a:lnTo>
                      <a:pt x="57" y="1704"/>
                    </a:lnTo>
                    <a:lnTo>
                      <a:pt x="44" y="1690"/>
                    </a:lnTo>
                    <a:lnTo>
                      <a:pt x="32" y="1676"/>
                    </a:lnTo>
                    <a:lnTo>
                      <a:pt x="27" y="1668"/>
                    </a:lnTo>
                    <a:lnTo>
                      <a:pt x="23" y="1661"/>
                    </a:lnTo>
                    <a:lnTo>
                      <a:pt x="18" y="1652"/>
                    </a:lnTo>
                    <a:lnTo>
                      <a:pt x="16" y="1643"/>
                    </a:lnTo>
                    <a:lnTo>
                      <a:pt x="0" y="1554"/>
                    </a:lnTo>
                    <a:lnTo>
                      <a:pt x="0" y="1554"/>
                    </a:lnTo>
                    <a:lnTo>
                      <a:pt x="4" y="1553"/>
                    </a:lnTo>
                    <a:lnTo>
                      <a:pt x="10" y="1550"/>
                    </a:lnTo>
                    <a:lnTo>
                      <a:pt x="37" y="1545"/>
                    </a:lnTo>
                    <a:lnTo>
                      <a:pt x="70" y="1536"/>
                    </a:lnTo>
                    <a:lnTo>
                      <a:pt x="88" y="1532"/>
                    </a:lnTo>
                    <a:lnTo>
                      <a:pt x="102" y="1526"/>
                    </a:lnTo>
                    <a:lnTo>
                      <a:pt x="108" y="1522"/>
                    </a:lnTo>
                    <a:lnTo>
                      <a:pt x="115" y="1518"/>
                    </a:lnTo>
                    <a:lnTo>
                      <a:pt x="119" y="1514"/>
                    </a:lnTo>
                    <a:lnTo>
                      <a:pt x="122" y="1509"/>
                    </a:lnTo>
                    <a:lnTo>
                      <a:pt x="139" y="1500"/>
                    </a:lnTo>
                    <a:lnTo>
                      <a:pt x="157" y="1490"/>
                    </a:lnTo>
                    <a:lnTo>
                      <a:pt x="175" y="1481"/>
                    </a:lnTo>
                    <a:lnTo>
                      <a:pt x="196" y="1474"/>
                    </a:lnTo>
                    <a:lnTo>
                      <a:pt x="236" y="1460"/>
                    </a:lnTo>
                    <a:lnTo>
                      <a:pt x="278" y="1445"/>
                    </a:lnTo>
                    <a:lnTo>
                      <a:pt x="299" y="1438"/>
                    </a:lnTo>
                    <a:lnTo>
                      <a:pt x="319" y="1429"/>
                    </a:lnTo>
                    <a:lnTo>
                      <a:pt x="339" y="1422"/>
                    </a:lnTo>
                    <a:lnTo>
                      <a:pt x="359" y="1412"/>
                    </a:lnTo>
                    <a:lnTo>
                      <a:pt x="377" y="1402"/>
                    </a:lnTo>
                    <a:lnTo>
                      <a:pt x="394" y="1391"/>
                    </a:lnTo>
                    <a:lnTo>
                      <a:pt x="411" y="1379"/>
                    </a:lnTo>
                    <a:lnTo>
                      <a:pt x="426" y="1365"/>
                    </a:lnTo>
                    <a:lnTo>
                      <a:pt x="442" y="1346"/>
                    </a:lnTo>
                    <a:lnTo>
                      <a:pt x="458" y="1327"/>
                    </a:lnTo>
                    <a:lnTo>
                      <a:pt x="474" y="1307"/>
                    </a:lnTo>
                    <a:lnTo>
                      <a:pt x="490" y="1287"/>
                    </a:lnTo>
                    <a:lnTo>
                      <a:pt x="521" y="1244"/>
                    </a:lnTo>
                    <a:lnTo>
                      <a:pt x="552" y="1202"/>
                    </a:lnTo>
                    <a:lnTo>
                      <a:pt x="569" y="1180"/>
                    </a:lnTo>
                    <a:lnTo>
                      <a:pt x="585" y="1159"/>
                    </a:lnTo>
                    <a:lnTo>
                      <a:pt x="601" y="1140"/>
                    </a:lnTo>
                    <a:lnTo>
                      <a:pt x="619" y="1122"/>
                    </a:lnTo>
                    <a:lnTo>
                      <a:pt x="637" y="1103"/>
                    </a:lnTo>
                    <a:lnTo>
                      <a:pt x="655" y="1087"/>
                    </a:lnTo>
                    <a:lnTo>
                      <a:pt x="674" y="1072"/>
                    </a:lnTo>
                    <a:lnTo>
                      <a:pt x="694" y="1059"/>
                    </a:lnTo>
                    <a:lnTo>
                      <a:pt x="706" y="1051"/>
                    </a:lnTo>
                    <a:lnTo>
                      <a:pt x="717" y="1043"/>
                    </a:lnTo>
                    <a:lnTo>
                      <a:pt x="727" y="1034"/>
                    </a:lnTo>
                    <a:lnTo>
                      <a:pt x="738" y="1024"/>
                    </a:lnTo>
                    <a:lnTo>
                      <a:pt x="756" y="1004"/>
                    </a:lnTo>
                    <a:lnTo>
                      <a:pt x="775" y="983"/>
                    </a:lnTo>
                    <a:lnTo>
                      <a:pt x="792" y="963"/>
                    </a:lnTo>
                    <a:lnTo>
                      <a:pt x="811" y="943"/>
                    </a:lnTo>
                    <a:lnTo>
                      <a:pt x="821" y="935"/>
                    </a:lnTo>
                    <a:lnTo>
                      <a:pt x="831" y="927"/>
                    </a:lnTo>
                    <a:lnTo>
                      <a:pt x="842" y="921"/>
                    </a:lnTo>
                    <a:lnTo>
                      <a:pt x="854" y="915"/>
                    </a:lnTo>
                    <a:lnTo>
                      <a:pt x="885" y="900"/>
                    </a:lnTo>
                    <a:lnTo>
                      <a:pt x="917" y="886"/>
                    </a:lnTo>
                    <a:lnTo>
                      <a:pt x="948" y="870"/>
                    </a:lnTo>
                    <a:lnTo>
                      <a:pt x="979" y="854"/>
                    </a:lnTo>
                    <a:lnTo>
                      <a:pt x="1010" y="837"/>
                    </a:lnTo>
                    <a:lnTo>
                      <a:pt x="1040" y="819"/>
                    </a:lnTo>
                    <a:lnTo>
                      <a:pt x="1071" y="801"/>
                    </a:lnTo>
                    <a:lnTo>
                      <a:pt x="1100" y="781"/>
                    </a:lnTo>
                    <a:lnTo>
                      <a:pt x="1114" y="777"/>
                    </a:lnTo>
                    <a:lnTo>
                      <a:pt x="1129" y="771"/>
                    </a:lnTo>
                    <a:lnTo>
                      <a:pt x="1145" y="764"/>
                    </a:lnTo>
                    <a:lnTo>
                      <a:pt x="1163" y="758"/>
                    </a:lnTo>
                    <a:lnTo>
                      <a:pt x="1197" y="740"/>
                    </a:lnTo>
                    <a:lnTo>
                      <a:pt x="1232" y="722"/>
                    </a:lnTo>
                    <a:lnTo>
                      <a:pt x="1249" y="711"/>
                    </a:lnTo>
                    <a:lnTo>
                      <a:pt x="1266" y="700"/>
                    </a:lnTo>
                    <a:lnTo>
                      <a:pt x="1282" y="690"/>
                    </a:lnTo>
                    <a:lnTo>
                      <a:pt x="1297" y="679"/>
                    </a:lnTo>
                    <a:lnTo>
                      <a:pt x="1311" y="668"/>
                    </a:lnTo>
                    <a:lnTo>
                      <a:pt x="1324" y="657"/>
                    </a:lnTo>
                    <a:lnTo>
                      <a:pt x="1336" y="646"/>
                    </a:lnTo>
                    <a:lnTo>
                      <a:pt x="1346" y="635"/>
                    </a:lnTo>
                    <a:lnTo>
                      <a:pt x="1363" y="614"/>
                    </a:lnTo>
                    <a:lnTo>
                      <a:pt x="1378" y="592"/>
                    </a:lnTo>
                    <a:lnTo>
                      <a:pt x="1393" y="570"/>
                    </a:lnTo>
                    <a:lnTo>
                      <a:pt x="1408" y="547"/>
                    </a:lnTo>
                    <a:lnTo>
                      <a:pt x="1421" y="524"/>
                    </a:lnTo>
                    <a:lnTo>
                      <a:pt x="1435" y="501"/>
                    </a:lnTo>
                    <a:lnTo>
                      <a:pt x="1449" y="478"/>
                    </a:lnTo>
                    <a:lnTo>
                      <a:pt x="1464" y="455"/>
                    </a:lnTo>
                    <a:lnTo>
                      <a:pt x="1470" y="447"/>
                    </a:lnTo>
                    <a:lnTo>
                      <a:pt x="1477" y="438"/>
                    </a:lnTo>
                    <a:lnTo>
                      <a:pt x="1483" y="432"/>
                    </a:lnTo>
                    <a:lnTo>
                      <a:pt x="1491" y="424"/>
                    </a:lnTo>
                    <a:lnTo>
                      <a:pt x="1506" y="413"/>
                    </a:lnTo>
                    <a:lnTo>
                      <a:pt x="1521" y="402"/>
                    </a:lnTo>
                    <a:lnTo>
                      <a:pt x="1538" y="393"/>
                    </a:lnTo>
                    <a:lnTo>
                      <a:pt x="1554" y="383"/>
                    </a:lnTo>
                    <a:lnTo>
                      <a:pt x="1569" y="371"/>
                    </a:lnTo>
                    <a:lnTo>
                      <a:pt x="1584" y="358"/>
                    </a:lnTo>
                    <a:lnTo>
                      <a:pt x="1603" y="341"/>
                    </a:lnTo>
                    <a:lnTo>
                      <a:pt x="1619" y="321"/>
                    </a:lnTo>
                    <a:lnTo>
                      <a:pt x="1635" y="301"/>
                    </a:lnTo>
                    <a:lnTo>
                      <a:pt x="1650" y="279"/>
                    </a:lnTo>
                    <a:lnTo>
                      <a:pt x="1665" y="258"/>
                    </a:lnTo>
                    <a:lnTo>
                      <a:pt x="1680" y="235"/>
                    </a:lnTo>
                    <a:lnTo>
                      <a:pt x="1693" y="211"/>
                    </a:lnTo>
                    <a:lnTo>
                      <a:pt x="1706" y="187"/>
                    </a:lnTo>
                    <a:lnTo>
                      <a:pt x="1730" y="140"/>
                    </a:lnTo>
                    <a:lnTo>
                      <a:pt x="1754" y="91"/>
                    </a:lnTo>
                    <a:lnTo>
                      <a:pt x="1777" y="44"/>
                    </a:lnTo>
                    <a:lnTo>
                      <a:pt x="1801" y="0"/>
                    </a:lnTo>
                    <a:lnTo>
                      <a:pt x="180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98" name="Freeform 13">
                <a:extLst>
                  <a:ext uri="{FF2B5EF4-FFF2-40B4-BE49-F238E27FC236}">
                    <a16:creationId xmlns:a16="http://schemas.microsoft.com/office/drawing/2014/main" id="{B0189448-7FE1-480D-9621-C2351356C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9613" y="-317095"/>
                <a:ext cx="862013" cy="690563"/>
              </a:xfrm>
              <a:custGeom>
                <a:avLst/>
                <a:gdLst>
                  <a:gd name="T0" fmla="*/ 2067 w 2173"/>
                  <a:gd name="T1" fmla="*/ 846 h 1740"/>
                  <a:gd name="T2" fmla="*/ 2027 w 2173"/>
                  <a:gd name="T3" fmla="*/ 987 h 1740"/>
                  <a:gd name="T4" fmla="*/ 1981 w 2173"/>
                  <a:gd name="T5" fmla="*/ 1007 h 1740"/>
                  <a:gd name="T6" fmla="*/ 1942 w 2173"/>
                  <a:gd name="T7" fmla="*/ 1072 h 1740"/>
                  <a:gd name="T8" fmla="*/ 1905 w 2173"/>
                  <a:gd name="T9" fmla="*/ 1245 h 1740"/>
                  <a:gd name="T10" fmla="*/ 1952 w 2173"/>
                  <a:gd name="T11" fmla="*/ 1363 h 1740"/>
                  <a:gd name="T12" fmla="*/ 1966 w 2173"/>
                  <a:gd name="T13" fmla="*/ 1473 h 1740"/>
                  <a:gd name="T14" fmla="*/ 1908 w 2173"/>
                  <a:gd name="T15" fmla="*/ 1645 h 1740"/>
                  <a:gd name="T16" fmla="*/ 1814 w 2173"/>
                  <a:gd name="T17" fmla="*/ 1728 h 1740"/>
                  <a:gd name="T18" fmla="*/ 1679 w 2173"/>
                  <a:gd name="T19" fmla="*/ 1690 h 1740"/>
                  <a:gd name="T20" fmla="*/ 1593 w 2173"/>
                  <a:gd name="T21" fmla="*/ 1576 h 1740"/>
                  <a:gd name="T22" fmla="*/ 1531 w 2173"/>
                  <a:gd name="T23" fmla="*/ 1566 h 1740"/>
                  <a:gd name="T24" fmla="*/ 1426 w 2173"/>
                  <a:gd name="T25" fmla="*/ 1601 h 1740"/>
                  <a:gd name="T26" fmla="*/ 1365 w 2173"/>
                  <a:gd name="T27" fmla="*/ 1569 h 1740"/>
                  <a:gd name="T28" fmla="*/ 1286 w 2173"/>
                  <a:gd name="T29" fmla="*/ 1420 h 1740"/>
                  <a:gd name="T30" fmla="*/ 1237 w 2173"/>
                  <a:gd name="T31" fmla="*/ 1373 h 1740"/>
                  <a:gd name="T32" fmla="*/ 1113 w 2173"/>
                  <a:gd name="T33" fmla="*/ 1326 h 1740"/>
                  <a:gd name="T34" fmla="*/ 1046 w 2173"/>
                  <a:gd name="T35" fmla="*/ 1226 h 1740"/>
                  <a:gd name="T36" fmla="*/ 991 w 2173"/>
                  <a:gd name="T37" fmla="*/ 1124 h 1740"/>
                  <a:gd name="T38" fmla="*/ 954 w 2173"/>
                  <a:gd name="T39" fmla="*/ 1155 h 1740"/>
                  <a:gd name="T40" fmla="*/ 923 w 2173"/>
                  <a:gd name="T41" fmla="*/ 1230 h 1740"/>
                  <a:gd name="T42" fmla="*/ 915 w 2173"/>
                  <a:gd name="T43" fmla="*/ 1313 h 1740"/>
                  <a:gd name="T44" fmla="*/ 889 w 2173"/>
                  <a:gd name="T45" fmla="*/ 1348 h 1740"/>
                  <a:gd name="T46" fmla="*/ 931 w 2173"/>
                  <a:gd name="T47" fmla="*/ 1398 h 1740"/>
                  <a:gd name="T48" fmla="*/ 943 w 2173"/>
                  <a:gd name="T49" fmla="*/ 1434 h 1740"/>
                  <a:gd name="T50" fmla="*/ 769 w 2173"/>
                  <a:gd name="T51" fmla="*/ 1553 h 1740"/>
                  <a:gd name="T52" fmla="*/ 659 w 2173"/>
                  <a:gd name="T53" fmla="*/ 1631 h 1740"/>
                  <a:gd name="T54" fmla="*/ 642 w 2173"/>
                  <a:gd name="T55" fmla="*/ 1682 h 1740"/>
                  <a:gd name="T56" fmla="*/ 586 w 2173"/>
                  <a:gd name="T57" fmla="*/ 1716 h 1740"/>
                  <a:gd name="T58" fmla="*/ 471 w 2173"/>
                  <a:gd name="T59" fmla="*/ 1727 h 1740"/>
                  <a:gd name="T60" fmla="*/ 418 w 2173"/>
                  <a:gd name="T61" fmla="*/ 1581 h 1740"/>
                  <a:gd name="T62" fmla="*/ 360 w 2173"/>
                  <a:gd name="T63" fmla="*/ 1492 h 1740"/>
                  <a:gd name="T64" fmla="*/ 254 w 2173"/>
                  <a:gd name="T65" fmla="*/ 1488 h 1740"/>
                  <a:gd name="T66" fmla="*/ 124 w 2173"/>
                  <a:gd name="T67" fmla="*/ 1487 h 1740"/>
                  <a:gd name="T68" fmla="*/ 38 w 2173"/>
                  <a:gd name="T69" fmla="*/ 1408 h 1740"/>
                  <a:gd name="T70" fmla="*/ 7 w 2173"/>
                  <a:gd name="T71" fmla="*/ 1348 h 1740"/>
                  <a:gd name="T72" fmla="*/ 51 w 2173"/>
                  <a:gd name="T73" fmla="*/ 1319 h 1740"/>
                  <a:gd name="T74" fmla="*/ 114 w 2173"/>
                  <a:gd name="T75" fmla="*/ 1137 h 1740"/>
                  <a:gd name="T76" fmla="*/ 289 w 2173"/>
                  <a:gd name="T77" fmla="*/ 948 h 1740"/>
                  <a:gd name="T78" fmla="*/ 367 w 2173"/>
                  <a:gd name="T79" fmla="*/ 819 h 1740"/>
                  <a:gd name="T80" fmla="*/ 425 w 2173"/>
                  <a:gd name="T81" fmla="*/ 708 h 1740"/>
                  <a:gd name="T82" fmla="*/ 515 w 2173"/>
                  <a:gd name="T83" fmla="*/ 691 h 1740"/>
                  <a:gd name="T84" fmla="*/ 685 w 2173"/>
                  <a:gd name="T85" fmla="*/ 588 h 1740"/>
                  <a:gd name="T86" fmla="*/ 1178 w 2173"/>
                  <a:gd name="T87" fmla="*/ 353 h 1740"/>
                  <a:gd name="T88" fmla="*/ 1758 w 2173"/>
                  <a:gd name="T89" fmla="*/ 44 h 1740"/>
                  <a:gd name="T90" fmla="*/ 1895 w 2173"/>
                  <a:gd name="T91" fmla="*/ 69 h 1740"/>
                  <a:gd name="T92" fmla="*/ 1914 w 2173"/>
                  <a:gd name="T93" fmla="*/ 236 h 1740"/>
                  <a:gd name="T94" fmla="*/ 1953 w 2173"/>
                  <a:gd name="T95" fmla="*/ 247 h 1740"/>
                  <a:gd name="T96" fmla="*/ 2026 w 2173"/>
                  <a:gd name="T97" fmla="*/ 231 h 1740"/>
                  <a:gd name="T98" fmla="*/ 2129 w 2173"/>
                  <a:gd name="T99" fmla="*/ 293 h 1740"/>
                  <a:gd name="T100" fmla="*/ 2171 w 2173"/>
                  <a:gd name="T101" fmla="*/ 328 h 1740"/>
                  <a:gd name="T102" fmla="*/ 2114 w 2173"/>
                  <a:gd name="T103" fmla="*/ 366 h 1740"/>
                  <a:gd name="T104" fmla="*/ 2118 w 2173"/>
                  <a:gd name="T105" fmla="*/ 405 h 1740"/>
                  <a:gd name="T106" fmla="*/ 2130 w 2173"/>
                  <a:gd name="T107" fmla="*/ 479 h 1740"/>
                  <a:gd name="T108" fmla="*/ 2105 w 2173"/>
                  <a:gd name="T109" fmla="*/ 534 h 1740"/>
                  <a:gd name="T110" fmla="*/ 2092 w 2173"/>
                  <a:gd name="T111" fmla="*/ 615 h 17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173" h="1740">
                    <a:moveTo>
                      <a:pt x="2092" y="645"/>
                    </a:moveTo>
                    <a:lnTo>
                      <a:pt x="2062" y="743"/>
                    </a:lnTo>
                    <a:lnTo>
                      <a:pt x="2065" y="753"/>
                    </a:lnTo>
                    <a:lnTo>
                      <a:pt x="2067" y="766"/>
                    </a:lnTo>
                    <a:lnTo>
                      <a:pt x="2069" y="783"/>
                    </a:lnTo>
                    <a:lnTo>
                      <a:pt x="2069" y="803"/>
                    </a:lnTo>
                    <a:lnTo>
                      <a:pt x="2068" y="823"/>
                    </a:lnTo>
                    <a:lnTo>
                      <a:pt x="2067" y="846"/>
                    </a:lnTo>
                    <a:lnTo>
                      <a:pt x="2064" y="868"/>
                    </a:lnTo>
                    <a:lnTo>
                      <a:pt x="2060" y="892"/>
                    </a:lnTo>
                    <a:lnTo>
                      <a:pt x="2055" y="915"/>
                    </a:lnTo>
                    <a:lnTo>
                      <a:pt x="2050" y="937"/>
                    </a:lnTo>
                    <a:lnTo>
                      <a:pt x="2043" y="956"/>
                    </a:lnTo>
                    <a:lnTo>
                      <a:pt x="2036" y="973"/>
                    </a:lnTo>
                    <a:lnTo>
                      <a:pt x="2031" y="981"/>
                    </a:lnTo>
                    <a:lnTo>
                      <a:pt x="2027" y="987"/>
                    </a:lnTo>
                    <a:lnTo>
                      <a:pt x="2023" y="993"/>
                    </a:lnTo>
                    <a:lnTo>
                      <a:pt x="2018" y="998"/>
                    </a:lnTo>
                    <a:lnTo>
                      <a:pt x="2013" y="1001"/>
                    </a:lnTo>
                    <a:lnTo>
                      <a:pt x="2007" y="1003"/>
                    </a:lnTo>
                    <a:lnTo>
                      <a:pt x="2002" y="1006"/>
                    </a:lnTo>
                    <a:lnTo>
                      <a:pt x="1997" y="1006"/>
                    </a:lnTo>
                    <a:lnTo>
                      <a:pt x="1989" y="1006"/>
                    </a:lnTo>
                    <a:lnTo>
                      <a:pt x="1981" y="1007"/>
                    </a:lnTo>
                    <a:lnTo>
                      <a:pt x="1975" y="1010"/>
                    </a:lnTo>
                    <a:lnTo>
                      <a:pt x="1968" y="1013"/>
                    </a:lnTo>
                    <a:lnTo>
                      <a:pt x="1964" y="1019"/>
                    </a:lnTo>
                    <a:lnTo>
                      <a:pt x="1959" y="1025"/>
                    </a:lnTo>
                    <a:lnTo>
                      <a:pt x="1955" y="1032"/>
                    </a:lnTo>
                    <a:lnTo>
                      <a:pt x="1952" y="1039"/>
                    </a:lnTo>
                    <a:lnTo>
                      <a:pt x="1947" y="1055"/>
                    </a:lnTo>
                    <a:lnTo>
                      <a:pt x="1942" y="1072"/>
                    </a:lnTo>
                    <a:lnTo>
                      <a:pt x="1940" y="1089"/>
                    </a:lnTo>
                    <a:lnTo>
                      <a:pt x="1938" y="1103"/>
                    </a:lnTo>
                    <a:lnTo>
                      <a:pt x="1935" y="1126"/>
                    </a:lnTo>
                    <a:lnTo>
                      <a:pt x="1930" y="1149"/>
                    </a:lnTo>
                    <a:lnTo>
                      <a:pt x="1924" y="1173"/>
                    </a:lnTo>
                    <a:lnTo>
                      <a:pt x="1917" y="1198"/>
                    </a:lnTo>
                    <a:lnTo>
                      <a:pt x="1911" y="1222"/>
                    </a:lnTo>
                    <a:lnTo>
                      <a:pt x="1905" y="1245"/>
                    </a:lnTo>
                    <a:lnTo>
                      <a:pt x="1902" y="1269"/>
                    </a:lnTo>
                    <a:lnTo>
                      <a:pt x="1901" y="1291"/>
                    </a:lnTo>
                    <a:lnTo>
                      <a:pt x="1912" y="1303"/>
                    </a:lnTo>
                    <a:lnTo>
                      <a:pt x="1922" y="1315"/>
                    </a:lnTo>
                    <a:lnTo>
                      <a:pt x="1930" y="1326"/>
                    </a:lnTo>
                    <a:lnTo>
                      <a:pt x="1939" y="1338"/>
                    </a:lnTo>
                    <a:lnTo>
                      <a:pt x="1946" y="1351"/>
                    </a:lnTo>
                    <a:lnTo>
                      <a:pt x="1952" y="1363"/>
                    </a:lnTo>
                    <a:lnTo>
                      <a:pt x="1958" y="1376"/>
                    </a:lnTo>
                    <a:lnTo>
                      <a:pt x="1962" y="1389"/>
                    </a:lnTo>
                    <a:lnTo>
                      <a:pt x="1965" y="1403"/>
                    </a:lnTo>
                    <a:lnTo>
                      <a:pt x="1967" y="1416"/>
                    </a:lnTo>
                    <a:lnTo>
                      <a:pt x="1968" y="1430"/>
                    </a:lnTo>
                    <a:lnTo>
                      <a:pt x="1968" y="1444"/>
                    </a:lnTo>
                    <a:lnTo>
                      <a:pt x="1968" y="1459"/>
                    </a:lnTo>
                    <a:lnTo>
                      <a:pt x="1966" y="1473"/>
                    </a:lnTo>
                    <a:lnTo>
                      <a:pt x="1963" y="1489"/>
                    </a:lnTo>
                    <a:lnTo>
                      <a:pt x="1959" y="1505"/>
                    </a:lnTo>
                    <a:lnTo>
                      <a:pt x="1950" y="1531"/>
                    </a:lnTo>
                    <a:lnTo>
                      <a:pt x="1942" y="1555"/>
                    </a:lnTo>
                    <a:lnTo>
                      <a:pt x="1934" y="1578"/>
                    </a:lnTo>
                    <a:lnTo>
                      <a:pt x="1926" y="1601"/>
                    </a:lnTo>
                    <a:lnTo>
                      <a:pt x="1917" y="1622"/>
                    </a:lnTo>
                    <a:lnTo>
                      <a:pt x="1908" y="1645"/>
                    </a:lnTo>
                    <a:lnTo>
                      <a:pt x="1897" y="1668"/>
                    </a:lnTo>
                    <a:lnTo>
                      <a:pt x="1886" y="1691"/>
                    </a:lnTo>
                    <a:lnTo>
                      <a:pt x="1861" y="1740"/>
                    </a:lnTo>
                    <a:lnTo>
                      <a:pt x="1861" y="1740"/>
                    </a:lnTo>
                    <a:lnTo>
                      <a:pt x="1849" y="1737"/>
                    </a:lnTo>
                    <a:lnTo>
                      <a:pt x="1837" y="1734"/>
                    </a:lnTo>
                    <a:lnTo>
                      <a:pt x="1826" y="1730"/>
                    </a:lnTo>
                    <a:lnTo>
                      <a:pt x="1814" y="1728"/>
                    </a:lnTo>
                    <a:lnTo>
                      <a:pt x="1793" y="1725"/>
                    </a:lnTo>
                    <a:lnTo>
                      <a:pt x="1770" y="1722"/>
                    </a:lnTo>
                    <a:lnTo>
                      <a:pt x="1747" y="1717"/>
                    </a:lnTo>
                    <a:lnTo>
                      <a:pt x="1725" y="1712"/>
                    </a:lnTo>
                    <a:lnTo>
                      <a:pt x="1714" y="1708"/>
                    </a:lnTo>
                    <a:lnTo>
                      <a:pt x="1702" y="1703"/>
                    </a:lnTo>
                    <a:lnTo>
                      <a:pt x="1690" y="1697"/>
                    </a:lnTo>
                    <a:lnTo>
                      <a:pt x="1679" y="1690"/>
                    </a:lnTo>
                    <a:lnTo>
                      <a:pt x="1670" y="1685"/>
                    </a:lnTo>
                    <a:lnTo>
                      <a:pt x="1663" y="1677"/>
                    </a:lnTo>
                    <a:lnTo>
                      <a:pt x="1655" y="1669"/>
                    </a:lnTo>
                    <a:lnTo>
                      <a:pt x="1649" y="1659"/>
                    </a:lnTo>
                    <a:lnTo>
                      <a:pt x="1633" y="1637"/>
                    </a:lnTo>
                    <a:lnTo>
                      <a:pt x="1620" y="1615"/>
                    </a:lnTo>
                    <a:lnTo>
                      <a:pt x="1606" y="1593"/>
                    </a:lnTo>
                    <a:lnTo>
                      <a:pt x="1593" y="1576"/>
                    </a:lnTo>
                    <a:lnTo>
                      <a:pt x="1586" y="1568"/>
                    </a:lnTo>
                    <a:lnTo>
                      <a:pt x="1579" y="1563"/>
                    </a:lnTo>
                    <a:lnTo>
                      <a:pt x="1573" y="1560"/>
                    </a:lnTo>
                    <a:lnTo>
                      <a:pt x="1565" y="1559"/>
                    </a:lnTo>
                    <a:lnTo>
                      <a:pt x="1557" y="1560"/>
                    </a:lnTo>
                    <a:lnTo>
                      <a:pt x="1548" y="1561"/>
                    </a:lnTo>
                    <a:lnTo>
                      <a:pt x="1539" y="1563"/>
                    </a:lnTo>
                    <a:lnTo>
                      <a:pt x="1531" y="1566"/>
                    </a:lnTo>
                    <a:lnTo>
                      <a:pt x="1513" y="1574"/>
                    </a:lnTo>
                    <a:lnTo>
                      <a:pt x="1496" y="1582"/>
                    </a:lnTo>
                    <a:lnTo>
                      <a:pt x="1479" y="1591"/>
                    </a:lnTo>
                    <a:lnTo>
                      <a:pt x="1461" y="1597"/>
                    </a:lnTo>
                    <a:lnTo>
                      <a:pt x="1453" y="1600"/>
                    </a:lnTo>
                    <a:lnTo>
                      <a:pt x="1444" y="1601"/>
                    </a:lnTo>
                    <a:lnTo>
                      <a:pt x="1435" y="1601"/>
                    </a:lnTo>
                    <a:lnTo>
                      <a:pt x="1426" y="1601"/>
                    </a:lnTo>
                    <a:lnTo>
                      <a:pt x="1417" y="1597"/>
                    </a:lnTo>
                    <a:lnTo>
                      <a:pt x="1407" y="1595"/>
                    </a:lnTo>
                    <a:lnTo>
                      <a:pt x="1398" y="1592"/>
                    </a:lnTo>
                    <a:lnTo>
                      <a:pt x="1391" y="1588"/>
                    </a:lnTo>
                    <a:lnTo>
                      <a:pt x="1383" y="1585"/>
                    </a:lnTo>
                    <a:lnTo>
                      <a:pt x="1377" y="1580"/>
                    </a:lnTo>
                    <a:lnTo>
                      <a:pt x="1370" y="1575"/>
                    </a:lnTo>
                    <a:lnTo>
                      <a:pt x="1365" y="1569"/>
                    </a:lnTo>
                    <a:lnTo>
                      <a:pt x="1343" y="1546"/>
                    </a:lnTo>
                    <a:lnTo>
                      <a:pt x="1317" y="1516"/>
                    </a:lnTo>
                    <a:lnTo>
                      <a:pt x="1309" y="1500"/>
                    </a:lnTo>
                    <a:lnTo>
                      <a:pt x="1305" y="1483"/>
                    </a:lnTo>
                    <a:lnTo>
                      <a:pt x="1301" y="1467"/>
                    </a:lnTo>
                    <a:lnTo>
                      <a:pt x="1296" y="1452"/>
                    </a:lnTo>
                    <a:lnTo>
                      <a:pt x="1292" y="1435"/>
                    </a:lnTo>
                    <a:lnTo>
                      <a:pt x="1286" y="1420"/>
                    </a:lnTo>
                    <a:lnTo>
                      <a:pt x="1281" y="1413"/>
                    </a:lnTo>
                    <a:lnTo>
                      <a:pt x="1277" y="1405"/>
                    </a:lnTo>
                    <a:lnTo>
                      <a:pt x="1270" y="1399"/>
                    </a:lnTo>
                    <a:lnTo>
                      <a:pt x="1264" y="1391"/>
                    </a:lnTo>
                    <a:lnTo>
                      <a:pt x="1257" y="1386"/>
                    </a:lnTo>
                    <a:lnTo>
                      <a:pt x="1251" y="1381"/>
                    </a:lnTo>
                    <a:lnTo>
                      <a:pt x="1243" y="1377"/>
                    </a:lnTo>
                    <a:lnTo>
                      <a:pt x="1237" y="1373"/>
                    </a:lnTo>
                    <a:lnTo>
                      <a:pt x="1222" y="1366"/>
                    </a:lnTo>
                    <a:lnTo>
                      <a:pt x="1207" y="1361"/>
                    </a:lnTo>
                    <a:lnTo>
                      <a:pt x="1174" y="1351"/>
                    </a:lnTo>
                    <a:lnTo>
                      <a:pt x="1143" y="1343"/>
                    </a:lnTo>
                    <a:lnTo>
                      <a:pt x="1135" y="1339"/>
                    </a:lnTo>
                    <a:lnTo>
                      <a:pt x="1127" y="1336"/>
                    </a:lnTo>
                    <a:lnTo>
                      <a:pt x="1121" y="1332"/>
                    </a:lnTo>
                    <a:lnTo>
                      <a:pt x="1113" y="1326"/>
                    </a:lnTo>
                    <a:lnTo>
                      <a:pt x="1107" y="1320"/>
                    </a:lnTo>
                    <a:lnTo>
                      <a:pt x="1100" y="1313"/>
                    </a:lnTo>
                    <a:lnTo>
                      <a:pt x="1094" y="1306"/>
                    </a:lnTo>
                    <a:lnTo>
                      <a:pt x="1087" y="1298"/>
                    </a:lnTo>
                    <a:lnTo>
                      <a:pt x="1076" y="1282"/>
                    </a:lnTo>
                    <a:lnTo>
                      <a:pt x="1066" y="1264"/>
                    </a:lnTo>
                    <a:lnTo>
                      <a:pt x="1056" y="1245"/>
                    </a:lnTo>
                    <a:lnTo>
                      <a:pt x="1046" y="1226"/>
                    </a:lnTo>
                    <a:lnTo>
                      <a:pt x="1030" y="1189"/>
                    </a:lnTo>
                    <a:lnTo>
                      <a:pt x="1016" y="1157"/>
                    </a:lnTo>
                    <a:lnTo>
                      <a:pt x="1009" y="1145"/>
                    </a:lnTo>
                    <a:lnTo>
                      <a:pt x="1003" y="1134"/>
                    </a:lnTo>
                    <a:lnTo>
                      <a:pt x="1000" y="1131"/>
                    </a:lnTo>
                    <a:lnTo>
                      <a:pt x="996" y="1128"/>
                    </a:lnTo>
                    <a:lnTo>
                      <a:pt x="994" y="1126"/>
                    </a:lnTo>
                    <a:lnTo>
                      <a:pt x="991" y="1124"/>
                    </a:lnTo>
                    <a:lnTo>
                      <a:pt x="990" y="1122"/>
                    </a:lnTo>
                    <a:lnTo>
                      <a:pt x="989" y="1121"/>
                    </a:lnTo>
                    <a:lnTo>
                      <a:pt x="987" y="1121"/>
                    </a:lnTo>
                    <a:lnTo>
                      <a:pt x="983" y="1121"/>
                    </a:lnTo>
                    <a:lnTo>
                      <a:pt x="978" y="1126"/>
                    </a:lnTo>
                    <a:lnTo>
                      <a:pt x="971" y="1132"/>
                    </a:lnTo>
                    <a:lnTo>
                      <a:pt x="959" y="1146"/>
                    </a:lnTo>
                    <a:lnTo>
                      <a:pt x="954" y="1155"/>
                    </a:lnTo>
                    <a:lnTo>
                      <a:pt x="946" y="1169"/>
                    </a:lnTo>
                    <a:lnTo>
                      <a:pt x="941" y="1183"/>
                    </a:lnTo>
                    <a:lnTo>
                      <a:pt x="938" y="1189"/>
                    </a:lnTo>
                    <a:lnTo>
                      <a:pt x="934" y="1196"/>
                    </a:lnTo>
                    <a:lnTo>
                      <a:pt x="931" y="1202"/>
                    </a:lnTo>
                    <a:lnTo>
                      <a:pt x="926" y="1209"/>
                    </a:lnTo>
                    <a:lnTo>
                      <a:pt x="924" y="1219"/>
                    </a:lnTo>
                    <a:lnTo>
                      <a:pt x="923" y="1230"/>
                    </a:lnTo>
                    <a:lnTo>
                      <a:pt x="923" y="1242"/>
                    </a:lnTo>
                    <a:lnTo>
                      <a:pt x="925" y="1255"/>
                    </a:lnTo>
                    <a:lnTo>
                      <a:pt x="926" y="1267"/>
                    </a:lnTo>
                    <a:lnTo>
                      <a:pt x="926" y="1280"/>
                    </a:lnTo>
                    <a:lnTo>
                      <a:pt x="926" y="1291"/>
                    </a:lnTo>
                    <a:lnTo>
                      <a:pt x="924" y="1302"/>
                    </a:lnTo>
                    <a:lnTo>
                      <a:pt x="920" y="1308"/>
                    </a:lnTo>
                    <a:lnTo>
                      <a:pt x="915" y="1313"/>
                    </a:lnTo>
                    <a:lnTo>
                      <a:pt x="910" y="1318"/>
                    </a:lnTo>
                    <a:lnTo>
                      <a:pt x="904" y="1323"/>
                    </a:lnTo>
                    <a:lnTo>
                      <a:pt x="899" y="1327"/>
                    </a:lnTo>
                    <a:lnTo>
                      <a:pt x="893" y="1333"/>
                    </a:lnTo>
                    <a:lnTo>
                      <a:pt x="892" y="1336"/>
                    </a:lnTo>
                    <a:lnTo>
                      <a:pt x="890" y="1339"/>
                    </a:lnTo>
                    <a:lnTo>
                      <a:pt x="890" y="1344"/>
                    </a:lnTo>
                    <a:lnTo>
                      <a:pt x="889" y="1348"/>
                    </a:lnTo>
                    <a:lnTo>
                      <a:pt x="890" y="1353"/>
                    </a:lnTo>
                    <a:lnTo>
                      <a:pt x="890" y="1358"/>
                    </a:lnTo>
                    <a:lnTo>
                      <a:pt x="891" y="1362"/>
                    </a:lnTo>
                    <a:lnTo>
                      <a:pt x="893" y="1366"/>
                    </a:lnTo>
                    <a:lnTo>
                      <a:pt x="898" y="1373"/>
                    </a:lnTo>
                    <a:lnTo>
                      <a:pt x="904" y="1379"/>
                    </a:lnTo>
                    <a:lnTo>
                      <a:pt x="917" y="1389"/>
                    </a:lnTo>
                    <a:lnTo>
                      <a:pt x="931" y="1398"/>
                    </a:lnTo>
                    <a:lnTo>
                      <a:pt x="938" y="1402"/>
                    </a:lnTo>
                    <a:lnTo>
                      <a:pt x="942" y="1407"/>
                    </a:lnTo>
                    <a:lnTo>
                      <a:pt x="946" y="1413"/>
                    </a:lnTo>
                    <a:lnTo>
                      <a:pt x="947" y="1419"/>
                    </a:lnTo>
                    <a:lnTo>
                      <a:pt x="947" y="1423"/>
                    </a:lnTo>
                    <a:lnTo>
                      <a:pt x="947" y="1426"/>
                    </a:lnTo>
                    <a:lnTo>
                      <a:pt x="945" y="1430"/>
                    </a:lnTo>
                    <a:lnTo>
                      <a:pt x="943" y="1434"/>
                    </a:lnTo>
                    <a:lnTo>
                      <a:pt x="938" y="1445"/>
                    </a:lnTo>
                    <a:lnTo>
                      <a:pt x="928" y="1457"/>
                    </a:lnTo>
                    <a:lnTo>
                      <a:pt x="915" y="1469"/>
                    </a:lnTo>
                    <a:lnTo>
                      <a:pt x="900" y="1481"/>
                    </a:lnTo>
                    <a:lnTo>
                      <a:pt x="881" y="1493"/>
                    </a:lnTo>
                    <a:lnTo>
                      <a:pt x="861" y="1505"/>
                    </a:lnTo>
                    <a:lnTo>
                      <a:pt x="816" y="1528"/>
                    </a:lnTo>
                    <a:lnTo>
                      <a:pt x="769" y="1553"/>
                    </a:lnTo>
                    <a:lnTo>
                      <a:pt x="746" y="1566"/>
                    </a:lnTo>
                    <a:lnTo>
                      <a:pt x="724" y="1579"/>
                    </a:lnTo>
                    <a:lnTo>
                      <a:pt x="704" y="1591"/>
                    </a:lnTo>
                    <a:lnTo>
                      <a:pt x="686" y="1604"/>
                    </a:lnTo>
                    <a:lnTo>
                      <a:pt x="678" y="1610"/>
                    </a:lnTo>
                    <a:lnTo>
                      <a:pt x="671" y="1618"/>
                    </a:lnTo>
                    <a:lnTo>
                      <a:pt x="665" y="1624"/>
                    </a:lnTo>
                    <a:lnTo>
                      <a:pt x="659" y="1631"/>
                    </a:lnTo>
                    <a:lnTo>
                      <a:pt x="655" y="1637"/>
                    </a:lnTo>
                    <a:lnTo>
                      <a:pt x="652" y="1645"/>
                    </a:lnTo>
                    <a:lnTo>
                      <a:pt x="649" y="1651"/>
                    </a:lnTo>
                    <a:lnTo>
                      <a:pt x="648" y="1658"/>
                    </a:lnTo>
                    <a:lnTo>
                      <a:pt x="647" y="1664"/>
                    </a:lnTo>
                    <a:lnTo>
                      <a:pt x="646" y="1671"/>
                    </a:lnTo>
                    <a:lnTo>
                      <a:pt x="644" y="1676"/>
                    </a:lnTo>
                    <a:lnTo>
                      <a:pt x="642" y="1682"/>
                    </a:lnTo>
                    <a:lnTo>
                      <a:pt x="639" y="1686"/>
                    </a:lnTo>
                    <a:lnTo>
                      <a:pt x="636" y="1690"/>
                    </a:lnTo>
                    <a:lnTo>
                      <a:pt x="632" y="1695"/>
                    </a:lnTo>
                    <a:lnTo>
                      <a:pt x="629" y="1698"/>
                    </a:lnTo>
                    <a:lnTo>
                      <a:pt x="619" y="1704"/>
                    </a:lnTo>
                    <a:lnTo>
                      <a:pt x="609" y="1709"/>
                    </a:lnTo>
                    <a:lnTo>
                      <a:pt x="597" y="1713"/>
                    </a:lnTo>
                    <a:lnTo>
                      <a:pt x="586" y="1716"/>
                    </a:lnTo>
                    <a:lnTo>
                      <a:pt x="560" y="1721"/>
                    </a:lnTo>
                    <a:lnTo>
                      <a:pt x="532" y="1724"/>
                    </a:lnTo>
                    <a:lnTo>
                      <a:pt x="506" y="1727"/>
                    </a:lnTo>
                    <a:lnTo>
                      <a:pt x="483" y="1732"/>
                    </a:lnTo>
                    <a:lnTo>
                      <a:pt x="479" y="1732"/>
                    </a:lnTo>
                    <a:lnTo>
                      <a:pt x="477" y="1731"/>
                    </a:lnTo>
                    <a:lnTo>
                      <a:pt x="474" y="1730"/>
                    </a:lnTo>
                    <a:lnTo>
                      <a:pt x="471" y="1727"/>
                    </a:lnTo>
                    <a:lnTo>
                      <a:pt x="465" y="1720"/>
                    </a:lnTo>
                    <a:lnTo>
                      <a:pt x="459" y="1709"/>
                    </a:lnTo>
                    <a:lnTo>
                      <a:pt x="453" y="1696"/>
                    </a:lnTo>
                    <a:lnTo>
                      <a:pt x="447" y="1682"/>
                    </a:lnTo>
                    <a:lnTo>
                      <a:pt x="441" y="1666"/>
                    </a:lnTo>
                    <a:lnTo>
                      <a:pt x="436" y="1648"/>
                    </a:lnTo>
                    <a:lnTo>
                      <a:pt x="426" y="1614"/>
                    </a:lnTo>
                    <a:lnTo>
                      <a:pt x="418" y="1581"/>
                    </a:lnTo>
                    <a:lnTo>
                      <a:pt x="410" y="1554"/>
                    </a:lnTo>
                    <a:lnTo>
                      <a:pt x="405" y="1539"/>
                    </a:lnTo>
                    <a:lnTo>
                      <a:pt x="399" y="1527"/>
                    </a:lnTo>
                    <a:lnTo>
                      <a:pt x="393" y="1518"/>
                    </a:lnTo>
                    <a:lnTo>
                      <a:pt x="385" y="1509"/>
                    </a:lnTo>
                    <a:lnTo>
                      <a:pt x="377" y="1501"/>
                    </a:lnTo>
                    <a:lnTo>
                      <a:pt x="369" y="1496"/>
                    </a:lnTo>
                    <a:lnTo>
                      <a:pt x="360" y="1492"/>
                    </a:lnTo>
                    <a:lnTo>
                      <a:pt x="350" y="1487"/>
                    </a:lnTo>
                    <a:lnTo>
                      <a:pt x="341" y="1485"/>
                    </a:lnTo>
                    <a:lnTo>
                      <a:pt x="331" y="1483"/>
                    </a:lnTo>
                    <a:lnTo>
                      <a:pt x="320" y="1482"/>
                    </a:lnTo>
                    <a:lnTo>
                      <a:pt x="310" y="1482"/>
                    </a:lnTo>
                    <a:lnTo>
                      <a:pt x="298" y="1483"/>
                    </a:lnTo>
                    <a:lnTo>
                      <a:pt x="277" y="1485"/>
                    </a:lnTo>
                    <a:lnTo>
                      <a:pt x="254" y="1488"/>
                    </a:lnTo>
                    <a:lnTo>
                      <a:pt x="230" y="1492"/>
                    </a:lnTo>
                    <a:lnTo>
                      <a:pt x="207" y="1495"/>
                    </a:lnTo>
                    <a:lnTo>
                      <a:pt x="185" y="1497"/>
                    </a:lnTo>
                    <a:lnTo>
                      <a:pt x="163" y="1497"/>
                    </a:lnTo>
                    <a:lnTo>
                      <a:pt x="153" y="1496"/>
                    </a:lnTo>
                    <a:lnTo>
                      <a:pt x="142" y="1494"/>
                    </a:lnTo>
                    <a:lnTo>
                      <a:pt x="133" y="1491"/>
                    </a:lnTo>
                    <a:lnTo>
                      <a:pt x="124" y="1487"/>
                    </a:lnTo>
                    <a:lnTo>
                      <a:pt x="115" y="1482"/>
                    </a:lnTo>
                    <a:lnTo>
                      <a:pt x="107" y="1477"/>
                    </a:lnTo>
                    <a:lnTo>
                      <a:pt x="99" y="1469"/>
                    </a:lnTo>
                    <a:lnTo>
                      <a:pt x="91" y="1460"/>
                    </a:lnTo>
                    <a:lnTo>
                      <a:pt x="78" y="1445"/>
                    </a:lnTo>
                    <a:lnTo>
                      <a:pt x="59" y="1428"/>
                    </a:lnTo>
                    <a:lnTo>
                      <a:pt x="49" y="1418"/>
                    </a:lnTo>
                    <a:lnTo>
                      <a:pt x="38" y="1408"/>
                    </a:lnTo>
                    <a:lnTo>
                      <a:pt x="29" y="1398"/>
                    </a:lnTo>
                    <a:lnTo>
                      <a:pt x="20" y="1387"/>
                    </a:lnTo>
                    <a:lnTo>
                      <a:pt x="13" y="1377"/>
                    </a:lnTo>
                    <a:lnTo>
                      <a:pt x="8" y="1367"/>
                    </a:lnTo>
                    <a:lnTo>
                      <a:pt x="7" y="1362"/>
                    </a:lnTo>
                    <a:lnTo>
                      <a:pt x="6" y="1358"/>
                    </a:lnTo>
                    <a:lnTo>
                      <a:pt x="6" y="1352"/>
                    </a:lnTo>
                    <a:lnTo>
                      <a:pt x="7" y="1348"/>
                    </a:lnTo>
                    <a:lnTo>
                      <a:pt x="8" y="1344"/>
                    </a:lnTo>
                    <a:lnTo>
                      <a:pt x="11" y="1339"/>
                    </a:lnTo>
                    <a:lnTo>
                      <a:pt x="14" y="1335"/>
                    </a:lnTo>
                    <a:lnTo>
                      <a:pt x="20" y="1332"/>
                    </a:lnTo>
                    <a:lnTo>
                      <a:pt x="25" y="1329"/>
                    </a:lnTo>
                    <a:lnTo>
                      <a:pt x="33" y="1324"/>
                    </a:lnTo>
                    <a:lnTo>
                      <a:pt x="42" y="1322"/>
                    </a:lnTo>
                    <a:lnTo>
                      <a:pt x="51" y="1319"/>
                    </a:lnTo>
                    <a:lnTo>
                      <a:pt x="55" y="1293"/>
                    </a:lnTo>
                    <a:lnTo>
                      <a:pt x="0" y="1229"/>
                    </a:lnTo>
                    <a:lnTo>
                      <a:pt x="0" y="1229"/>
                    </a:lnTo>
                    <a:lnTo>
                      <a:pt x="22" y="1214"/>
                    </a:lnTo>
                    <a:lnTo>
                      <a:pt x="45" y="1197"/>
                    </a:lnTo>
                    <a:lnTo>
                      <a:pt x="68" y="1178"/>
                    </a:lnTo>
                    <a:lnTo>
                      <a:pt x="91" y="1158"/>
                    </a:lnTo>
                    <a:lnTo>
                      <a:pt x="114" y="1137"/>
                    </a:lnTo>
                    <a:lnTo>
                      <a:pt x="138" y="1115"/>
                    </a:lnTo>
                    <a:lnTo>
                      <a:pt x="161" y="1092"/>
                    </a:lnTo>
                    <a:lnTo>
                      <a:pt x="183" y="1068"/>
                    </a:lnTo>
                    <a:lnTo>
                      <a:pt x="206" y="1045"/>
                    </a:lnTo>
                    <a:lnTo>
                      <a:pt x="228" y="1021"/>
                    </a:lnTo>
                    <a:lnTo>
                      <a:pt x="250" y="997"/>
                    </a:lnTo>
                    <a:lnTo>
                      <a:pt x="269" y="972"/>
                    </a:lnTo>
                    <a:lnTo>
                      <a:pt x="289" y="948"/>
                    </a:lnTo>
                    <a:lnTo>
                      <a:pt x="307" y="926"/>
                    </a:lnTo>
                    <a:lnTo>
                      <a:pt x="323" y="903"/>
                    </a:lnTo>
                    <a:lnTo>
                      <a:pt x="338" y="880"/>
                    </a:lnTo>
                    <a:lnTo>
                      <a:pt x="345" y="871"/>
                    </a:lnTo>
                    <a:lnTo>
                      <a:pt x="350" y="861"/>
                    </a:lnTo>
                    <a:lnTo>
                      <a:pt x="355" y="851"/>
                    </a:lnTo>
                    <a:lnTo>
                      <a:pt x="359" y="840"/>
                    </a:lnTo>
                    <a:lnTo>
                      <a:pt x="367" y="819"/>
                    </a:lnTo>
                    <a:lnTo>
                      <a:pt x="373" y="797"/>
                    </a:lnTo>
                    <a:lnTo>
                      <a:pt x="381" y="777"/>
                    </a:lnTo>
                    <a:lnTo>
                      <a:pt x="389" y="755"/>
                    </a:lnTo>
                    <a:lnTo>
                      <a:pt x="395" y="745"/>
                    </a:lnTo>
                    <a:lnTo>
                      <a:pt x="400" y="736"/>
                    </a:lnTo>
                    <a:lnTo>
                      <a:pt x="408" y="726"/>
                    </a:lnTo>
                    <a:lnTo>
                      <a:pt x="415" y="717"/>
                    </a:lnTo>
                    <a:lnTo>
                      <a:pt x="425" y="708"/>
                    </a:lnTo>
                    <a:lnTo>
                      <a:pt x="435" y="701"/>
                    </a:lnTo>
                    <a:lnTo>
                      <a:pt x="446" y="696"/>
                    </a:lnTo>
                    <a:lnTo>
                      <a:pt x="455" y="691"/>
                    </a:lnTo>
                    <a:lnTo>
                      <a:pt x="465" y="689"/>
                    </a:lnTo>
                    <a:lnTo>
                      <a:pt x="475" y="689"/>
                    </a:lnTo>
                    <a:lnTo>
                      <a:pt x="485" y="688"/>
                    </a:lnTo>
                    <a:lnTo>
                      <a:pt x="495" y="689"/>
                    </a:lnTo>
                    <a:lnTo>
                      <a:pt x="515" y="691"/>
                    </a:lnTo>
                    <a:lnTo>
                      <a:pt x="536" y="691"/>
                    </a:lnTo>
                    <a:lnTo>
                      <a:pt x="547" y="691"/>
                    </a:lnTo>
                    <a:lnTo>
                      <a:pt x="557" y="690"/>
                    </a:lnTo>
                    <a:lnTo>
                      <a:pt x="568" y="687"/>
                    </a:lnTo>
                    <a:lnTo>
                      <a:pt x="580" y="683"/>
                    </a:lnTo>
                    <a:lnTo>
                      <a:pt x="639" y="608"/>
                    </a:lnTo>
                    <a:lnTo>
                      <a:pt x="662" y="598"/>
                    </a:lnTo>
                    <a:lnTo>
                      <a:pt x="685" y="588"/>
                    </a:lnTo>
                    <a:lnTo>
                      <a:pt x="708" y="575"/>
                    </a:lnTo>
                    <a:lnTo>
                      <a:pt x="731" y="562"/>
                    </a:lnTo>
                    <a:lnTo>
                      <a:pt x="755" y="549"/>
                    </a:lnTo>
                    <a:lnTo>
                      <a:pt x="778" y="536"/>
                    </a:lnTo>
                    <a:lnTo>
                      <a:pt x="802" y="523"/>
                    </a:lnTo>
                    <a:lnTo>
                      <a:pt x="827" y="511"/>
                    </a:lnTo>
                    <a:lnTo>
                      <a:pt x="1132" y="374"/>
                    </a:lnTo>
                    <a:lnTo>
                      <a:pt x="1178" y="353"/>
                    </a:lnTo>
                    <a:lnTo>
                      <a:pt x="1224" y="334"/>
                    </a:lnTo>
                    <a:lnTo>
                      <a:pt x="1268" y="316"/>
                    </a:lnTo>
                    <a:lnTo>
                      <a:pt x="1312" y="296"/>
                    </a:lnTo>
                    <a:lnTo>
                      <a:pt x="1355" y="277"/>
                    </a:lnTo>
                    <a:lnTo>
                      <a:pt x="1397" y="255"/>
                    </a:lnTo>
                    <a:lnTo>
                      <a:pt x="1441" y="232"/>
                    </a:lnTo>
                    <a:lnTo>
                      <a:pt x="1485" y="208"/>
                    </a:lnTo>
                    <a:lnTo>
                      <a:pt x="1758" y="44"/>
                    </a:lnTo>
                    <a:lnTo>
                      <a:pt x="1771" y="33"/>
                    </a:lnTo>
                    <a:lnTo>
                      <a:pt x="1786" y="22"/>
                    </a:lnTo>
                    <a:lnTo>
                      <a:pt x="1801" y="11"/>
                    </a:lnTo>
                    <a:lnTo>
                      <a:pt x="1819" y="0"/>
                    </a:lnTo>
                    <a:lnTo>
                      <a:pt x="1819" y="0"/>
                    </a:lnTo>
                    <a:lnTo>
                      <a:pt x="1882" y="28"/>
                    </a:lnTo>
                    <a:lnTo>
                      <a:pt x="1889" y="48"/>
                    </a:lnTo>
                    <a:lnTo>
                      <a:pt x="1895" y="69"/>
                    </a:lnTo>
                    <a:lnTo>
                      <a:pt x="1900" y="94"/>
                    </a:lnTo>
                    <a:lnTo>
                      <a:pt x="1903" y="119"/>
                    </a:lnTo>
                    <a:lnTo>
                      <a:pt x="1907" y="145"/>
                    </a:lnTo>
                    <a:lnTo>
                      <a:pt x="1909" y="170"/>
                    </a:lnTo>
                    <a:lnTo>
                      <a:pt x="1910" y="193"/>
                    </a:lnTo>
                    <a:lnTo>
                      <a:pt x="1911" y="214"/>
                    </a:lnTo>
                    <a:lnTo>
                      <a:pt x="1911" y="227"/>
                    </a:lnTo>
                    <a:lnTo>
                      <a:pt x="1914" y="236"/>
                    </a:lnTo>
                    <a:lnTo>
                      <a:pt x="1915" y="239"/>
                    </a:lnTo>
                    <a:lnTo>
                      <a:pt x="1917" y="242"/>
                    </a:lnTo>
                    <a:lnTo>
                      <a:pt x="1921" y="245"/>
                    </a:lnTo>
                    <a:lnTo>
                      <a:pt x="1923" y="246"/>
                    </a:lnTo>
                    <a:lnTo>
                      <a:pt x="1929" y="250"/>
                    </a:lnTo>
                    <a:lnTo>
                      <a:pt x="1937" y="250"/>
                    </a:lnTo>
                    <a:lnTo>
                      <a:pt x="1945" y="250"/>
                    </a:lnTo>
                    <a:lnTo>
                      <a:pt x="1953" y="247"/>
                    </a:lnTo>
                    <a:lnTo>
                      <a:pt x="1972" y="242"/>
                    </a:lnTo>
                    <a:lnTo>
                      <a:pt x="1989" y="235"/>
                    </a:lnTo>
                    <a:lnTo>
                      <a:pt x="1998" y="232"/>
                    </a:lnTo>
                    <a:lnTo>
                      <a:pt x="2005" y="230"/>
                    </a:lnTo>
                    <a:lnTo>
                      <a:pt x="2012" y="228"/>
                    </a:lnTo>
                    <a:lnTo>
                      <a:pt x="2017" y="228"/>
                    </a:lnTo>
                    <a:lnTo>
                      <a:pt x="2023" y="229"/>
                    </a:lnTo>
                    <a:lnTo>
                      <a:pt x="2026" y="231"/>
                    </a:lnTo>
                    <a:lnTo>
                      <a:pt x="2028" y="236"/>
                    </a:lnTo>
                    <a:lnTo>
                      <a:pt x="2030" y="240"/>
                    </a:lnTo>
                    <a:lnTo>
                      <a:pt x="2032" y="250"/>
                    </a:lnTo>
                    <a:lnTo>
                      <a:pt x="2036" y="258"/>
                    </a:lnTo>
                    <a:lnTo>
                      <a:pt x="2045" y="264"/>
                    </a:lnTo>
                    <a:lnTo>
                      <a:pt x="2068" y="271"/>
                    </a:lnTo>
                    <a:lnTo>
                      <a:pt x="2098" y="281"/>
                    </a:lnTo>
                    <a:lnTo>
                      <a:pt x="2129" y="293"/>
                    </a:lnTo>
                    <a:lnTo>
                      <a:pt x="2143" y="298"/>
                    </a:lnTo>
                    <a:lnTo>
                      <a:pt x="2155" y="305"/>
                    </a:lnTo>
                    <a:lnTo>
                      <a:pt x="2164" y="311"/>
                    </a:lnTo>
                    <a:lnTo>
                      <a:pt x="2171" y="317"/>
                    </a:lnTo>
                    <a:lnTo>
                      <a:pt x="2172" y="320"/>
                    </a:lnTo>
                    <a:lnTo>
                      <a:pt x="2173" y="323"/>
                    </a:lnTo>
                    <a:lnTo>
                      <a:pt x="2172" y="326"/>
                    </a:lnTo>
                    <a:lnTo>
                      <a:pt x="2171" y="328"/>
                    </a:lnTo>
                    <a:lnTo>
                      <a:pt x="2168" y="332"/>
                    </a:lnTo>
                    <a:lnTo>
                      <a:pt x="2163" y="335"/>
                    </a:lnTo>
                    <a:lnTo>
                      <a:pt x="2157" y="337"/>
                    </a:lnTo>
                    <a:lnTo>
                      <a:pt x="2149" y="340"/>
                    </a:lnTo>
                    <a:lnTo>
                      <a:pt x="2140" y="345"/>
                    </a:lnTo>
                    <a:lnTo>
                      <a:pt x="2129" y="350"/>
                    </a:lnTo>
                    <a:lnTo>
                      <a:pt x="2120" y="358"/>
                    </a:lnTo>
                    <a:lnTo>
                      <a:pt x="2114" y="366"/>
                    </a:lnTo>
                    <a:lnTo>
                      <a:pt x="2110" y="371"/>
                    </a:lnTo>
                    <a:lnTo>
                      <a:pt x="2109" y="376"/>
                    </a:lnTo>
                    <a:lnTo>
                      <a:pt x="2108" y="380"/>
                    </a:lnTo>
                    <a:lnTo>
                      <a:pt x="2107" y="386"/>
                    </a:lnTo>
                    <a:lnTo>
                      <a:pt x="2108" y="390"/>
                    </a:lnTo>
                    <a:lnTo>
                      <a:pt x="2110" y="395"/>
                    </a:lnTo>
                    <a:lnTo>
                      <a:pt x="2114" y="401"/>
                    </a:lnTo>
                    <a:lnTo>
                      <a:pt x="2118" y="405"/>
                    </a:lnTo>
                    <a:lnTo>
                      <a:pt x="2128" y="416"/>
                    </a:lnTo>
                    <a:lnTo>
                      <a:pt x="2136" y="425"/>
                    </a:lnTo>
                    <a:lnTo>
                      <a:pt x="2141" y="432"/>
                    </a:lnTo>
                    <a:lnTo>
                      <a:pt x="2144" y="439"/>
                    </a:lnTo>
                    <a:lnTo>
                      <a:pt x="2144" y="445"/>
                    </a:lnTo>
                    <a:lnTo>
                      <a:pt x="2142" y="454"/>
                    </a:lnTo>
                    <a:lnTo>
                      <a:pt x="2136" y="465"/>
                    </a:lnTo>
                    <a:lnTo>
                      <a:pt x="2130" y="479"/>
                    </a:lnTo>
                    <a:lnTo>
                      <a:pt x="2130" y="484"/>
                    </a:lnTo>
                    <a:lnTo>
                      <a:pt x="2129" y="489"/>
                    </a:lnTo>
                    <a:lnTo>
                      <a:pt x="2128" y="494"/>
                    </a:lnTo>
                    <a:lnTo>
                      <a:pt x="2124" y="498"/>
                    </a:lnTo>
                    <a:lnTo>
                      <a:pt x="2119" y="508"/>
                    </a:lnTo>
                    <a:lnTo>
                      <a:pt x="2112" y="517"/>
                    </a:lnTo>
                    <a:lnTo>
                      <a:pt x="2108" y="526"/>
                    </a:lnTo>
                    <a:lnTo>
                      <a:pt x="2105" y="534"/>
                    </a:lnTo>
                    <a:lnTo>
                      <a:pt x="2102" y="541"/>
                    </a:lnTo>
                    <a:lnTo>
                      <a:pt x="2101" y="550"/>
                    </a:lnTo>
                    <a:lnTo>
                      <a:pt x="2097" y="565"/>
                    </a:lnTo>
                    <a:lnTo>
                      <a:pt x="2093" y="582"/>
                    </a:lnTo>
                    <a:lnTo>
                      <a:pt x="2092" y="590"/>
                    </a:lnTo>
                    <a:lnTo>
                      <a:pt x="2092" y="597"/>
                    </a:lnTo>
                    <a:lnTo>
                      <a:pt x="2092" y="606"/>
                    </a:lnTo>
                    <a:lnTo>
                      <a:pt x="2092" y="615"/>
                    </a:lnTo>
                    <a:lnTo>
                      <a:pt x="2093" y="622"/>
                    </a:lnTo>
                    <a:lnTo>
                      <a:pt x="2093" y="631"/>
                    </a:lnTo>
                    <a:lnTo>
                      <a:pt x="2093" y="638"/>
                    </a:lnTo>
                    <a:lnTo>
                      <a:pt x="2092" y="645"/>
                    </a:lnTo>
                    <a:lnTo>
                      <a:pt x="2092" y="645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99" name="Freeform 14">
                <a:extLst>
                  <a:ext uri="{FF2B5EF4-FFF2-40B4-BE49-F238E27FC236}">
                    <a16:creationId xmlns:a16="http://schemas.microsoft.com/office/drawing/2014/main" id="{8EC1B3C8-65A4-46E2-BB5E-183871A128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9613" y="-317095"/>
                <a:ext cx="862013" cy="690563"/>
              </a:xfrm>
              <a:custGeom>
                <a:avLst/>
                <a:gdLst>
                  <a:gd name="T0" fmla="*/ 2067 w 2173"/>
                  <a:gd name="T1" fmla="*/ 846 h 1740"/>
                  <a:gd name="T2" fmla="*/ 2027 w 2173"/>
                  <a:gd name="T3" fmla="*/ 987 h 1740"/>
                  <a:gd name="T4" fmla="*/ 1981 w 2173"/>
                  <a:gd name="T5" fmla="*/ 1007 h 1740"/>
                  <a:gd name="T6" fmla="*/ 1942 w 2173"/>
                  <a:gd name="T7" fmla="*/ 1072 h 1740"/>
                  <a:gd name="T8" fmla="*/ 1905 w 2173"/>
                  <a:gd name="T9" fmla="*/ 1245 h 1740"/>
                  <a:gd name="T10" fmla="*/ 1952 w 2173"/>
                  <a:gd name="T11" fmla="*/ 1363 h 1740"/>
                  <a:gd name="T12" fmla="*/ 1966 w 2173"/>
                  <a:gd name="T13" fmla="*/ 1473 h 1740"/>
                  <a:gd name="T14" fmla="*/ 1908 w 2173"/>
                  <a:gd name="T15" fmla="*/ 1645 h 1740"/>
                  <a:gd name="T16" fmla="*/ 1814 w 2173"/>
                  <a:gd name="T17" fmla="*/ 1728 h 1740"/>
                  <a:gd name="T18" fmla="*/ 1679 w 2173"/>
                  <a:gd name="T19" fmla="*/ 1690 h 1740"/>
                  <a:gd name="T20" fmla="*/ 1593 w 2173"/>
                  <a:gd name="T21" fmla="*/ 1576 h 1740"/>
                  <a:gd name="T22" fmla="*/ 1531 w 2173"/>
                  <a:gd name="T23" fmla="*/ 1566 h 1740"/>
                  <a:gd name="T24" fmla="*/ 1426 w 2173"/>
                  <a:gd name="T25" fmla="*/ 1601 h 1740"/>
                  <a:gd name="T26" fmla="*/ 1365 w 2173"/>
                  <a:gd name="T27" fmla="*/ 1569 h 1740"/>
                  <a:gd name="T28" fmla="*/ 1286 w 2173"/>
                  <a:gd name="T29" fmla="*/ 1420 h 1740"/>
                  <a:gd name="T30" fmla="*/ 1237 w 2173"/>
                  <a:gd name="T31" fmla="*/ 1373 h 1740"/>
                  <a:gd name="T32" fmla="*/ 1113 w 2173"/>
                  <a:gd name="T33" fmla="*/ 1326 h 1740"/>
                  <a:gd name="T34" fmla="*/ 1046 w 2173"/>
                  <a:gd name="T35" fmla="*/ 1226 h 1740"/>
                  <a:gd name="T36" fmla="*/ 991 w 2173"/>
                  <a:gd name="T37" fmla="*/ 1124 h 1740"/>
                  <a:gd name="T38" fmla="*/ 954 w 2173"/>
                  <a:gd name="T39" fmla="*/ 1155 h 1740"/>
                  <a:gd name="T40" fmla="*/ 923 w 2173"/>
                  <a:gd name="T41" fmla="*/ 1230 h 1740"/>
                  <a:gd name="T42" fmla="*/ 915 w 2173"/>
                  <a:gd name="T43" fmla="*/ 1313 h 1740"/>
                  <a:gd name="T44" fmla="*/ 889 w 2173"/>
                  <a:gd name="T45" fmla="*/ 1348 h 1740"/>
                  <a:gd name="T46" fmla="*/ 931 w 2173"/>
                  <a:gd name="T47" fmla="*/ 1398 h 1740"/>
                  <a:gd name="T48" fmla="*/ 943 w 2173"/>
                  <a:gd name="T49" fmla="*/ 1434 h 1740"/>
                  <a:gd name="T50" fmla="*/ 769 w 2173"/>
                  <a:gd name="T51" fmla="*/ 1553 h 1740"/>
                  <a:gd name="T52" fmla="*/ 659 w 2173"/>
                  <a:gd name="T53" fmla="*/ 1631 h 1740"/>
                  <a:gd name="T54" fmla="*/ 642 w 2173"/>
                  <a:gd name="T55" fmla="*/ 1682 h 1740"/>
                  <a:gd name="T56" fmla="*/ 586 w 2173"/>
                  <a:gd name="T57" fmla="*/ 1716 h 1740"/>
                  <a:gd name="T58" fmla="*/ 471 w 2173"/>
                  <a:gd name="T59" fmla="*/ 1727 h 1740"/>
                  <a:gd name="T60" fmla="*/ 418 w 2173"/>
                  <a:gd name="T61" fmla="*/ 1581 h 1740"/>
                  <a:gd name="T62" fmla="*/ 360 w 2173"/>
                  <a:gd name="T63" fmla="*/ 1492 h 1740"/>
                  <a:gd name="T64" fmla="*/ 254 w 2173"/>
                  <a:gd name="T65" fmla="*/ 1488 h 1740"/>
                  <a:gd name="T66" fmla="*/ 124 w 2173"/>
                  <a:gd name="T67" fmla="*/ 1487 h 1740"/>
                  <a:gd name="T68" fmla="*/ 38 w 2173"/>
                  <a:gd name="T69" fmla="*/ 1408 h 1740"/>
                  <a:gd name="T70" fmla="*/ 7 w 2173"/>
                  <a:gd name="T71" fmla="*/ 1348 h 1740"/>
                  <a:gd name="T72" fmla="*/ 51 w 2173"/>
                  <a:gd name="T73" fmla="*/ 1319 h 1740"/>
                  <a:gd name="T74" fmla="*/ 114 w 2173"/>
                  <a:gd name="T75" fmla="*/ 1137 h 1740"/>
                  <a:gd name="T76" fmla="*/ 289 w 2173"/>
                  <a:gd name="T77" fmla="*/ 948 h 1740"/>
                  <a:gd name="T78" fmla="*/ 367 w 2173"/>
                  <a:gd name="T79" fmla="*/ 819 h 1740"/>
                  <a:gd name="T80" fmla="*/ 425 w 2173"/>
                  <a:gd name="T81" fmla="*/ 708 h 1740"/>
                  <a:gd name="T82" fmla="*/ 515 w 2173"/>
                  <a:gd name="T83" fmla="*/ 691 h 1740"/>
                  <a:gd name="T84" fmla="*/ 685 w 2173"/>
                  <a:gd name="T85" fmla="*/ 588 h 1740"/>
                  <a:gd name="T86" fmla="*/ 1178 w 2173"/>
                  <a:gd name="T87" fmla="*/ 353 h 1740"/>
                  <a:gd name="T88" fmla="*/ 1758 w 2173"/>
                  <a:gd name="T89" fmla="*/ 44 h 1740"/>
                  <a:gd name="T90" fmla="*/ 1895 w 2173"/>
                  <a:gd name="T91" fmla="*/ 69 h 1740"/>
                  <a:gd name="T92" fmla="*/ 1914 w 2173"/>
                  <a:gd name="T93" fmla="*/ 236 h 1740"/>
                  <a:gd name="T94" fmla="*/ 1953 w 2173"/>
                  <a:gd name="T95" fmla="*/ 247 h 1740"/>
                  <a:gd name="T96" fmla="*/ 2026 w 2173"/>
                  <a:gd name="T97" fmla="*/ 231 h 1740"/>
                  <a:gd name="T98" fmla="*/ 2129 w 2173"/>
                  <a:gd name="T99" fmla="*/ 293 h 1740"/>
                  <a:gd name="T100" fmla="*/ 2171 w 2173"/>
                  <a:gd name="T101" fmla="*/ 328 h 1740"/>
                  <a:gd name="T102" fmla="*/ 2114 w 2173"/>
                  <a:gd name="T103" fmla="*/ 366 h 1740"/>
                  <a:gd name="T104" fmla="*/ 2118 w 2173"/>
                  <a:gd name="T105" fmla="*/ 405 h 1740"/>
                  <a:gd name="T106" fmla="*/ 2130 w 2173"/>
                  <a:gd name="T107" fmla="*/ 479 h 1740"/>
                  <a:gd name="T108" fmla="*/ 2105 w 2173"/>
                  <a:gd name="T109" fmla="*/ 534 h 1740"/>
                  <a:gd name="T110" fmla="*/ 2092 w 2173"/>
                  <a:gd name="T111" fmla="*/ 615 h 17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173" h="1740">
                    <a:moveTo>
                      <a:pt x="2092" y="645"/>
                    </a:moveTo>
                    <a:lnTo>
                      <a:pt x="2062" y="743"/>
                    </a:lnTo>
                    <a:lnTo>
                      <a:pt x="2065" y="753"/>
                    </a:lnTo>
                    <a:lnTo>
                      <a:pt x="2067" y="766"/>
                    </a:lnTo>
                    <a:lnTo>
                      <a:pt x="2069" y="783"/>
                    </a:lnTo>
                    <a:lnTo>
                      <a:pt x="2069" y="803"/>
                    </a:lnTo>
                    <a:lnTo>
                      <a:pt x="2068" y="823"/>
                    </a:lnTo>
                    <a:lnTo>
                      <a:pt x="2067" y="846"/>
                    </a:lnTo>
                    <a:lnTo>
                      <a:pt x="2064" y="868"/>
                    </a:lnTo>
                    <a:lnTo>
                      <a:pt x="2060" y="892"/>
                    </a:lnTo>
                    <a:lnTo>
                      <a:pt x="2055" y="915"/>
                    </a:lnTo>
                    <a:lnTo>
                      <a:pt x="2050" y="937"/>
                    </a:lnTo>
                    <a:lnTo>
                      <a:pt x="2043" y="956"/>
                    </a:lnTo>
                    <a:lnTo>
                      <a:pt x="2036" y="973"/>
                    </a:lnTo>
                    <a:lnTo>
                      <a:pt x="2031" y="981"/>
                    </a:lnTo>
                    <a:lnTo>
                      <a:pt x="2027" y="987"/>
                    </a:lnTo>
                    <a:lnTo>
                      <a:pt x="2023" y="993"/>
                    </a:lnTo>
                    <a:lnTo>
                      <a:pt x="2018" y="998"/>
                    </a:lnTo>
                    <a:lnTo>
                      <a:pt x="2013" y="1001"/>
                    </a:lnTo>
                    <a:lnTo>
                      <a:pt x="2007" y="1003"/>
                    </a:lnTo>
                    <a:lnTo>
                      <a:pt x="2002" y="1006"/>
                    </a:lnTo>
                    <a:lnTo>
                      <a:pt x="1997" y="1006"/>
                    </a:lnTo>
                    <a:lnTo>
                      <a:pt x="1989" y="1006"/>
                    </a:lnTo>
                    <a:lnTo>
                      <a:pt x="1981" y="1007"/>
                    </a:lnTo>
                    <a:lnTo>
                      <a:pt x="1975" y="1010"/>
                    </a:lnTo>
                    <a:lnTo>
                      <a:pt x="1968" y="1013"/>
                    </a:lnTo>
                    <a:lnTo>
                      <a:pt x="1964" y="1019"/>
                    </a:lnTo>
                    <a:lnTo>
                      <a:pt x="1959" y="1025"/>
                    </a:lnTo>
                    <a:lnTo>
                      <a:pt x="1955" y="1032"/>
                    </a:lnTo>
                    <a:lnTo>
                      <a:pt x="1952" y="1039"/>
                    </a:lnTo>
                    <a:lnTo>
                      <a:pt x="1947" y="1055"/>
                    </a:lnTo>
                    <a:lnTo>
                      <a:pt x="1942" y="1072"/>
                    </a:lnTo>
                    <a:lnTo>
                      <a:pt x="1940" y="1089"/>
                    </a:lnTo>
                    <a:lnTo>
                      <a:pt x="1938" y="1103"/>
                    </a:lnTo>
                    <a:lnTo>
                      <a:pt x="1935" y="1126"/>
                    </a:lnTo>
                    <a:lnTo>
                      <a:pt x="1930" y="1149"/>
                    </a:lnTo>
                    <a:lnTo>
                      <a:pt x="1924" y="1173"/>
                    </a:lnTo>
                    <a:lnTo>
                      <a:pt x="1917" y="1198"/>
                    </a:lnTo>
                    <a:lnTo>
                      <a:pt x="1911" y="1222"/>
                    </a:lnTo>
                    <a:lnTo>
                      <a:pt x="1905" y="1245"/>
                    </a:lnTo>
                    <a:lnTo>
                      <a:pt x="1902" y="1269"/>
                    </a:lnTo>
                    <a:lnTo>
                      <a:pt x="1901" y="1291"/>
                    </a:lnTo>
                    <a:lnTo>
                      <a:pt x="1912" y="1303"/>
                    </a:lnTo>
                    <a:lnTo>
                      <a:pt x="1922" y="1315"/>
                    </a:lnTo>
                    <a:lnTo>
                      <a:pt x="1930" y="1326"/>
                    </a:lnTo>
                    <a:lnTo>
                      <a:pt x="1939" y="1338"/>
                    </a:lnTo>
                    <a:lnTo>
                      <a:pt x="1946" y="1351"/>
                    </a:lnTo>
                    <a:lnTo>
                      <a:pt x="1952" y="1363"/>
                    </a:lnTo>
                    <a:lnTo>
                      <a:pt x="1958" y="1376"/>
                    </a:lnTo>
                    <a:lnTo>
                      <a:pt x="1962" y="1389"/>
                    </a:lnTo>
                    <a:lnTo>
                      <a:pt x="1965" y="1403"/>
                    </a:lnTo>
                    <a:lnTo>
                      <a:pt x="1967" y="1416"/>
                    </a:lnTo>
                    <a:lnTo>
                      <a:pt x="1968" y="1430"/>
                    </a:lnTo>
                    <a:lnTo>
                      <a:pt x="1968" y="1444"/>
                    </a:lnTo>
                    <a:lnTo>
                      <a:pt x="1968" y="1459"/>
                    </a:lnTo>
                    <a:lnTo>
                      <a:pt x="1966" y="1473"/>
                    </a:lnTo>
                    <a:lnTo>
                      <a:pt x="1963" y="1489"/>
                    </a:lnTo>
                    <a:lnTo>
                      <a:pt x="1959" y="1505"/>
                    </a:lnTo>
                    <a:lnTo>
                      <a:pt x="1950" y="1531"/>
                    </a:lnTo>
                    <a:lnTo>
                      <a:pt x="1942" y="1555"/>
                    </a:lnTo>
                    <a:lnTo>
                      <a:pt x="1934" y="1578"/>
                    </a:lnTo>
                    <a:lnTo>
                      <a:pt x="1926" y="1601"/>
                    </a:lnTo>
                    <a:lnTo>
                      <a:pt x="1917" y="1622"/>
                    </a:lnTo>
                    <a:lnTo>
                      <a:pt x="1908" y="1645"/>
                    </a:lnTo>
                    <a:lnTo>
                      <a:pt x="1897" y="1668"/>
                    </a:lnTo>
                    <a:lnTo>
                      <a:pt x="1886" y="1691"/>
                    </a:lnTo>
                    <a:lnTo>
                      <a:pt x="1861" y="1740"/>
                    </a:lnTo>
                    <a:lnTo>
                      <a:pt x="1861" y="1740"/>
                    </a:lnTo>
                    <a:lnTo>
                      <a:pt x="1849" y="1737"/>
                    </a:lnTo>
                    <a:lnTo>
                      <a:pt x="1837" y="1734"/>
                    </a:lnTo>
                    <a:lnTo>
                      <a:pt x="1826" y="1730"/>
                    </a:lnTo>
                    <a:lnTo>
                      <a:pt x="1814" y="1728"/>
                    </a:lnTo>
                    <a:lnTo>
                      <a:pt x="1793" y="1725"/>
                    </a:lnTo>
                    <a:lnTo>
                      <a:pt x="1770" y="1722"/>
                    </a:lnTo>
                    <a:lnTo>
                      <a:pt x="1747" y="1717"/>
                    </a:lnTo>
                    <a:lnTo>
                      <a:pt x="1725" y="1712"/>
                    </a:lnTo>
                    <a:lnTo>
                      <a:pt x="1714" y="1708"/>
                    </a:lnTo>
                    <a:lnTo>
                      <a:pt x="1702" y="1703"/>
                    </a:lnTo>
                    <a:lnTo>
                      <a:pt x="1690" y="1697"/>
                    </a:lnTo>
                    <a:lnTo>
                      <a:pt x="1679" y="1690"/>
                    </a:lnTo>
                    <a:lnTo>
                      <a:pt x="1670" y="1685"/>
                    </a:lnTo>
                    <a:lnTo>
                      <a:pt x="1663" y="1677"/>
                    </a:lnTo>
                    <a:lnTo>
                      <a:pt x="1655" y="1669"/>
                    </a:lnTo>
                    <a:lnTo>
                      <a:pt x="1649" y="1659"/>
                    </a:lnTo>
                    <a:lnTo>
                      <a:pt x="1633" y="1637"/>
                    </a:lnTo>
                    <a:lnTo>
                      <a:pt x="1620" y="1615"/>
                    </a:lnTo>
                    <a:lnTo>
                      <a:pt x="1606" y="1593"/>
                    </a:lnTo>
                    <a:lnTo>
                      <a:pt x="1593" y="1576"/>
                    </a:lnTo>
                    <a:lnTo>
                      <a:pt x="1586" y="1568"/>
                    </a:lnTo>
                    <a:lnTo>
                      <a:pt x="1579" y="1563"/>
                    </a:lnTo>
                    <a:lnTo>
                      <a:pt x="1573" y="1560"/>
                    </a:lnTo>
                    <a:lnTo>
                      <a:pt x="1565" y="1559"/>
                    </a:lnTo>
                    <a:lnTo>
                      <a:pt x="1557" y="1560"/>
                    </a:lnTo>
                    <a:lnTo>
                      <a:pt x="1548" y="1561"/>
                    </a:lnTo>
                    <a:lnTo>
                      <a:pt x="1539" y="1563"/>
                    </a:lnTo>
                    <a:lnTo>
                      <a:pt x="1531" y="1566"/>
                    </a:lnTo>
                    <a:lnTo>
                      <a:pt x="1513" y="1574"/>
                    </a:lnTo>
                    <a:lnTo>
                      <a:pt x="1496" y="1582"/>
                    </a:lnTo>
                    <a:lnTo>
                      <a:pt x="1479" y="1591"/>
                    </a:lnTo>
                    <a:lnTo>
                      <a:pt x="1461" y="1597"/>
                    </a:lnTo>
                    <a:lnTo>
                      <a:pt x="1453" y="1600"/>
                    </a:lnTo>
                    <a:lnTo>
                      <a:pt x="1444" y="1601"/>
                    </a:lnTo>
                    <a:lnTo>
                      <a:pt x="1435" y="1601"/>
                    </a:lnTo>
                    <a:lnTo>
                      <a:pt x="1426" y="1601"/>
                    </a:lnTo>
                    <a:lnTo>
                      <a:pt x="1417" y="1597"/>
                    </a:lnTo>
                    <a:lnTo>
                      <a:pt x="1407" y="1595"/>
                    </a:lnTo>
                    <a:lnTo>
                      <a:pt x="1398" y="1592"/>
                    </a:lnTo>
                    <a:lnTo>
                      <a:pt x="1391" y="1588"/>
                    </a:lnTo>
                    <a:lnTo>
                      <a:pt x="1383" y="1585"/>
                    </a:lnTo>
                    <a:lnTo>
                      <a:pt x="1377" y="1580"/>
                    </a:lnTo>
                    <a:lnTo>
                      <a:pt x="1370" y="1575"/>
                    </a:lnTo>
                    <a:lnTo>
                      <a:pt x="1365" y="1569"/>
                    </a:lnTo>
                    <a:lnTo>
                      <a:pt x="1343" y="1546"/>
                    </a:lnTo>
                    <a:lnTo>
                      <a:pt x="1317" y="1516"/>
                    </a:lnTo>
                    <a:lnTo>
                      <a:pt x="1309" y="1500"/>
                    </a:lnTo>
                    <a:lnTo>
                      <a:pt x="1305" y="1483"/>
                    </a:lnTo>
                    <a:lnTo>
                      <a:pt x="1301" y="1467"/>
                    </a:lnTo>
                    <a:lnTo>
                      <a:pt x="1296" y="1452"/>
                    </a:lnTo>
                    <a:lnTo>
                      <a:pt x="1292" y="1435"/>
                    </a:lnTo>
                    <a:lnTo>
                      <a:pt x="1286" y="1420"/>
                    </a:lnTo>
                    <a:lnTo>
                      <a:pt x="1281" y="1413"/>
                    </a:lnTo>
                    <a:lnTo>
                      <a:pt x="1277" y="1405"/>
                    </a:lnTo>
                    <a:lnTo>
                      <a:pt x="1270" y="1399"/>
                    </a:lnTo>
                    <a:lnTo>
                      <a:pt x="1264" y="1391"/>
                    </a:lnTo>
                    <a:lnTo>
                      <a:pt x="1257" y="1386"/>
                    </a:lnTo>
                    <a:lnTo>
                      <a:pt x="1251" y="1381"/>
                    </a:lnTo>
                    <a:lnTo>
                      <a:pt x="1243" y="1377"/>
                    </a:lnTo>
                    <a:lnTo>
                      <a:pt x="1237" y="1373"/>
                    </a:lnTo>
                    <a:lnTo>
                      <a:pt x="1222" y="1366"/>
                    </a:lnTo>
                    <a:lnTo>
                      <a:pt x="1207" y="1361"/>
                    </a:lnTo>
                    <a:lnTo>
                      <a:pt x="1174" y="1351"/>
                    </a:lnTo>
                    <a:lnTo>
                      <a:pt x="1143" y="1343"/>
                    </a:lnTo>
                    <a:lnTo>
                      <a:pt x="1135" y="1339"/>
                    </a:lnTo>
                    <a:lnTo>
                      <a:pt x="1127" y="1336"/>
                    </a:lnTo>
                    <a:lnTo>
                      <a:pt x="1121" y="1332"/>
                    </a:lnTo>
                    <a:lnTo>
                      <a:pt x="1113" y="1326"/>
                    </a:lnTo>
                    <a:lnTo>
                      <a:pt x="1107" y="1320"/>
                    </a:lnTo>
                    <a:lnTo>
                      <a:pt x="1100" y="1313"/>
                    </a:lnTo>
                    <a:lnTo>
                      <a:pt x="1094" y="1306"/>
                    </a:lnTo>
                    <a:lnTo>
                      <a:pt x="1087" y="1298"/>
                    </a:lnTo>
                    <a:lnTo>
                      <a:pt x="1076" y="1282"/>
                    </a:lnTo>
                    <a:lnTo>
                      <a:pt x="1066" y="1264"/>
                    </a:lnTo>
                    <a:lnTo>
                      <a:pt x="1056" y="1245"/>
                    </a:lnTo>
                    <a:lnTo>
                      <a:pt x="1046" y="1226"/>
                    </a:lnTo>
                    <a:lnTo>
                      <a:pt x="1030" y="1189"/>
                    </a:lnTo>
                    <a:lnTo>
                      <a:pt x="1016" y="1157"/>
                    </a:lnTo>
                    <a:lnTo>
                      <a:pt x="1009" y="1145"/>
                    </a:lnTo>
                    <a:lnTo>
                      <a:pt x="1003" y="1134"/>
                    </a:lnTo>
                    <a:lnTo>
                      <a:pt x="1000" y="1131"/>
                    </a:lnTo>
                    <a:lnTo>
                      <a:pt x="996" y="1128"/>
                    </a:lnTo>
                    <a:lnTo>
                      <a:pt x="994" y="1126"/>
                    </a:lnTo>
                    <a:lnTo>
                      <a:pt x="991" y="1124"/>
                    </a:lnTo>
                    <a:lnTo>
                      <a:pt x="990" y="1122"/>
                    </a:lnTo>
                    <a:lnTo>
                      <a:pt x="989" y="1121"/>
                    </a:lnTo>
                    <a:lnTo>
                      <a:pt x="987" y="1121"/>
                    </a:lnTo>
                    <a:lnTo>
                      <a:pt x="983" y="1121"/>
                    </a:lnTo>
                    <a:lnTo>
                      <a:pt x="978" y="1126"/>
                    </a:lnTo>
                    <a:lnTo>
                      <a:pt x="971" y="1132"/>
                    </a:lnTo>
                    <a:lnTo>
                      <a:pt x="959" y="1146"/>
                    </a:lnTo>
                    <a:lnTo>
                      <a:pt x="954" y="1155"/>
                    </a:lnTo>
                    <a:lnTo>
                      <a:pt x="946" y="1169"/>
                    </a:lnTo>
                    <a:lnTo>
                      <a:pt x="941" y="1183"/>
                    </a:lnTo>
                    <a:lnTo>
                      <a:pt x="938" y="1189"/>
                    </a:lnTo>
                    <a:lnTo>
                      <a:pt x="934" y="1196"/>
                    </a:lnTo>
                    <a:lnTo>
                      <a:pt x="931" y="1202"/>
                    </a:lnTo>
                    <a:lnTo>
                      <a:pt x="926" y="1209"/>
                    </a:lnTo>
                    <a:lnTo>
                      <a:pt x="924" y="1219"/>
                    </a:lnTo>
                    <a:lnTo>
                      <a:pt x="923" y="1230"/>
                    </a:lnTo>
                    <a:lnTo>
                      <a:pt x="923" y="1242"/>
                    </a:lnTo>
                    <a:lnTo>
                      <a:pt x="925" y="1255"/>
                    </a:lnTo>
                    <a:lnTo>
                      <a:pt x="926" y="1267"/>
                    </a:lnTo>
                    <a:lnTo>
                      <a:pt x="926" y="1280"/>
                    </a:lnTo>
                    <a:lnTo>
                      <a:pt x="926" y="1291"/>
                    </a:lnTo>
                    <a:lnTo>
                      <a:pt x="924" y="1302"/>
                    </a:lnTo>
                    <a:lnTo>
                      <a:pt x="920" y="1308"/>
                    </a:lnTo>
                    <a:lnTo>
                      <a:pt x="915" y="1313"/>
                    </a:lnTo>
                    <a:lnTo>
                      <a:pt x="910" y="1318"/>
                    </a:lnTo>
                    <a:lnTo>
                      <a:pt x="904" y="1323"/>
                    </a:lnTo>
                    <a:lnTo>
                      <a:pt x="899" y="1327"/>
                    </a:lnTo>
                    <a:lnTo>
                      <a:pt x="893" y="1333"/>
                    </a:lnTo>
                    <a:lnTo>
                      <a:pt x="892" y="1336"/>
                    </a:lnTo>
                    <a:lnTo>
                      <a:pt x="890" y="1339"/>
                    </a:lnTo>
                    <a:lnTo>
                      <a:pt x="890" y="1344"/>
                    </a:lnTo>
                    <a:lnTo>
                      <a:pt x="889" y="1348"/>
                    </a:lnTo>
                    <a:lnTo>
                      <a:pt x="890" y="1353"/>
                    </a:lnTo>
                    <a:lnTo>
                      <a:pt x="890" y="1358"/>
                    </a:lnTo>
                    <a:lnTo>
                      <a:pt x="891" y="1362"/>
                    </a:lnTo>
                    <a:lnTo>
                      <a:pt x="893" y="1366"/>
                    </a:lnTo>
                    <a:lnTo>
                      <a:pt x="898" y="1373"/>
                    </a:lnTo>
                    <a:lnTo>
                      <a:pt x="904" y="1379"/>
                    </a:lnTo>
                    <a:lnTo>
                      <a:pt x="917" y="1389"/>
                    </a:lnTo>
                    <a:lnTo>
                      <a:pt x="931" y="1398"/>
                    </a:lnTo>
                    <a:lnTo>
                      <a:pt x="938" y="1402"/>
                    </a:lnTo>
                    <a:lnTo>
                      <a:pt x="942" y="1407"/>
                    </a:lnTo>
                    <a:lnTo>
                      <a:pt x="946" y="1413"/>
                    </a:lnTo>
                    <a:lnTo>
                      <a:pt x="947" y="1419"/>
                    </a:lnTo>
                    <a:lnTo>
                      <a:pt x="947" y="1423"/>
                    </a:lnTo>
                    <a:lnTo>
                      <a:pt x="947" y="1426"/>
                    </a:lnTo>
                    <a:lnTo>
                      <a:pt x="945" y="1430"/>
                    </a:lnTo>
                    <a:lnTo>
                      <a:pt x="943" y="1434"/>
                    </a:lnTo>
                    <a:lnTo>
                      <a:pt x="938" y="1445"/>
                    </a:lnTo>
                    <a:lnTo>
                      <a:pt x="928" y="1457"/>
                    </a:lnTo>
                    <a:lnTo>
                      <a:pt x="915" y="1469"/>
                    </a:lnTo>
                    <a:lnTo>
                      <a:pt x="900" y="1481"/>
                    </a:lnTo>
                    <a:lnTo>
                      <a:pt x="881" y="1493"/>
                    </a:lnTo>
                    <a:lnTo>
                      <a:pt x="861" y="1505"/>
                    </a:lnTo>
                    <a:lnTo>
                      <a:pt x="816" y="1528"/>
                    </a:lnTo>
                    <a:lnTo>
                      <a:pt x="769" y="1553"/>
                    </a:lnTo>
                    <a:lnTo>
                      <a:pt x="746" y="1566"/>
                    </a:lnTo>
                    <a:lnTo>
                      <a:pt x="724" y="1579"/>
                    </a:lnTo>
                    <a:lnTo>
                      <a:pt x="704" y="1591"/>
                    </a:lnTo>
                    <a:lnTo>
                      <a:pt x="686" y="1604"/>
                    </a:lnTo>
                    <a:lnTo>
                      <a:pt x="678" y="1610"/>
                    </a:lnTo>
                    <a:lnTo>
                      <a:pt x="671" y="1618"/>
                    </a:lnTo>
                    <a:lnTo>
                      <a:pt x="665" y="1624"/>
                    </a:lnTo>
                    <a:lnTo>
                      <a:pt x="659" y="1631"/>
                    </a:lnTo>
                    <a:lnTo>
                      <a:pt x="655" y="1637"/>
                    </a:lnTo>
                    <a:lnTo>
                      <a:pt x="652" y="1645"/>
                    </a:lnTo>
                    <a:lnTo>
                      <a:pt x="649" y="1651"/>
                    </a:lnTo>
                    <a:lnTo>
                      <a:pt x="648" y="1658"/>
                    </a:lnTo>
                    <a:lnTo>
                      <a:pt x="647" y="1664"/>
                    </a:lnTo>
                    <a:lnTo>
                      <a:pt x="646" y="1671"/>
                    </a:lnTo>
                    <a:lnTo>
                      <a:pt x="644" y="1676"/>
                    </a:lnTo>
                    <a:lnTo>
                      <a:pt x="642" y="1682"/>
                    </a:lnTo>
                    <a:lnTo>
                      <a:pt x="639" y="1686"/>
                    </a:lnTo>
                    <a:lnTo>
                      <a:pt x="636" y="1690"/>
                    </a:lnTo>
                    <a:lnTo>
                      <a:pt x="632" y="1695"/>
                    </a:lnTo>
                    <a:lnTo>
                      <a:pt x="629" y="1698"/>
                    </a:lnTo>
                    <a:lnTo>
                      <a:pt x="619" y="1704"/>
                    </a:lnTo>
                    <a:lnTo>
                      <a:pt x="609" y="1709"/>
                    </a:lnTo>
                    <a:lnTo>
                      <a:pt x="597" y="1713"/>
                    </a:lnTo>
                    <a:lnTo>
                      <a:pt x="586" y="1716"/>
                    </a:lnTo>
                    <a:lnTo>
                      <a:pt x="560" y="1721"/>
                    </a:lnTo>
                    <a:lnTo>
                      <a:pt x="532" y="1724"/>
                    </a:lnTo>
                    <a:lnTo>
                      <a:pt x="506" y="1727"/>
                    </a:lnTo>
                    <a:lnTo>
                      <a:pt x="483" y="1732"/>
                    </a:lnTo>
                    <a:lnTo>
                      <a:pt x="479" y="1732"/>
                    </a:lnTo>
                    <a:lnTo>
                      <a:pt x="477" y="1731"/>
                    </a:lnTo>
                    <a:lnTo>
                      <a:pt x="474" y="1730"/>
                    </a:lnTo>
                    <a:lnTo>
                      <a:pt x="471" y="1727"/>
                    </a:lnTo>
                    <a:lnTo>
                      <a:pt x="465" y="1720"/>
                    </a:lnTo>
                    <a:lnTo>
                      <a:pt x="459" y="1709"/>
                    </a:lnTo>
                    <a:lnTo>
                      <a:pt x="453" y="1696"/>
                    </a:lnTo>
                    <a:lnTo>
                      <a:pt x="447" y="1682"/>
                    </a:lnTo>
                    <a:lnTo>
                      <a:pt x="441" y="1666"/>
                    </a:lnTo>
                    <a:lnTo>
                      <a:pt x="436" y="1648"/>
                    </a:lnTo>
                    <a:lnTo>
                      <a:pt x="426" y="1614"/>
                    </a:lnTo>
                    <a:lnTo>
                      <a:pt x="418" y="1581"/>
                    </a:lnTo>
                    <a:lnTo>
                      <a:pt x="410" y="1554"/>
                    </a:lnTo>
                    <a:lnTo>
                      <a:pt x="405" y="1539"/>
                    </a:lnTo>
                    <a:lnTo>
                      <a:pt x="399" y="1527"/>
                    </a:lnTo>
                    <a:lnTo>
                      <a:pt x="393" y="1518"/>
                    </a:lnTo>
                    <a:lnTo>
                      <a:pt x="385" y="1509"/>
                    </a:lnTo>
                    <a:lnTo>
                      <a:pt x="377" y="1501"/>
                    </a:lnTo>
                    <a:lnTo>
                      <a:pt x="369" y="1496"/>
                    </a:lnTo>
                    <a:lnTo>
                      <a:pt x="360" y="1492"/>
                    </a:lnTo>
                    <a:lnTo>
                      <a:pt x="350" y="1487"/>
                    </a:lnTo>
                    <a:lnTo>
                      <a:pt x="341" y="1485"/>
                    </a:lnTo>
                    <a:lnTo>
                      <a:pt x="331" y="1483"/>
                    </a:lnTo>
                    <a:lnTo>
                      <a:pt x="320" y="1482"/>
                    </a:lnTo>
                    <a:lnTo>
                      <a:pt x="310" y="1482"/>
                    </a:lnTo>
                    <a:lnTo>
                      <a:pt x="298" y="1483"/>
                    </a:lnTo>
                    <a:lnTo>
                      <a:pt x="277" y="1485"/>
                    </a:lnTo>
                    <a:lnTo>
                      <a:pt x="254" y="1488"/>
                    </a:lnTo>
                    <a:lnTo>
                      <a:pt x="230" y="1492"/>
                    </a:lnTo>
                    <a:lnTo>
                      <a:pt x="207" y="1495"/>
                    </a:lnTo>
                    <a:lnTo>
                      <a:pt x="185" y="1497"/>
                    </a:lnTo>
                    <a:lnTo>
                      <a:pt x="163" y="1497"/>
                    </a:lnTo>
                    <a:lnTo>
                      <a:pt x="153" y="1496"/>
                    </a:lnTo>
                    <a:lnTo>
                      <a:pt x="142" y="1494"/>
                    </a:lnTo>
                    <a:lnTo>
                      <a:pt x="133" y="1491"/>
                    </a:lnTo>
                    <a:lnTo>
                      <a:pt x="124" y="1487"/>
                    </a:lnTo>
                    <a:lnTo>
                      <a:pt x="115" y="1482"/>
                    </a:lnTo>
                    <a:lnTo>
                      <a:pt x="107" y="1477"/>
                    </a:lnTo>
                    <a:lnTo>
                      <a:pt x="99" y="1469"/>
                    </a:lnTo>
                    <a:lnTo>
                      <a:pt x="91" y="1460"/>
                    </a:lnTo>
                    <a:lnTo>
                      <a:pt x="78" y="1445"/>
                    </a:lnTo>
                    <a:lnTo>
                      <a:pt x="59" y="1428"/>
                    </a:lnTo>
                    <a:lnTo>
                      <a:pt x="49" y="1418"/>
                    </a:lnTo>
                    <a:lnTo>
                      <a:pt x="38" y="1408"/>
                    </a:lnTo>
                    <a:lnTo>
                      <a:pt x="29" y="1398"/>
                    </a:lnTo>
                    <a:lnTo>
                      <a:pt x="20" y="1387"/>
                    </a:lnTo>
                    <a:lnTo>
                      <a:pt x="13" y="1377"/>
                    </a:lnTo>
                    <a:lnTo>
                      <a:pt x="8" y="1367"/>
                    </a:lnTo>
                    <a:lnTo>
                      <a:pt x="7" y="1362"/>
                    </a:lnTo>
                    <a:lnTo>
                      <a:pt x="6" y="1358"/>
                    </a:lnTo>
                    <a:lnTo>
                      <a:pt x="6" y="1352"/>
                    </a:lnTo>
                    <a:lnTo>
                      <a:pt x="7" y="1348"/>
                    </a:lnTo>
                    <a:lnTo>
                      <a:pt x="8" y="1344"/>
                    </a:lnTo>
                    <a:lnTo>
                      <a:pt x="11" y="1339"/>
                    </a:lnTo>
                    <a:lnTo>
                      <a:pt x="14" y="1335"/>
                    </a:lnTo>
                    <a:lnTo>
                      <a:pt x="20" y="1332"/>
                    </a:lnTo>
                    <a:lnTo>
                      <a:pt x="25" y="1329"/>
                    </a:lnTo>
                    <a:lnTo>
                      <a:pt x="33" y="1324"/>
                    </a:lnTo>
                    <a:lnTo>
                      <a:pt x="42" y="1322"/>
                    </a:lnTo>
                    <a:lnTo>
                      <a:pt x="51" y="1319"/>
                    </a:lnTo>
                    <a:lnTo>
                      <a:pt x="55" y="1293"/>
                    </a:lnTo>
                    <a:lnTo>
                      <a:pt x="0" y="1229"/>
                    </a:lnTo>
                    <a:lnTo>
                      <a:pt x="0" y="1229"/>
                    </a:lnTo>
                    <a:lnTo>
                      <a:pt x="22" y="1214"/>
                    </a:lnTo>
                    <a:lnTo>
                      <a:pt x="45" y="1197"/>
                    </a:lnTo>
                    <a:lnTo>
                      <a:pt x="68" y="1178"/>
                    </a:lnTo>
                    <a:lnTo>
                      <a:pt x="91" y="1158"/>
                    </a:lnTo>
                    <a:lnTo>
                      <a:pt x="114" y="1137"/>
                    </a:lnTo>
                    <a:lnTo>
                      <a:pt x="138" y="1115"/>
                    </a:lnTo>
                    <a:lnTo>
                      <a:pt x="161" y="1092"/>
                    </a:lnTo>
                    <a:lnTo>
                      <a:pt x="183" y="1068"/>
                    </a:lnTo>
                    <a:lnTo>
                      <a:pt x="206" y="1045"/>
                    </a:lnTo>
                    <a:lnTo>
                      <a:pt x="228" y="1021"/>
                    </a:lnTo>
                    <a:lnTo>
                      <a:pt x="250" y="997"/>
                    </a:lnTo>
                    <a:lnTo>
                      <a:pt x="269" y="972"/>
                    </a:lnTo>
                    <a:lnTo>
                      <a:pt x="289" y="948"/>
                    </a:lnTo>
                    <a:lnTo>
                      <a:pt x="307" y="926"/>
                    </a:lnTo>
                    <a:lnTo>
                      <a:pt x="323" y="903"/>
                    </a:lnTo>
                    <a:lnTo>
                      <a:pt x="338" y="880"/>
                    </a:lnTo>
                    <a:lnTo>
                      <a:pt x="345" y="871"/>
                    </a:lnTo>
                    <a:lnTo>
                      <a:pt x="350" y="861"/>
                    </a:lnTo>
                    <a:lnTo>
                      <a:pt x="355" y="851"/>
                    </a:lnTo>
                    <a:lnTo>
                      <a:pt x="359" y="840"/>
                    </a:lnTo>
                    <a:lnTo>
                      <a:pt x="367" y="819"/>
                    </a:lnTo>
                    <a:lnTo>
                      <a:pt x="373" y="797"/>
                    </a:lnTo>
                    <a:lnTo>
                      <a:pt x="381" y="777"/>
                    </a:lnTo>
                    <a:lnTo>
                      <a:pt x="389" y="755"/>
                    </a:lnTo>
                    <a:lnTo>
                      <a:pt x="395" y="745"/>
                    </a:lnTo>
                    <a:lnTo>
                      <a:pt x="400" y="736"/>
                    </a:lnTo>
                    <a:lnTo>
                      <a:pt x="408" y="726"/>
                    </a:lnTo>
                    <a:lnTo>
                      <a:pt x="415" y="717"/>
                    </a:lnTo>
                    <a:lnTo>
                      <a:pt x="425" y="708"/>
                    </a:lnTo>
                    <a:lnTo>
                      <a:pt x="435" y="701"/>
                    </a:lnTo>
                    <a:lnTo>
                      <a:pt x="446" y="696"/>
                    </a:lnTo>
                    <a:lnTo>
                      <a:pt x="455" y="691"/>
                    </a:lnTo>
                    <a:lnTo>
                      <a:pt x="465" y="689"/>
                    </a:lnTo>
                    <a:lnTo>
                      <a:pt x="475" y="689"/>
                    </a:lnTo>
                    <a:lnTo>
                      <a:pt x="485" y="688"/>
                    </a:lnTo>
                    <a:lnTo>
                      <a:pt x="495" y="689"/>
                    </a:lnTo>
                    <a:lnTo>
                      <a:pt x="515" y="691"/>
                    </a:lnTo>
                    <a:lnTo>
                      <a:pt x="536" y="691"/>
                    </a:lnTo>
                    <a:lnTo>
                      <a:pt x="547" y="691"/>
                    </a:lnTo>
                    <a:lnTo>
                      <a:pt x="557" y="690"/>
                    </a:lnTo>
                    <a:lnTo>
                      <a:pt x="568" y="687"/>
                    </a:lnTo>
                    <a:lnTo>
                      <a:pt x="580" y="683"/>
                    </a:lnTo>
                    <a:lnTo>
                      <a:pt x="639" y="608"/>
                    </a:lnTo>
                    <a:lnTo>
                      <a:pt x="662" y="598"/>
                    </a:lnTo>
                    <a:lnTo>
                      <a:pt x="685" y="588"/>
                    </a:lnTo>
                    <a:lnTo>
                      <a:pt x="708" y="575"/>
                    </a:lnTo>
                    <a:lnTo>
                      <a:pt x="731" y="562"/>
                    </a:lnTo>
                    <a:lnTo>
                      <a:pt x="755" y="549"/>
                    </a:lnTo>
                    <a:lnTo>
                      <a:pt x="778" y="536"/>
                    </a:lnTo>
                    <a:lnTo>
                      <a:pt x="802" y="523"/>
                    </a:lnTo>
                    <a:lnTo>
                      <a:pt x="827" y="511"/>
                    </a:lnTo>
                    <a:lnTo>
                      <a:pt x="1132" y="374"/>
                    </a:lnTo>
                    <a:lnTo>
                      <a:pt x="1178" y="353"/>
                    </a:lnTo>
                    <a:lnTo>
                      <a:pt x="1224" y="334"/>
                    </a:lnTo>
                    <a:lnTo>
                      <a:pt x="1268" y="316"/>
                    </a:lnTo>
                    <a:lnTo>
                      <a:pt x="1312" y="296"/>
                    </a:lnTo>
                    <a:lnTo>
                      <a:pt x="1355" y="277"/>
                    </a:lnTo>
                    <a:lnTo>
                      <a:pt x="1397" y="255"/>
                    </a:lnTo>
                    <a:lnTo>
                      <a:pt x="1441" y="232"/>
                    </a:lnTo>
                    <a:lnTo>
                      <a:pt x="1485" y="208"/>
                    </a:lnTo>
                    <a:lnTo>
                      <a:pt x="1758" y="44"/>
                    </a:lnTo>
                    <a:lnTo>
                      <a:pt x="1771" y="33"/>
                    </a:lnTo>
                    <a:lnTo>
                      <a:pt x="1786" y="22"/>
                    </a:lnTo>
                    <a:lnTo>
                      <a:pt x="1801" y="11"/>
                    </a:lnTo>
                    <a:lnTo>
                      <a:pt x="1819" y="0"/>
                    </a:lnTo>
                    <a:lnTo>
                      <a:pt x="1819" y="0"/>
                    </a:lnTo>
                    <a:lnTo>
                      <a:pt x="1882" y="28"/>
                    </a:lnTo>
                    <a:lnTo>
                      <a:pt x="1889" y="48"/>
                    </a:lnTo>
                    <a:lnTo>
                      <a:pt x="1895" y="69"/>
                    </a:lnTo>
                    <a:lnTo>
                      <a:pt x="1900" y="94"/>
                    </a:lnTo>
                    <a:lnTo>
                      <a:pt x="1903" y="119"/>
                    </a:lnTo>
                    <a:lnTo>
                      <a:pt x="1907" y="145"/>
                    </a:lnTo>
                    <a:lnTo>
                      <a:pt x="1909" y="170"/>
                    </a:lnTo>
                    <a:lnTo>
                      <a:pt x="1910" y="193"/>
                    </a:lnTo>
                    <a:lnTo>
                      <a:pt x="1911" y="214"/>
                    </a:lnTo>
                    <a:lnTo>
                      <a:pt x="1911" y="227"/>
                    </a:lnTo>
                    <a:lnTo>
                      <a:pt x="1914" y="236"/>
                    </a:lnTo>
                    <a:lnTo>
                      <a:pt x="1915" y="239"/>
                    </a:lnTo>
                    <a:lnTo>
                      <a:pt x="1917" y="242"/>
                    </a:lnTo>
                    <a:lnTo>
                      <a:pt x="1921" y="245"/>
                    </a:lnTo>
                    <a:lnTo>
                      <a:pt x="1923" y="246"/>
                    </a:lnTo>
                    <a:lnTo>
                      <a:pt x="1929" y="250"/>
                    </a:lnTo>
                    <a:lnTo>
                      <a:pt x="1937" y="250"/>
                    </a:lnTo>
                    <a:lnTo>
                      <a:pt x="1945" y="250"/>
                    </a:lnTo>
                    <a:lnTo>
                      <a:pt x="1953" y="247"/>
                    </a:lnTo>
                    <a:lnTo>
                      <a:pt x="1972" y="242"/>
                    </a:lnTo>
                    <a:lnTo>
                      <a:pt x="1989" y="235"/>
                    </a:lnTo>
                    <a:lnTo>
                      <a:pt x="1998" y="232"/>
                    </a:lnTo>
                    <a:lnTo>
                      <a:pt x="2005" y="230"/>
                    </a:lnTo>
                    <a:lnTo>
                      <a:pt x="2012" y="228"/>
                    </a:lnTo>
                    <a:lnTo>
                      <a:pt x="2017" y="228"/>
                    </a:lnTo>
                    <a:lnTo>
                      <a:pt x="2023" y="229"/>
                    </a:lnTo>
                    <a:lnTo>
                      <a:pt x="2026" y="231"/>
                    </a:lnTo>
                    <a:lnTo>
                      <a:pt x="2028" y="236"/>
                    </a:lnTo>
                    <a:lnTo>
                      <a:pt x="2030" y="240"/>
                    </a:lnTo>
                    <a:lnTo>
                      <a:pt x="2032" y="250"/>
                    </a:lnTo>
                    <a:lnTo>
                      <a:pt x="2036" y="258"/>
                    </a:lnTo>
                    <a:lnTo>
                      <a:pt x="2045" y="264"/>
                    </a:lnTo>
                    <a:lnTo>
                      <a:pt x="2068" y="271"/>
                    </a:lnTo>
                    <a:lnTo>
                      <a:pt x="2098" y="281"/>
                    </a:lnTo>
                    <a:lnTo>
                      <a:pt x="2129" y="293"/>
                    </a:lnTo>
                    <a:lnTo>
                      <a:pt x="2143" y="298"/>
                    </a:lnTo>
                    <a:lnTo>
                      <a:pt x="2155" y="305"/>
                    </a:lnTo>
                    <a:lnTo>
                      <a:pt x="2164" y="311"/>
                    </a:lnTo>
                    <a:lnTo>
                      <a:pt x="2171" y="317"/>
                    </a:lnTo>
                    <a:lnTo>
                      <a:pt x="2172" y="320"/>
                    </a:lnTo>
                    <a:lnTo>
                      <a:pt x="2173" y="323"/>
                    </a:lnTo>
                    <a:lnTo>
                      <a:pt x="2172" y="326"/>
                    </a:lnTo>
                    <a:lnTo>
                      <a:pt x="2171" y="328"/>
                    </a:lnTo>
                    <a:lnTo>
                      <a:pt x="2168" y="332"/>
                    </a:lnTo>
                    <a:lnTo>
                      <a:pt x="2163" y="335"/>
                    </a:lnTo>
                    <a:lnTo>
                      <a:pt x="2157" y="337"/>
                    </a:lnTo>
                    <a:lnTo>
                      <a:pt x="2149" y="340"/>
                    </a:lnTo>
                    <a:lnTo>
                      <a:pt x="2140" y="345"/>
                    </a:lnTo>
                    <a:lnTo>
                      <a:pt x="2129" y="350"/>
                    </a:lnTo>
                    <a:lnTo>
                      <a:pt x="2120" y="358"/>
                    </a:lnTo>
                    <a:lnTo>
                      <a:pt x="2114" y="366"/>
                    </a:lnTo>
                    <a:lnTo>
                      <a:pt x="2110" y="371"/>
                    </a:lnTo>
                    <a:lnTo>
                      <a:pt x="2109" y="376"/>
                    </a:lnTo>
                    <a:lnTo>
                      <a:pt x="2108" y="380"/>
                    </a:lnTo>
                    <a:lnTo>
                      <a:pt x="2107" y="386"/>
                    </a:lnTo>
                    <a:lnTo>
                      <a:pt x="2108" y="390"/>
                    </a:lnTo>
                    <a:lnTo>
                      <a:pt x="2110" y="395"/>
                    </a:lnTo>
                    <a:lnTo>
                      <a:pt x="2114" y="401"/>
                    </a:lnTo>
                    <a:lnTo>
                      <a:pt x="2118" y="405"/>
                    </a:lnTo>
                    <a:lnTo>
                      <a:pt x="2128" y="416"/>
                    </a:lnTo>
                    <a:lnTo>
                      <a:pt x="2136" y="425"/>
                    </a:lnTo>
                    <a:lnTo>
                      <a:pt x="2141" y="432"/>
                    </a:lnTo>
                    <a:lnTo>
                      <a:pt x="2144" y="439"/>
                    </a:lnTo>
                    <a:lnTo>
                      <a:pt x="2144" y="445"/>
                    </a:lnTo>
                    <a:lnTo>
                      <a:pt x="2142" y="454"/>
                    </a:lnTo>
                    <a:lnTo>
                      <a:pt x="2136" y="465"/>
                    </a:lnTo>
                    <a:lnTo>
                      <a:pt x="2130" y="479"/>
                    </a:lnTo>
                    <a:lnTo>
                      <a:pt x="2130" y="484"/>
                    </a:lnTo>
                    <a:lnTo>
                      <a:pt x="2129" y="489"/>
                    </a:lnTo>
                    <a:lnTo>
                      <a:pt x="2128" y="494"/>
                    </a:lnTo>
                    <a:lnTo>
                      <a:pt x="2124" y="498"/>
                    </a:lnTo>
                    <a:lnTo>
                      <a:pt x="2119" y="508"/>
                    </a:lnTo>
                    <a:lnTo>
                      <a:pt x="2112" y="517"/>
                    </a:lnTo>
                    <a:lnTo>
                      <a:pt x="2108" y="526"/>
                    </a:lnTo>
                    <a:lnTo>
                      <a:pt x="2105" y="534"/>
                    </a:lnTo>
                    <a:lnTo>
                      <a:pt x="2102" y="541"/>
                    </a:lnTo>
                    <a:lnTo>
                      <a:pt x="2101" y="550"/>
                    </a:lnTo>
                    <a:lnTo>
                      <a:pt x="2097" y="565"/>
                    </a:lnTo>
                    <a:lnTo>
                      <a:pt x="2093" y="582"/>
                    </a:lnTo>
                    <a:lnTo>
                      <a:pt x="2092" y="590"/>
                    </a:lnTo>
                    <a:lnTo>
                      <a:pt x="2092" y="597"/>
                    </a:lnTo>
                    <a:lnTo>
                      <a:pt x="2092" y="606"/>
                    </a:lnTo>
                    <a:lnTo>
                      <a:pt x="2092" y="615"/>
                    </a:lnTo>
                    <a:lnTo>
                      <a:pt x="2093" y="622"/>
                    </a:lnTo>
                    <a:lnTo>
                      <a:pt x="2093" y="631"/>
                    </a:lnTo>
                    <a:lnTo>
                      <a:pt x="2093" y="638"/>
                    </a:lnTo>
                    <a:lnTo>
                      <a:pt x="2092" y="645"/>
                    </a:lnTo>
                    <a:lnTo>
                      <a:pt x="2092" y="645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00" name="Freeform 15">
                <a:extLst>
                  <a:ext uri="{FF2B5EF4-FFF2-40B4-BE49-F238E27FC236}">
                    <a16:creationId xmlns:a16="http://schemas.microsoft.com/office/drawing/2014/main" id="{9BDCDC01-3B14-4E3C-84CE-DCFAA5DD1A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41101" y="5168"/>
                <a:ext cx="1776413" cy="1628775"/>
              </a:xfrm>
              <a:custGeom>
                <a:avLst/>
                <a:gdLst>
                  <a:gd name="T0" fmla="*/ 33 w 4476"/>
                  <a:gd name="T1" fmla="*/ 2444 h 4105"/>
                  <a:gd name="T2" fmla="*/ 113 w 4476"/>
                  <a:gd name="T3" fmla="*/ 2607 h 4105"/>
                  <a:gd name="T4" fmla="*/ 97 w 4476"/>
                  <a:gd name="T5" fmla="*/ 2741 h 4105"/>
                  <a:gd name="T6" fmla="*/ 207 w 4476"/>
                  <a:gd name="T7" fmla="*/ 2882 h 4105"/>
                  <a:gd name="T8" fmla="*/ 185 w 4476"/>
                  <a:gd name="T9" fmla="*/ 2982 h 4105"/>
                  <a:gd name="T10" fmla="*/ 58 w 4476"/>
                  <a:gd name="T11" fmla="*/ 3074 h 4105"/>
                  <a:gd name="T12" fmla="*/ 162 w 4476"/>
                  <a:gd name="T13" fmla="*/ 3210 h 4105"/>
                  <a:gd name="T14" fmla="*/ 256 w 4476"/>
                  <a:gd name="T15" fmla="*/ 3343 h 4105"/>
                  <a:gd name="T16" fmla="*/ 435 w 4476"/>
                  <a:gd name="T17" fmla="*/ 3432 h 4105"/>
                  <a:gd name="T18" fmla="*/ 448 w 4476"/>
                  <a:gd name="T19" fmla="*/ 3331 h 4105"/>
                  <a:gd name="T20" fmla="*/ 688 w 4476"/>
                  <a:gd name="T21" fmla="*/ 3216 h 4105"/>
                  <a:gd name="T22" fmla="*/ 876 w 4476"/>
                  <a:gd name="T23" fmla="*/ 3191 h 4105"/>
                  <a:gd name="T24" fmla="*/ 951 w 4476"/>
                  <a:gd name="T25" fmla="*/ 3086 h 4105"/>
                  <a:gd name="T26" fmla="*/ 1110 w 4476"/>
                  <a:gd name="T27" fmla="*/ 3129 h 4105"/>
                  <a:gd name="T28" fmla="*/ 1241 w 4476"/>
                  <a:gd name="T29" fmla="*/ 3233 h 4105"/>
                  <a:gd name="T30" fmla="*/ 1217 w 4476"/>
                  <a:gd name="T31" fmla="*/ 3430 h 4105"/>
                  <a:gd name="T32" fmla="*/ 1306 w 4476"/>
                  <a:gd name="T33" fmla="*/ 3528 h 4105"/>
                  <a:gd name="T34" fmla="*/ 1248 w 4476"/>
                  <a:gd name="T35" fmla="*/ 3719 h 4105"/>
                  <a:gd name="T36" fmla="*/ 1238 w 4476"/>
                  <a:gd name="T37" fmla="*/ 3885 h 4105"/>
                  <a:gd name="T38" fmla="*/ 1482 w 4476"/>
                  <a:gd name="T39" fmla="*/ 3999 h 4105"/>
                  <a:gd name="T40" fmla="*/ 1848 w 4476"/>
                  <a:gd name="T41" fmla="*/ 3967 h 4105"/>
                  <a:gd name="T42" fmla="*/ 1966 w 4476"/>
                  <a:gd name="T43" fmla="*/ 4072 h 4105"/>
                  <a:gd name="T44" fmla="*/ 2125 w 4476"/>
                  <a:gd name="T45" fmla="*/ 4095 h 4105"/>
                  <a:gd name="T46" fmla="*/ 2351 w 4476"/>
                  <a:gd name="T47" fmla="*/ 3698 h 4105"/>
                  <a:gd name="T48" fmla="*/ 2844 w 4476"/>
                  <a:gd name="T49" fmla="*/ 3317 h 4105"/>
                  <a:gd name="T50" fmla="*/ 3363 w 4476"/>
                  <a:gd name="T51" fmla="*/ 2942 h 4105"/>
                  <a:gd name="T52" fmla="*/ 3955 w 4476"/>
                  <a:gd name="T53" fmla="*/ 2759 h 4105"/>
                  <a:gd name="T54" fmla="*/ 3962 w 4476"/>
                  <a:gd name="T55" fmla="*/ 2588 h 4105"/>
                  <a:gd name="T56" fmla="*/ 4047 w 4476"/>
                  <a:gd name="T57" fmla="*/ 2496 h 4105"/>
                  <a:gd name="T58" fmla="*/ 4001 w 4476"/>
                  <a:gd name="T59" fmla="*/ 2345 h 4105"/>
                  <a:gd name="T60" fmla="*/ 3934 w 4476"/>
                  <a:gd name="T61" fmla="*/ 2265 h 4105"/>
                  <a:gd name="T62" fmla="*/ 3834 w 4476"/>
                  <a:gd name="T63" fmla="*/ 2180 h 4105"/>
                  <a:gd name="T64" fmla="*/ 3844 w 4476"/>
                  <a:gd name="T65" fmla="*/ 2055 h 4105"/>
                  <a:gd name="T66" fmla="*/ 4345 w 4476"/>
                  <a:gd name="T67" fmla="*/ 1512 h 4105"/>
                  <a:gd name="T68" fmla="*/ 4463 w 4476"/>
                  <a:gd name="T69" fmla="*/ 1408 h 4105"/>
                  <a:gd name="T70" fmla="*/ 4332 w 4476"/>
                  <a:gd name="T71" fmla="*/ 1176 h 4105"/>
                  <a:gd name="T72" fmla="*/ 4319 w 4476"/>
                  <a:gd name="T73" fmla="*/ 1046 h 4105"/>
                  <a:gd name="T74" fmla="*/ 4072 w 4476"/>
                  <a:gd name="T75" fmla="*/ 1027 h 4105"/>
                  <a:gd name="T76" fmla="*/ 3920 w 4476"/>
                  <a:gd name="T77" fmla="*/ 1011 h 4105"/>
                  <a:gd name="T78" fmla="*/ 3715 w 4476"/>
                  <a:gd name="T79" fmla="*/ 732 h 4105"/>
                  <a:gd name="T80" fmla="*/ 3577 w 4476"/>
                  <a:gd name="T81" fmla="*/ 543 h 4105"/>
                  <a:gd name="T82" fmla="*/ 3470 w 4476"/>
                  <a:gd name="T83" fmla="*/ 584 h 4105"/>
                  <a:gd name="T84" fmla="*/ 3119 w 4476"/>
                  <a:gd name="T85" fmla="*/ 229 h 4105"/>
                  <a:gd name="T86" fmla="*/ 2877 w 4476"/>
                  <a:gd name="T87" fmla="*/ 188 h 4105"/>
                  <a:gd name="T88" fmla="*/ 2770 w 4476"/>
                  <a:gd name="T89" fmla="*/ 0 h 4105"/>
                  <a:gd name="T90" fmla="*/ 2567 w 4476"/>
                  <a:gd name="T91" fmla="*/ 155 h 4105"/>
                  <a:gd name="T92" fmla="*/ 2418 w 4476"/>
                  <a:gd name="T93" fmla="*/ 408 h 4105"/>
                  <a:gd name="T94" fmla="*/ 2306 w 4476"/>
                  <a:gd name="T95" fmla="*/ 729 h 4105"/>
                  <a:gd name="T96" fmla="*/ 2195 w 4476"/>
                  <a:gd name="T97" fmla="*/ 864 h 4105"/>
                  <a:gd name="T98" fmla="*/ 2239 w 4476"/>
                  <a:gd name="T99" fmla="*/ 1001 h 4105"/>
                  <a:gd name="T100" fmla="*/ 2192 w 4476"/>
                  <a:gd name="T101" fmla="*/ 1062 h 4105"/>
                  <a:gd name="T102" fmla="*/ 2002 w 4476"/>
                  <a:gd name="T103" fmla="*/ 1192 h 4105"/>
                  <a:gd name="T104" fmla="*/ 1898 w 4476"/>
                  <a:gd name="T105" fmla="*/ 1353 h 4105"/>
                  <a:gd name="T106" fmla="*/ 1822 w 4476"/>
                  <a:gd name="T107" fmla="*/ 1520 h 4105"/>
                  <a:gd name="T108" fmla="*/ 1504 w 4476"/>
                  <a:gd name="T109" fmla="*/ 1713 h 4105"/>
                  <a:gd name="T110" fmla="*/ 1253 w 4476"/>
                  <a:gd name="T111" fmla="*/ 1838 h 4105"/>
                  <a:gd name="T112" fmla="*/ 1026 w 4476"/>
                  <a:gd name="T113" fmla="*/ 1889 h 4105"/>
                  <a:gd name="T114" fmla="*/ 788 w 4476"/>
                  <a:gd name="T115" fmla="*/ 2072 h 4105"/>
                  <a:gd name="T116" fmla="*/ 658 w 4476"/>
                  <a:gd name="T117" fmla="*/ 2032 h 4105"/>
                  <a:gd name="T118" fmla="*/ 513 w 4476"/>
                  <a:gd name="T119" fmla="*/ 2084 h 4105"/>
                  <a:gd name="T120" fmla="*/ 258 w 4476"/>
                  <a:gd name="T121" fmla="*/ 2183 h 4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476" h="4105">
                    <a:moveTo>
                      <a:pt x="98" y="2259"/>
                    </a:moveTo>
                    <a:lnTo>
                      <a:pt x="28" y="2305"/>
                    </a:lnTo>
                    <a:lnTo>
                      <a:pt x="20" y="2316"/>
                    </a:lnTo>
                    <a:lnTo>
                      <a:pt x="9" y="2327"/>
                    </a:lnTo>
                    <a:lnTo>
                      <a:pt x="4" y="2334"/>
                    </a:lnTo>
                    <a:lnTo>
                      <a:pt x="1" y="2342"/>
                    </a:lnTo>
                    <a:lnTo>
                      <a:pt x="0" y="2348"/>
                    </a:lnTo>
                    <a:lnTo>
                      <a:pt x="0" y="2356"/>
                    </a:lnTo>
                    <a:lnTo>
                      <a:pt x="2" y="2364"/>
                    </a:lnTo>
                    <a:lnTo>
                      <a:pt x="6" y="2370"/>
                    </a:lnTo>
                    <a:lnTo>
                      <a:pt x="10" y="2374"/>
                    </a:lnTo>
                    <a:lnTo>
                      <a:pt x="14" y="2376"/>
                    </a:lnTo>
                    <a:lnTo>
                      <a:pt x="26" y="2377"/>
                    </a:lnTo>
                    <a:lnTo>
                      <a:pt x="41" y="2381"/>
                    </a:lnTo>
                    <a:lnTo>
                      <a:pt x="46" y="2384"/>
                    </a:lnTo>
                    <a:lnTo>
                      <a:pt x="48" y="2386"/>
                    </a:lnTo>
                    <a:lnTo>
                      <a:pt x="50" y="2390"/>
                    </a:lnTo>
                    <a:lnTo>
                      <a:pt x="50" y="2393"/>
                    </a:lnTo>
                    <a:lnTo>
                      <a:pt x="48" y="2403"/>
                    </a:lnTo>
                    <a:lnTo>
                      <a:pt x="44" y="2414"/>
                    </a:lnTo>
                    <a:lnTo>
                      <a:pt x="39" y="2426"/>
                    </a:lnTo>
                    <a:lnTo>
                      <a:pt x="34" y="2438"/>
                    </a:lnTo>
                    <a:lnTo>
                      <a:pt x="33" y="2444"/>
                    </a:lnTo>
                    <a:lnTo>
                      <a:pt x="32" y="2451"/>
                    </a:lnTo>
                    <a:lnTo>
                      <a:pt x="32" y="2456"/>
                    </a:lnTo>
                    <a:lnTo>
                      <a:pt x="33" y="2462"/>
                    </a:lnTo>
                    <a:lnTo>
                      <a:pt x="34" y="2471"/>
                    </a:lnTo>
                    <a:lnTo>
                      <a:pt x="35" y="2481"/>
                    </a:lnTo>
                    <a:lnTo>
                      <a:pt x="35" y="2491"/>
                    </a:lnTo>
                    <a:lnTo>
                      <a:pt x="35" y="2501"/>
                    </a:lnTo>
                    <a:lnTo>
                      <a:pt x="34" y="2524"/>
                    </a:lnTo>
                    <a:lnTo>
                      <a:pt x="34" y="2546"/>
                    </a:lnTo>
                    <a:lnTo>
                      <a:pt x="35" y="2556"/>
                    </a:lnTo>
                    <a:lnTo>
                      <a:pt x="36" y="2565"/>
                    </a:lnTo>
                    <a:lnTo>
                      <a:pt x="39" y="2575"/>
                    </a:lnTo>
                    <a:lnTo>
                      <a:pt x="42" y="2582"/>
                    </a:lnTo>
                    <a:lnTo>
                      <a:pt x="48" y="2589"/>
                    </a:lnTo>
                    <a:lnTo>
                      <a:pt x="54" y="2593"/>
                    </a:lnTo>
                    <a:lnTo>
                      <a:pt x="59" y="2595"/>
                    </a:lnTo>
                    <a:lnTo>
                      <a:pt x="63" y="2597"/>
                    </a:lnTo>
                    <a:lnTo>
                      <a:pt x="68" y="2597"/>
                    </a:lnTo>
                    <a:lnTo>
                      <a:pt x="74" y="2599"/>
                    </a:lnTo>
                    <a:lnTo>
                      <a:pt x="88" y="2600"/>
                    </a:lnTo>
                    <a:lnTo>
                      <a:pt x="99" y="2602"/>
                    </a:lnTo>
                    <a:lnTo>
                      <a:pt x="107" y="2604"/>
                    </a:lnTo>
                    <a:lnTo>
                      <a:pt x="113" y="2607"/>
                    </a:lnTo>
                    <a:lnTo>
                      <a:pt x="117" y="2612"/>
                    </a:lnTo>
                    <a:lnTo>
                      <a:pt x="118" y="2616"/>
                    </a:lnTo>
                    <a:lnTo>
                      <a:pt x="118" y="2621"/>
                    </a:lnTo>
                    <a:lnTo>
                      <a:pt x="117" y="2627"/>
                    </a:lnTo>
                    <a:lnTo>
                      <a:pt x="114" y="2632"/>
                    </a:lnTo>
                    <a:lnTo>
                      <a:pt x="111" y="2639"/>
                    </a:lnTo>
                    <a:lnTo>
                      <a:pt x="105" y="2645"/>
                    </a:lnTo>
                    <a:lnTo>
                      <a:pt x="100" y="2651"/>
                    </a:lnTo>
                    <a:lnTo>
                      <a:pt x="88" y="2666"/>
                    </a:lnTo>
                    <a:lnTo>
                      <a:pt x="75" y="2680"/>
                    </a:lnTo>
                    <a:lnTo>
                      <a:pt x="72" y="2685"/>
                    </a:lnTo>
                    <a:lnTo>
                      <a:pt x="67" y="2693"/>
                    </a:lnTo>
                    <a:lnTo>
                      <a:pt x="63" y="2702"/>
                    </a:lnTo>
                    <a:lnTo>
                      <a:pt x="60" y="2712"/>
                    </a:lnTo>
                    <a:lnTo>
                      <a:pt x="58" y="2722"/>
                    </a:lnTo>
                    <a:lnTo>
                      <a:pt x="58" y="2730"/>
                    </a:lnTo>
                    <a:lnTo>
                      <a:pt x="59" y="2734"/>
                    </a:lnTo>
                    <a:lnTo>
                      <a:pt x="60" y="2737"/>
                    </a:lnTo>
                    <a:lnTo>
                      <a:pt x="63" y="2740"/>
                    </a:lnTo>
                    <a:lnTo>
                      <a:pt x="66" y="2741"/>
                    </a:lnTo>
                    <a:lnTo>
                      <a:pt x="76" y="2743"/>
                    </a:lnTo>
                    <a:lnTo>
                      <a:pt x="86" y="2742"/>
                    </a:lnTo>
                    <a:lnTo>
                      <a:pt x="97" y="2741"/>
                    </a:lnTo>
                    <a:lnTo>
                      <a:pt x="107" y="2739"/>
                    </a:lnTo>
                    <a:lnTo>
                      <a:pt x="118" y="2737"/>
                    </a:lnTo>
                    <a:lnTo>
                      <a:pt x="128" y="2737"/>
                    </a:lnTo>
                    <a:lnTo>
                      <a:pt x="133" y="2737"/>
                    </a:lnTo>
                    <a:lnTo>
                      <a:pt x="139" y="2737"/>
                    </a:lnTo>
                    <a:lnTo>
                      <a:pt x="143" y="2738"/>
                    </a:lnTo>
                    <a:lnTo>
                      <a:pt x="148" y="2740"/>
                    </a:lnTo>
                    <a:lnTo>
                      <a:pt x="150" y="2741"/>
                    </a:lnTo>
                    <a:lnTo>
                      <a:pt x="150" y="2743"/>
                    </a:lnTo>
                    <a:lnTo>
                      <a:pt x="150" y="2747"/>
                    </a:lnTo>
                    <a:lnTo>
                      <a:pt x="150" y="2750"/>
                    </a:lnTo>
                    <a:lnTo>
                      <a:pt x="149" y="2756"/>
                    </a:lnTo>
                    <a:lnTo>
                      <a:pt x="148" y="2762"/>
                    </a:lnTo>
                    <a:lnTo>
                      <a:pt x="148" y="2768"/>
                    </a:lnTo>
                    <a:lnTo>
                      <a:pt x="149" y="2776"/>
                    </a:lnTo>
                    <a:lnTo>
                      <a:pt x="151" y="2784"/>
                    </a:lnTo>
                    <a:lnTo>
                      <a:pt x="154" y="2792"/>
                    </a:lnTo>
                    <a:lnTo>
                      <a:pt x="161" y="2808"/>
                    </a:lnTo>
                    <a:lnTo>
                      <a:pt x="169" y="2825"/>
                    </a:lnTo>
                    <a:lnTo>
                      <a:pt x="179" y="2842"/>
                    </a:lnTo>
                    <a:lnTo>
                      <a:pt x="189" y="2857"/>
                    </a:lnTo>
                    <a:lnTo>
                      <a:pt x="198" y="2870"/>
                    </a:lnTo>
                    <a:lnTo>
                      <a:pt x="207" y="2882"/>
                    </a:lnTo>
                    <a:lnTo>
                      <a:pt x="223" y="2899"/>
                    </a:lnTo>
                    <a:lnTo>
                      <a:pt x="242" y="2917"/>
                    </a:lnTo>
                    <a:lnTo>
                      <a:pt x="246" y="2923"/>
                    </a:lnTo>
                    <a:lnTo>
                      <a:pt x="249" y="2927"/>
                    </a:lnTo>
                    <a:lnTo>
                      <a:pt x="253" y="2932"/>
                    </a:lnTo>
                    <a:lnTo>
                      <a:pt x="255" y="2938"/>
                    </a:lnTo>
                    <a:lnTo>
                      <a:pt x="257" y="2944"/>
                    </a:lnTo>
                    <a:lnTo>
                      <a:pt x="257" y="2950"/>
                    </a:lnTo>
                    <a:lnTo>
                      <a:pt x="257" y="2956"/>
                    </a:lnTo>
                    <a:lnTo>
                      <a:pt x="256" y="2961"/>
                    </a:lnTo>
                    <a:lnTo>
                      <a:pt x="254" y="2966"/>
                    </a:lnTo>
                    <a:lnTo>
                      <a:pt x="252" y="2969"/>
                    </a:lnTo>
                    <a:lnTo>
                      <a:pt x="248" y="2971"/>
                    </a:lnTo>
                    <a:lnTo>
                      <a:pt x="244" y="2972"/>
                    </a:lnTo>
                    <a:lnTo>
                      <a:pt x="235" y="2973"/>
                    </a:lnTo>
                    <a:lnTo>
                      <a:pt x="226" y="2973"/>
                    </a:lnTo>
                    <a:lnTo>
                      <a:pt x="216" y="2972"/>
                    </a:lnTo>
                    <a:lnTo>
                      <a:pt x="206" y="2971"/>
                    </a:lnTo>
                    <a:lnTo>
                      <a:pt x="202" y="2971"/>
                    </a:lnTo>
                    <a:lnTo>
                      <a:pt x="197" y="2972"/>
                    </a:lnTo>
                    <a:lnTo>
                      <a:pt x="193" y="2974"/>
                    </a:lnTo>
                    <a:lnTo>
                      <a:pt x="190" y="2977"/>
                    </a:lnTo>
                    <a:lnTo>
                      <a:pt x="185" y="2982"/>
                    </a:lnTo>
                    <a:lnTo>
                      <a:pt x="182" y="2987"/>
                    </a:lnTo>
                    <a:lnTo>
                      <a:pt x="179" y="2994"/>
                    </a:lnTo>
                    <a:lnTo>
                      <a:pt x="177" y="2999"/>
                    </a:lnTo>
                    <a:lnTo>
                      <a:pt x="174" y="3011"/>
                    </a:lnTo>
                    <a:lnTo>
                      <a:pt x="170" y="3022"/>
                    </a:lnTo>
                    <a:lnTo>
                      <a:pt x="168" y="3027"/>
                    </a:lnTo>
                    <a:lnTo>
                      <a:pt x="165" y="3032"/>
                    </a:lnTo>
                    <a:lnTo>
                      <a:pt x="162" y="3036"/>
                    </a:lnTo>
                    <a:lnTo>
                      <a:pt x="156" y="3040"/>
                    </a:lnTo>
                    <a:lnTo>
                      <a:pt x="150" y="3042"/>
                    </a:lnTo>
                    <a:lnTo>
                      <a:pt x="142" y="3045"/>
                    </a:lnTo>
                    <a:lnTo>
                      <a:pt x="132" y="3047"/>
                    </a:lnTo>
                    <a:lnTo>
                      <a:pt x="120" y="3047"/>
                    </a:lnTo>
                    <a:lnTo>
                      <a:pt x="110" y="3047"/>
                    </a:lnTo>
                    <a:lnTo>
                      <a:pt x="97" y="3047"/>
                    </a:lnTo>
                    <a:lnTo>
                      <a:pt x="85" y="3048"/>
                    </a:lnTo>
                    <a:lnTo>
                      <a:pt x="74" y="3051"/>
                    </a:lnTo>
                    <a:lnTo>
                      <a:pt x="68" y="3053"/>
                    </a:lnTo>
                    <a:lnTo>
                      <a:pt x="64" y="3055"/>
                    </a:lnTo>
                    <a:lnTo>
                      <a:pt x="61" y="3059"/>
                    </a:lnTo>
                    <a:lnTo>
                      <a:pt x="59" y="3063"/>
                    </a:lnTo>
                    <a:lnTo>
                      <a:pt x="58" y="3068"/>
                    </a:lnTo>
                    <a:lnTo>
                      <a:pt x="58" y="3074"/>
                    </a:lnTo>
                    <a:lnTo>
                      <a:pt x="59" y="3081"/>
                    </a:lnTo>
                    <a:lnTo>
                      <a:pt x="61" y="3089"/>
                    </a:lnTo>
                    <a:lnTo>
                      <a:pt x="65" y="3105"/>
                    </a:lnTo>
                    <a:lnTo>
                      <a:pt x="67" y="3122"/>
                    </a:lnTo>
                    <a:lnTo>
                      <a:pt x="70" y="3130"/>
                    </a:lnTo>
                    <a:lnTo>
                      <a:pt x="72" y="3139"/>
                    </a:lnTo>
                    <a:lnTo>
                      <a:pt x="74" y="3146"/>
                    </a:lnTo>
                    <a:lnTo>
                      <a:pt x="78" y="3153"/>
                    </a:lnTo>
                    <a:lnTo>
                      <a:pt x="81" y="3156"/>
                    </a:lnTo>
                    <a:lnTo>
                      <a:pt x="85" y="3158"/>
                    </a:lnTo>
                    <a:lnTo>
                      <a:pt x="88" y="3158"/>
                    </a:lnTo>
                    <a:lnTo>
                      <a:pt x="92" y="3158"/>
                    </a:lnTo>
                    <a:lnTo>
                      <a:pt x="101" y="3155"/>
                    </a:lnTo>
                    <a:lnTo>
                      <a:pt x="110" y="3152"/>
                    </a:lnTo>
                    <a:lnTo>
                      <a:pt x="115" y="3152"/>
                    </a:lnTo>
                    <a:lnTo>
                      <a:pt x="119" y="3152"/>
                    </a:lnTo>
                    <a:lnTo>
                      <a:pt x="125" y="3153"/>
                    </a:lnTo>
                    <a:lnTo>
                      <a:pt x="130" y="3156"/>
                    </a:lnTo>
                    <a:lnTo>
                      <a:pt x="136" y="3161"/>
                    </a:lnTo>
                    <a:lnTo>
                      <a:pt x="142" y="3169"/>
                    </a:lnTo>
                    <a:lnTo>
                      <a:pt x="148" y="3179"/>
                    </a:lnTo>
                    <a:lnTo>
                      <a:pt x="154" y="3191"/>
                    </a:lnTo>
                    <a:lnTo>
                      <a:pt x="162" y="3210"/>
                    </a:lnTo>
                    <a:lnTo>
                      <a:pt x="167" y="3224"/>
                    </a:lnTo>
                    <a:lnTo>
                      <a:pt x="170" y="3237"/>
                    </a:lnTo>
                    <a:lnTo>
                      <a:pt x="171" y="3248"/>
                    </a:lnTo>
                    <a:lnTo>
                      <a:pt x="170" y="3258"/>
                    </a:lnTo>
                    <a:lnTo>
                      <a:pt x="167" y="3270"/>
                    </a:lnTo>
                    <a:lnTo>
                      <a:pt x="162" y="3284"/>
                    </a:lnTo>
                    <a:lnTo>
                      <a:pt x="154" y="3302"/>
                    </a:lnTo>
                    <a:lnTo>
                      <a:pt x="150" y="3312"/>
                    </a:lnTo>
                    <a:lnTo>
                      <a:pt x="148" y="3322"/>
                    </a:lnTo>
                    <a:lnTo>
                      <a:pt x="146" y="3329"/>
                    </a:lnTo>
                    <a:lnTo>
                      <a:pt x="148" y="3335"/>
                    </a:lnTo>
                    <a:lnTo>
                      <a:pt x="151" y="3339"/>
                    </a:lnTo>
                    <a:lnTo>
                      <a:pt x="155" y="3343"/>
                    </a:lnTo>
                    <a:lnTo>
                      <a:pt x="159" y="3344"/>
                    </a:lnTo>
                    <a:lnTo>
                      <a:pt x="166" y="3345"/>
                    </a:lnTo>
                    <a:lnTo>
                      <a:pt x="180" y="3345"/>
                    </a:lnTo>
                    <a:lnTo>
                      <a:pt x="196" y="3343"/>
                    </a:lnTo>
                    <a:lnTo>
                      <a:pt x="211" y="3339"/>
                    </a:lnTo>
                    <a:lnTo>
                      <a:pt x="226" y="3337"/>
                    </a:lnTo>
                    <a:lnTo>
                      <a:pt x="235" y="3337"/>
                    </a:lnTo>
                    <a:lnTo>
                      <a:pt x="243" y="3338"/>
                    </a:lnTo>
                    <a:lnTo>
                      <a:pt x="250" y="3339"/>
                    </a:lnTo>
                    <a:lnTo>
                      <a:pt x="256" y="3343"/>
                    </a:lnTo>
                    <a:lnTo>
                      <a:pt x="261" y="3347"/>
                    </a:lnTo>
                    <a:lnTo>
                      <a:pt x="266" y="3351"/>
                    </a:lnTo>
                    <a:lnTo>
                      <a:pt x="270" y="3357"/>
                    </a:lnTo>
                    <a:lnTo>
                      <a:pt x="274" y="3361"/>
                    </a:lnTo>
                    <a:lnTo>
                      <a:pt x="281" y="3372"/>
                    </a:lnTo>
                    <a:lnTo>
                      <a:pt x="287" y="3382"/>
                    </a:lnTo>
                    <a:lnTo>
                      <a:pt x="291" y="3385"/>
                    </a:lnTo>
                    <a:lnTo>
                      <a:pt x="295" y="3388"/>
                    </a:lnTo>
                    <a:lnTo>
                      <a:pt x="299" y="3390"/>
                    </a:lnTo>
                    <a:lnTo>
                      <a:pt x="305" y="3390"/>
                    </a:lnTo>
                    <a:lnTo>
                      <a:pt x="316" y="3389"/>
                    </a:lnTo>
                    <a:lnTo>
                      <a:pt x="324" y="3387"/>
                    </a:lnTo>
                    <a:lnTo>
                      <a:pt x="332" y="3384"/>
                    </a:lnTo>
                    <a:lnTo>
                      <a:pt x="339" y="3380"/>
                    </a:lnTo>
                    <a:lnTo>
                      <a:pt x="348" y="3378"/>
                    </a:lnTo>
                    <a:lnTo>
                      <a:pt x="357" y="3377"/>
                    </a:lnTo>
                    <a:lnTo>
                      <a:pt x="361" y="3378"/>
                    </a:lnTo>
                    <a:lnTo>
                      <a:pt x="366" y="3379"/>
                    </a:lnTo>
                    <a:lnTo>
                      <a:pt x="372" y="3382"/>
                    </a:lnTo>
                    <a:lnTo>
                      <a:pt x="378" y="3384"/>
                    </a:lnTo>
                    <a:lnTo>
                      <a:pt x="398" y="3400"/>
                    </a:lnTo>
                    <a:lnTo>
                      <a:pt x="427" y="3427"/>
                    </a:lnTo>
                    <a:lnTo>
                      <a:pt x="435" y="3432"/>
                    </a:lnTo>
                    <a:lnTo>
                      <a:pt x="441" y="3438"/>
                    </a:lnTo>
                    <a:lnTo>
                      <a:pt x="448" y="3442"/>
                    </a:lnTo>
                    <a:lnTo>
                      <a:pt x="454" y="3445"/>
                    </a:lnTo>
                    <a:lnTo>
                      <a:pt x="459" y="3446"/>
                    </a:lnTo>
                    <a:lnTo>
                      <a:pt x="463" y="3445"/>
                    </a:lnTo>
                    <a:lnTo>
                      <a:pt x="464" y="3444"/>
                    </a:lnTo>
                    <a:lnTo>
                      <a:pt x="465" y="3442"/>
                    </a:lnTo>
                    <a:lnTo>
                      <a:pt x="466" y="3440"/>
                    </a:lnTo>
                    <a:lnTo>
                      <a:pt x="466" y="3437"/>
                    </a:lnTo>
                    <a:lnTo>
                      <a:pt x="466" y="3429"/>
                    </a:lnTo>
                    <a:lnTo>
                      <a:pt x="465" y="3423"/>
                    </a:lnTo>
                    <a:lnTo>
                      <a:pt x="463" y="3415"/>
                    </a:lnTo>
                    <a:lnTo>
                      <a:pt x="460" y="3409"/>
                    </a:lnTo>
                    <a:lnTo>
                      <a:pt x="453" y="3396"/>
                    </a:lnTo>
                    <a:lnTo>
                      <a:pt x="446" y="3383"/>
                    </a:lnTo>
                    <a:lnTo>
                      <a:pt x="442" y="3376"/>
                    </a:lnTo>
                    <a:lnTo>
                      <a:pt x="440" y="3370"/>
                    </a:lnTo>
                    <a:lnTo>
                      <a:pt x="438" y="3363"/>
                    </a:lnTo>
                    <a:lnTo>
                      <a:pt x="437" y="3357"/>
                    </a:lnTo>
                    <a:lnTo>
                      <a:pt x="438" y="3350"/>
                    </a:lnTo>
                    <a:lnTo>
                      <a:pt x="439" y="3344"/>
                    </a:lnTo>
                    <a:lnTo>
                      <a:pt x="442" y="3337"/>
                    </a:lnTo>
                    <a:lnTo>
                      <a:pt x="448" y="3331"/>
                    </a:lnTo>
                    <a:lnTo>
                      <a:pt x="465" y="3311"/>
                    </a:lnTo>
                    <a:lnTo>
                      <a:pt x="480" y="3293"/>
                    </a:lnTo>
                    <a:lnTo>
                      <a:pt x="494" y="3275"/>
                    </a:lnTo>
                    <a:lnTo>
                      <a:pt x="506" y="3256"/>
                    </a:lnTo>
                    <a:lnTo>
                      <a:pt x="518" y="3237"/>
                    </a:lnTo>
                    <a:lnTo>
                      <a:pt x="529" y="3215"/>
                    </a:lnTo>
                    <a:lnTo>
                      <a:pt x="539" y="3194"/>
                    </a:lnTo>
                    <a:lnTo>
                      <a:pt x="550" y="3170"/>
                    </a:lnTo>
                    <a:lnTo>
                      <a:pt x="556" y="3155"/>
                    </a:lnTo>
                    <a:lnTo>
                      <a:pt x="562" y="3144"/>
                    </a:lnTo>
                    <a:lnTo>
                      <a:pt x="568" y="3135"/>
                    </a:lnTo>
                    <a:lnTo>
                      <a:pt x="573" y="3130"/>
                    </a:lnTo>
                    <a:lnTo>
                      <a:pt x="579" y="3127"/>
                    </a:lnTo>
                    <a:lnTo>
                      <a:pt x="584" y="3127"/>
                    </a:lnTo>
                    <a:lnTo>
                      <a:pt x="591" y="3128"/>
                    </a:lnTo>
                    <a:lnTo>
                      <a:pt x="596" y="3131"/>
                    </a:lnTo>
                    <a:lnTo>
                      <a:pt x="609" y="3141"/>
                    </a:lnTo>
                    <a:lnTo>
                      <a:pt x="622" y="3155"/>
                    </a:lnTo>
                    <a:lnTo>
                      <a:pt x="637" y="3170"/>
                    </a:lnTo>
                    <a:lnTo>
                      <a:pt x="656" y="3185"/>
                    </a:lnTo>
                    <a:lnTo>
                      <a:pt x="667" y="3196"/>
                    </a:lnTo>
                    <a:lnTo>
                      <a:pt x="677" y="3207"/>
                    </a:lnTo>
                    <a:lnTo>
                      <a:pt x="688" y="3216"/>
                    </a:lnTo>
                    <a:lnTo>
                      <a:pt x="699" y="3223"/>
                    </a:lnTo>
                    <a:lnTo>
                      <a:pt x="706" y="3226"/>
                    </a:lnTo>
                    <a:lnTo>
                      <a:pt x="711" y="3227"/>
                    </a:lnTo>
                    <a:lnTo>
                      <a:pt x="718" y="3228"/>
                    </a:lnTo>
                    <a:lnTo>
                      <a:pt x="723" y="3228"/>
                    </a:lnTo>
                    <a:lnTo>
                      <a:pt x="729" y="3226"/>
                    </a:lnTo>
                    <a:lnTo>
                      <a:pt x="736" y="3223"/>
                    </a:lnTo>
                    <a:lnTo>
                      <a:pt x="742" y="3218"/>
                    </a:lnTo>
                    <a:lnTo>
                      <a:pt x="749" y="3212"/>
                    </a:lnTo>
                    <a:lnTo>
                      <a:pt x="758" y="3204"/>
                    </a:lnTo>
                    <a:lnTo>
                      <a:pt x="765" y="3198"/>
                    </a:lnTo>
                    <a:lnTo>
                      <a:pt x="773" y="3194"/>
                    </a:lnTo>
                    <a:lnTo>
                      <a:pt x="779" y="3189"/>
                    </a:lnTo>
                    <a:lnTo>
                      <a:pt x="786" y="3187"/>
                    </a:lnTo>
                    <a:lnTo>
                      <a:pt x="791" y="3185"/>
                    </a:lnTo>
                    <a:lnTo>
                      <a:pt x="798" y="3185"/>
                    </a:lnTo>
                    <a:lnTo>
                      <a:pt x="803" y="3185"/>
                    </a:lnTo>
                    <a:lnTo>
                      <a:pt x="827" y="3190"/>
                    </a:lnTo>
                    <a:lnTo>
                      <a:pt x="858" y="3200"/>
                    </a:lnTo>
                    <a:lnTo>
                      <a:pt x="864" y="3200"/>
                    </a:lnTo>
                    <a:lnTo>
                      <a:pt x="869" y="3199"/>
                    </a:lnTo>
                    <a:lnTo>
                      <a:pt x="873" y="3196"/>
                    </a:lnTo>
                    <a:lnTo>
                      <a:pt x="876" y="3191"/>
                    </a:lnTo>
                    <a:lnTo>
                      <a:pt x="878" y="3186"/>
                    </a:lnTo>
                    <a:lnTo>
                      <a:pt x="879" y="3180"/>
                    </a:lnTo>
                    <a:lnTo>
                      <a:pt x="880" y="3172"/>
                    </a:lnTo>
                    <a:lnTo>
                      <a:pt x="880" y="3163"/>
                    </a:lnTo>
                    <a:lnTo>
                      <a:pt x="878" y="3131"/>
                    </a:lnTo>
                    <a:lnTo>
                      <a:pt x="877" y="3109"/>
                    </a:lnTo>
                    <a:lnTo>
                      <a:pt x="879" y="3100"/>
                    </a:lnTo>
                    <a:lnTo>
                      <a:pt x="880" y="3092"/>
                    </a:lnTo>
                    <a:lnTo>
                      <a:pt x="881" y="3087"/>
                    </a:lnTo>
                    <a:lnTo>
                      <a:pt x="883" y="3083"/>
                    </a:lnTo>
                    <a:lnTo>
                      <a:pt x="886" y="3081"/>
                    </a:lnTo>
                    <a:lnTo>
                      <a:pt x="889" y="3079"/>
                    </a:lnTo>
                    <a:lnTo>
                      <a:pt x="891" y="3079"/>
                    </a:lnTo>
                    <a:lnTo>
                      <a:pt x="894" y="3080"/>
                    </a:lnTo>
                    <a:lnTo>
                      <a:pt x="901" y="3083"/>
                    </a:lnTo>
                    <a:lnTo>
                      <a:pt x="908" y="3088"/>
                    </a:lnTo>
                    <a:lnTo>
                      <a:pt x="912" y="3090"/>
                    </a:lnTo>
                    <a:lnTo>
                      <a:pt x="916" y="3091"/>
                    </a:lnTo>
                    <a:lnTo>
                      <a:pt x="920" y="3093"/>
                    </a:lnTo>
                    <a:lnTo>
                      <a:pt x="926" y="3093"/>
                    </a:lnTo>
                    <a:lnTo>
                      <a:pt x="932" y="3092"/>
                    </a:lnTo>
                    <a:lnTo>
                      <a:pt x="941" y="3090"/>
                    </a:lnTo>
                    <a:lnTo>
                      <a:pt x="951" y="3086"/>
                    </a:lnTo>
                    <a:lnTo>
                      <a:pt x="962" y="3081"/>
                    </a:lnTo>
                    <a:lnTo>
                      <a:pt x="986" y="3068"/>
                    </a:lnTo>
                    <a:lnTo>
                      <a:pt x="1013" y="3055"/>
                    </a:lnTo>
                    <a:lnTo>
                      <a:pt x="1038" y="3044"/>
                    </a:lnTo>
                    <a:lnTo>
                      <a:pt x="1060" y="3034"/>
                    </a:lnTo>
                    <a:lnTo>
                      <a:pt x="1070" y="3032"/>
                    </a:lnTo>
                    <a:lnTo>
                      <a:pt x="1076" y="3029"/>
                    </a:lnTo>
                    <a:lnTo>
                      <a:pt x="1080" y="3031"/>
                    </a:lnTo>
                    <a:lnTo>
                      <a:pt x="1082" y="3031"/>
                    </a:lnTo>
                    <a:lnTo>
                      <a:pt x="1084" y="3032"/>
                    </a:lnTo>
                    <a:lnTo>
                      <a:pt x="1085" y="3034"/>
                    </a:lnTo>
                    <a:lnTo>
                      <a:pt x="1088" y="3041"/>
                    </a:lnTo>
                    <a:lnTo>
                      <a:pt x="1090" y="3049"/>
                    </a:lnTo>
                    <a:lnTo>
                      <a:pt x="1091" y="3058"/>
                    </a:lnTo>
                    <a:lnTo>
                      <a:pt x="1090" y="3066"/>
                    </a:lnTo>
                    <a:lnTo>
                      <a:pt x="1089" y="3082"/>
                    </a:lnTo>
                    <a:lnTo>
                      <a:pt x="1088" y="3098"/>
                    </a:lnTo>
                    <a:lnTo>
                      <a:pt x="1088" y="3105"/>
                    </a:lnTo>
                    <a:lnTo>
                      <a:pt x="1089" y="3112"/>
                    </a:lnTo>
                    <a:lnTo>
                      <a:pt x="1093" y="3117"/>
                    </a:lnTo>
                    <a:lnTo>
                      <a:pt x="1096" y="3122"/>
                    </a:lnTo>
                    <a:lnTo>
                      <a:pt x="1102" y="3126"/>
                    </a:lnTo>
                    <a:lnTo>
                      <a:pt x="1110" y="3129"/>
                    </a:lnTo>
                    <a:lnTo>
                      <a:pt x="1121" y="3131"/>
                    </a:lnTo>
                    <a:lnTo>
                      <a:pt x="1134" y="3131"/>
                    </a:lnTo>
                    <a:lnTo>
                      <a:pt x="1141" y="3132"/>
                    </a:lnTo>
                    <a:lnTo>
                      <a:pt x="1151" y="3133"/>
                    </a:lnTo>
                    <a:lnTo>
                      <a:pt x="1161" y="3135"/>
                    </a:lnTo>
                    <a:lnTo>
                      <a:pt x="1172" y="3139"/>
                    </a:lnTo>
                    <a:lnTo>
                      <a:pt x="1182" y="3142"/>
                    </a:lnTo>
                    <a:lnTo>
                      <a:pt x="1194" y="3146"/>
                    </a:lnTo>
                    <a:lnTo>
                      <a:pt x="1205" y="3152"/>
                    </a:lnTo>
                    <a:lnTo>
                      <a:pt x="1216" y="3158"/>
                    </a:lnTo>
                    <a:lnTo>
                      <a:pt x="1227" y="3164"/>
                    </a:lnTo>
                    <a:lnTo>
                      <a:pt x="1236" y="3171"/>
                    </a:lnTo>
                    <a:lnTo>
                      <a:pt x="1243" y="3179"/>
                    </a:lnTo>
                    <a:lnTo>
                      <a:pt x="1249" y="3187"/>
                    </a:lnTo>
                    <a:lnTo>
                      <a:pt x="1251" y="3191"/>
                    </a:lnTo>
                    <a:lnTo>
                      <a:pt x="1252" y="3196"/>
                    </a:lnTo>
                    <a:lnTo>
                      <a:pt x="1253" y="3200"/>
                    </a:lnTo>
                    <a:lnTo>
                      <a:pt x="1253" y="3204"/>
                    </a:lnTo>
                    <a:lnTo>
                      <a:pt x="1253" y="3210"/>
                    </a:lnTo>
                    <a:lnTo>
                      <a:pt x="1252" y="3214"/>
                    </a:lnTo>
                    <a:lnTo>
                      <a:pt x="1250" y="3220"/>
                    </a:lnTo>
                    <a:lnTo>
                      <a:pt x="1248" y="3224"/>
                    </a:lnTo>
                    <a:lnTo>
                      <a:pt x="1241" y="3233"/>
                    </a:lnTo>
                    <a:lnTo>
                      <a:pt x="1234" y="3241"/>
                    </a:lnTo>
                    <a:lnTo>
                      <a:pt x="1228" y="3248"/>
                    </a:lnTo>
                    <a:lnTo>
                      <a:pt x="1221" y="3254"/>
                    </a:lnTo>
                    <a:lnTo>
                      <a:pt x="1206" y="3267"/>
                    </a:lnTo>
                    <a:lnTo>
                      <a:pt x="1192" y="3280"/>
                    </a:lnTo>
                    <a:lnTo>
                      <a:pt x="1186" y="3287"/>
                    </a:lnTo>
                    <a:lnTo>
                      <a:pt x="1179" y="3293"/>
                    </a:lnTo>
                    <a:lnTo>
                      <a:pt x="1174" y="3301"/>
                    </a:lnTo>
                    <a:lnTo>
                      <a:pt x="1169" y="3309"/>
                    </a:lnTo>
                    <a:lnTo>
                      <a:pt x="1165" y="3318"/>
                    </a:lnTo>
                    <a:lnTo>
                      <a:pt x="1162" y="3326"/>
                    </a:lnTo>
                    <a:lnTo>
                      <a:pt x="1161" y="3337"/>
                    </a:lnTo>
                    <a:lnTo>
                      <a:pt x="1160" y="3349"/>
                    </a:lnTo>
                    <a:lnTo>
                      <a:pt x="1173" y="3365"/>
                    </a:lnTo>
                    <a:lnTo>
                      <a:pt x="1182" y="3380"/>
                    </a:lnTo>
                    <a:lnTo>
                      <a:pt x="1188" y="3387"/>
                    </a:lnTo>
                    <a:lnTo>
                      <a:pt x="1193" y="3395"/>
                    </a:lnTo>
                    <a:lnTo>
                      <a:pt x="1201" y="3401"/>
                    </a:lnTo>
                    <a:lnTo>
                      <a:pt x="1211" y="3410"/>
                    </a:lnTo>
                    <a:lnTo>
                      <a:pt x="1214" y="3413"/>
                    </a:lnTo>
                    <a:lnTo>
                      <a:pt x="1216" y="3417"/>
                    </a:lnTo>
                    <a:lnTo>
                      <a:pt x="1217" y="3424"/>
                    </a:lnTo>
                    <a:lnTo>
                      <a:pt x="1217" y="3430"/>
                    </a:lnTo>
                    <a:lnTo>
                      <a:pt x="1214" y="3446"/>
                    </a:lnTo>
                    <a:lnTo>
                      <a:pt x="1210" y="3465"/>
                    </a:lnTo>
                    <a:lnTo>
                      <a:pt x="1204" y="3484"/>
                    </a:lnTo>
                    <a:lnTo>
                      <a:pt x="1200" y="3503"/>
                    </a:lnTo>
                    <a:lnTo>
                      <a:pt x="1199" y="3512"/>
                    </a:lnTo>
                    <a:lnTo>
                      <a:pt x="1199" y="3521"/>
                    </a:lnTo>
                    <a:lnTo>
                      <a:pt x="1200" y="3530"/>
                    </a:lnTo>
                    <a:lnTo>
                      <a:pt x="1201" y="3537"/>
                    </a:lnTo>
                    <a:lnTo>
                      <a:pt x="1205" y="3546"/>
                    </a:lnTo>
                    <a:lnTo>
                      <a:pt x="1210" y="3551"/>
                    </a:lnTo>
                    <a:lnTo>
                      <a:pt x="1214" y="3554"/>
                    </a:lnTo>
                    <a:lnTo>
                      <a:pt x="1218" y="3555"/>
                    </a:lnTo>
                    <a:lnTo>
                      <a:pt x="1224" y="3555"/>
                    </a:lnTo>
                    <a:lnTo>
                      <a:pt x="1229" y="3553"/>
                    </a:lnTo>
                    <a:lnTo>
                      <a:pt x="1236" y="3551"/>
                    </a:lnTo>
                    <a:lnTo>
                      <a:pt x="1241" y="3547"/>
                    </a:lnTo>
                    <a:lnTo>
                      <a:pt x="1254" y="3538"/>
                    </a:lnTo>
                    <a:lnTo>
                      <a:pt x="1267" y="3531"/>
                    </a:lnTo>
                    <a:lnTo>
                      <a:pt x="1274" y="3527"/>
                    </a:lnTo>
                    <a:lnTo>
                      <a:pt x="1279" y="3525"/>
                    </a:lnTo>
                    <a:lnTo>
                      <a:pt x="1285" y="3524"/>
                    </a:lnTo>
                    <a:lnTo>
                      <a:pt x="1292" y="3524"/>
                    </a:lnTo>
                    <a:lnTo>
                      <a:pt x="1306" y="3528"/>
                    </a:lnTo>
                    <a:lnTo>
                      <a:pt x="1319" y="3533"/>
                    </a:lnTo>
                    <a:lnTo>
                      <a:pt x="1329" y="3537"/>
                    </a:lnTo>
                    <a:lnTo>
                      <a:pt x="1337" y="3540"/>
                    </a:lnTo>
                    <a:lnTo>
                      <a:pt x="1344" y="3546"/>
                    </a:lnTo>
                    <a:lnTo>
                      <a:pt x="1348" y="3550"/>
                    </a:lnTo>
                    <a:lnTo>
                      <a:pt x="1350" y="3555"/>
                    </a:lnTo>
                    <a:lnTo>
                      <a:pt x="1352" y="3560"/>
                    </a:lnTo>
                    <a:lnTo>
                      <a:pt x="1352" y="3566"/>
                    </a:lnTo>
                    <a:lnTo>
                      <a:pt x="1349" y="3572"/>
                    </a:lnTo>
                    <a:lnTo>
                      <a:pt x="1345" y="3578"/>
                    </a:lnTo>
                    <a:lnTo>
                      <a:pt x="1341" y="3586"/>
                    </a:lnTo>
                    <a:lnTo>
                      <a:pt x="1327" y="3602"/>
                    </a:lnTo>
                    <a:lnTo>
                      <a:pt x="1308" y="3620"/>
                    </a:lnTo>
                    <a:lnTo>
                      <a:pt x="1292" y="3635"/>
                    </a:lnTo>
                    <a:lnTo>
                      <a:pt x="1278" y="3648"/>
                    </a:lnTo>
                    <a:lnTo>
                      <a:pt x="1265" y="3660"/>
                    </a:lnTo>
                    <a:lnTo>
                      <a:pt x="1255" y="3672"/>
                    </a:lnTo>
                    <a:lnTo>
                      <a:pt x="1252" y="3679"/>
                    </a:lnTo>
                    <a:lnTo>
                      <a:pt x="1249" y="3685"/>
                    </a:lnTo>
                    <a:lnTo>
                      <a:pt x="1246" y="3693"/>
                    </a:lnTo>
                    <a:lnTo>
                      <a:pt x="1245" y="3700"/>
                    </a:lnTo>
                    <a:lnTo>
                      <a:pt x="1245" y="3709"/>
                    </a:lnTo>
                    <a:lnTo>
                      <a:pt x="1248" y="3719"/>
                    </a:lnTo>
                    <a:lnTo>
                      <a:pt x="1250" y="3729"/>
                    </a:lnTo>
                    <a:lnTo>
                      <a:pt x="1254" y="3741"/>
                    </a:lnTo>
                    <a:lnTo>
                      <a:pt x="1259" y="3748"/>
                    </a:lnTo>
                    <a:lnTo>
                      <a:pt x="1263" y="3753"/>
                    </a:lnTo>
                    <a:lnTo>
                      <a:pt x="1266" y="3760"/>
                    </a:lnTo>
                    <a:lnTo>
                      <a:pt x="1268" y="3765"/>
                    </a:lnTo>
                    <a:lnTo>
                      <a:pt x="1269" y="3770"/>
                    </a:lnTo>
                    <a:lnTo>
                      <a:pt x="1270" y="3775"/>
                    </a:lnTo>
                    <a:lnTo>
                      <a:pt x="1270" y="3780"/>
                    </a:lnTo>
                    <a:lnTo>
                      <a:pt x="1269" y="3784"/>
                    </a:lnTo>
                    <a:lnTo>
                      <a:pt x="1266" y="3794"/>
                    </a:lnTo>
                    <a:lnTo>
                      <a:pt x="1262" y="3802"/>
                    </a:lnTo>
                    <a:lnTo>
                      <a:pt x="1255" y="3809"/>
                    </a:lnTo>
                    <a:lnTo>
                      <a:pt x="1249" y="3817"/>
                    </a:lnTo>
                    <a:lnTo>
                      <a:pt x="1234" y="3831"/>
                    </a:lnTo>
                    <a:lnTo>
                      <a:pt x="1223" y="3844"/>
                    </a:lnTo>
                    <a:lnTo>
                      <a:pt x="1219" y="3850"/>
                    </a:lnTo>
                    <a:lnTo>
                      <a:pt x="1218" y="3857"/>
                    </a:lnTo>
                    <a:lnTo>
                      <a:pt x="1218" y="3860"/>
                    </a:lnTo>
                    <a:lnTo>
                      <a:pt x="1219" y="3863"/>
                    </a:lnTo>
                    <a:lnTo>
                      <a:pt x="1221" y="3866"/>
                    </a:lnTo>
                    <a:lnTo>
                      <a:pt x="1224" y="3870"/>
                    </a:lnTo>
                    <a:lnTo>
                      <a:pt x="1238" y="3885"/>
                    </a:lnTo>
                    <a:lnTo>
                      <a:pt x="1251" y="3901"/>
                    </a:lnTo>
                    <a:lnTo>
                      <a:pt x="1257" y="3909"/>
                    </a:lnTo>
                    <a:lnTo>
                      <a:pt x="1263" y="3917"/>
                    </a:lnTo>
                    <a:lnTo>
                      <a:pt x="1268" y="3926"/>
                    </a:lnTo>
                    <a:lnTo>
                      <a:pt x="1272" y="3935"/>
                    </a:lnTo>
                    <a:lnTo>
                      <a:pt x="1277" y="3944"/>
                    </a:lnTo>
                    <a:lnTo>
                      <a:pt x="1279" y="3954"/>
                    </a:lnTo>
                    <a:lnTo>
                      <a:pt x="1281" y="3964"/>
                    </a:lnTo>
                    <a:lnTo>
                      <a:pt x="1282" y="3973"/>
                    </a:lnTo>
                    <a:lnTo>
                      <a:pt x="1282" y="3984"/>
                    </a:lnTo>
                    <a:lnTo>
                      <a:pt x="1281" y="3994"/>
                    </a:lnTo>
                    <a:lnTo>
                      <a:pt x="1278" y="4006"/>
                    </a:lnTo>
                    <a:lnTo>
                      <a:pt x="1274" y="4017"/>
                    </a:lnTo>
                    <a:lnTo>
                      <a:pt x="1274" y="4017"/>
                    </a:lnTo>
                    <a:lnTo>
                      <a:pt x="1387" y="4022"/>
                    </a:lnTo>
                    <a:lnTo>
                      <a:pt x="1401" y="4022"/>
                    </a:lnTo>
                    <a:lnTo>
                      <a:pt x="1414" y="4021"/>
                    </a:lnTo>
                    <a:lnTo>
                      <a:pt x="1426" y="4019"/>
                    </a:lnTo>
                    <a:lnTo>
                      <a:pt x="1436" y="4017"/>
                    </a:lnTo>
                    <a:lnTo>
                      <a:pt x="1452" y="4010"/>
                    </a:lnTo>
                    <a:lnTo>
                      <a:pt x="1467" y="4005"/>
                    </a:lnTo>
                    <a:lnTo>
                      <a:pt x="1474" y="4001"/>
                    </a:lnTo>
                    <a:lnTo>
                      <a:pt x="1482" y="3999"/>
                    </a:lnTo>
                    <a:lnTo>
                      <a:pt x="1490" y="3998"/>
                    </a:lnTo>
                    <a:lnTo>
                      <a:pt x="1499" y="3997"/>
                    </a:lnTo>
                    <a:lnTo>
                      <a:pt x="1509" y="3998"/>
                    </a:lnTo>
                    <a:lnTo>
                      <a:pt x="1521" y="4000"/>
                    </a:lnTo>
                    <a:lnTo>
                      <a:pt x="1535" y="4004"/>
                    </a:lnTo>
                    <a:lnTo>
                      <a:pt x="1550" y="4009"/>
                    </a:lnTo>
                    <a:lnTo>
                      <a:pt x="1567" y="4014"/>
                    </a:lnTo>
                    <a:lnTo>
                      <a:pt x="1585" y="4019"/>
                    </a:lnTo>
                    <a:lnTo>
                      <a:pt x="1601" y="4021"/>
                    </a:lnTo>
                    <a:lnTo>
                      <a:pt x="1617" y="4021"/>
                    </a:lnTo>
                    <a:lnTo>
                      <a:pt x="1632" y="4021"/>
                    </a:lnTo>
                    <a:lnTo>
                      <a:pt x="1648" y="4019"/>
                    </a:lnTo>
                    <a:lnTo>
                      <a:pt x="1664" y="4017"/>
                    </a:lnTo>
                    <a:lnTo>
                      <a:pt x="1680" y="4013"/>
                    </a:lnTo>
                    <a:lnTo>
                      <a:pt x="1710" y="4005"/>
                    </a:lnTo>
                    <a:lnTo>
                      <a:pt x="1743" y="3997"/>
                    </a:lnTo>
                    <a:lnTo>
                      <a:pt x="1759" y="3993"/>
                    </a:lnTo>
                    <a:lnTo>
                      <a:pt x="1775" y="3990"/>
                    </a:lnTo>
                    <a:lnTo>
                      <a:pt x="1793" y="3987"/>
                    </a:lnTo>
                    <a:lnTo>
                      <a:pt x="1810" y="3986"/>
                    </a:lnTo>
                    <a:lnTo>
                      <a:pt x="1824" y="3978"/>
                    </a:lnTo>
                    <a:lnTo>
                      <a:pt x="1837" y="3971"/>
                    </a:lnTo>
                    <a:lnTo>
                      <a:pt x="1848" y="3967"/>
                    </a:lnTo>
                    <a:lnTo>
                      <a:pt x="1858" y="3964"/>
                    </a:lnTo>
                    <a:lnTo>
                      <a:pt x="1867" y="3962"/>
                    </a:lnTo>
                    <a:lnTo>
                      <a:pt x="1875" y="3960"/>
                    </a:lnTo>
                    <a:lnTo>
                      <a:pt x="1883" y="3960"/>
                    </a:lnTo>
                    <a:lnTo>
                      <a:pt x="1890" y="3962"/>
                    </a:lnTo>
                    <a:lnTo>
                      <a:pt x="1919" y="3972"/>
                    </a:lnTo>
                    <a:lnTo>
                      <a:pt x="1959" y="3986"/>
                    </a:lnTo>
                    <a:lnTo>
                      <a:pt x="1959" y="3995"/>
                    </a:lnTo>
                    <a:lnTo>
                      <a:pt x="1957" y="4004"/>
                    </a:lnTo>
                    <a:lnTo>
                      <a:pt x="1954" y="4013"/>
                    </a:lnTo>
                    <a:lnTo>
                      <a:pt x="1951" y="4023"/>
                    </a:lnTo>
                    <a:lnTo>
                      <a:pt x="1948" y="4032"/>
                    </a:lnTo>
                    <a:lnTo>
                      <a:pt x="1944" y="4041"/>
                    </a:lnTo>
                    <a:lnTo>
                      <a:pt x="1942" y="4050"/>
                    </a:lnTo>
                    <a:lnTo>
                      <a:pt x="1942" y="4059"/>
                    </a:lnTo>
                    <a:lnTo>
                      <a:pt x="1942" y="4062"/>
                    </a:lnTo>
                    <a:lnTo>
                      <a:pt x="1943" y="4065"/>
                    </a:lnTo>
                    <a:lnTo>
                      <a:pt x="1945" y="4067"/>
                    </a:lnTo>
                    <a:lnTo>
                      <a:pt x="1949" y="4070"/>
                    </a:lnTo>
                    <a:lnTo>
                      <a:pt x="1955" y="4074"/>
                    </a:lnTo>
                    <a:lnTo>
                      <a:pt x="1962" y="4076"/>
                    </a:lnTo>
                    <a:lnTo>
                      <a:pt x="1964" y="4075"/>
                    </a:lnTo>
                    <a:lnTo>
                      <a:pt x="1966" y="4072"/>
                    </a:lnTo>
                    <a:lnTo>
                      <a:pt x="1969" y="4067"/>
                    </a:lnTo>
                    <a:lnTo>
                      <a:pt x="1973" y="4062"/>
                    </a:lnTo>
                    <a:lnTo>
                      <a:pt x="1976" y="4055"/>
                    </a:lnTo>
                    <a:lnTo>
                      <a:pt x="1979" y="4050"/>
                    </a:lnTo>
                    <a:lnTo>
                      <a:pt x="1983" y="4047"/>
                    </a:lnTo>
                    <a:lnTo>
                      <a:pt x="1988" y="4044"/>
                    </a:lnTo>
                    <a:lnTo>
                      <a:pt x="1990" y="4051"/>
                    </a:lnTo>
                    <a:lnTo>
                      <a:pt x="1993" y="4057"/>
                    </a:lnTo>
                    <a:lnTo>
                      <a:pt x="1997" y="4063"/>
                    </a:lnTo>
                    <a:lnTo>
                      <a:pt x="2003" y="4068"/>
                    </a:lnTo>
                    <a:lnTo>
                      <a:pt x="2009" y="4074"/>
                    </a:lnTo>
                    <a:lnTo>
                      <a:pt x="2016" y="4078"/>
                    </a:lnTo>
                    <a:lnTo>
                      <a:pt x="2023" y="4082"/>
                    </a:lnTo>
                    <a:lnTo>
                      <a:pt x="2031" y="4087"/>
                    </a:lnTo>
                    <a:lnTo>
                      <a:pt x="2046" y="4093"/>
                    </a:lnTo>
                    <a:lnTo>
                      <a:pt x="2062" y="4099"/>
                    </a:lnTo>
                    <a:lnTo>
                      <a:pt x="2078" y="4102"/>
                    </a:lnTo>
                    <a:lnTo>
                      <a:pt x="2092" y="4104"/>
                    </a:lnTo>
                    <a:lnTo>
                      <a:pt x="2099" y="4105"/>
                    </a:lnTo>
                    <a:lnTo>
                      <a:pt x="2107" y="4104"/>
                    </a:lnTo>
                    <a:lnTo>
                      <a:pt x="2113" y="4102"/>
                    </a:lnTo>
                    <a:lnTo>
                      <a:pt x="2120" y="4100"/>
                    </a:lnTo>
                    <a:lnTo>
                      <a:pt x="2125" y="4095"/>
                    </a:lnTo>
                    <a:lnTo>
                      <a:pt x="2131" y="4091"/>
                    </a:lnTo>
                    <a:lnTo>
                      <a:pt x="2135" y="4087"/>
                    </a:lnTo>
                    <a:lnTo>
                      <a:pt x="2140" y="4080"/>
                    </a:lnTo>
                    <a:lnTo>
                      <a:pt x="2158" y="4053"/>
                    </a:lnTo>
                    <a:lnTo>
                      <a:pt x="2178" y="4024"/>
                    </a:lnTo>
                    <a:lnTo>
                      <a:pt x="2199" y="4000"/>
                    </a:lnTo>
                    <a:lnTo>
                      <a:pt x="2221" y="3974"/>
                    </a:lnTo>
                    <a:lnTo>
                      <a:pt x="2242" y="3949"/>
                    </a:lnTo>
                    <a:lnTo>
                      <a:pt x="2264" y="3922"/>
                    </a:lnTo>
                    <a:lnTo>
                      <a:pt x="2285" y="3895"/>
                    </a:lnTo>
                    <a:lnTo>
                      <a:pt x="2304" y="3866"/>
                    </a:lnTo>
                    <a:lnTo>
                      <a:pt x="2313" y="3852"/>
                    </a:lnTo>
                    <a:lnTo>
                      <a:pt x="2321" y="3838"/>
                    </a:lnTo>
                    <a:lnTo>
                      <a:pt x="2329" y="3824"/>
                    </a:lnTo>
                    <a:lnTo>
                      <a:pt x="2336" y="3810"/>
                    </a:lnTo>
                    <a:lnTo>
                      <a:pt x="2340" y="3798"/>
                    </a:lnTo>
                    <a:lnTo>
                      <a:pt x="2342" y="3784"/>
                    </a:lnTo>
                    <a:lnTo>
                      <a:pt x="2343" y="3770"/>
                    </a:lnTo>
                    <a:lnTo>
                      <a:pt x="2343" y="3755"/>
                    </a:lnTo>
                    <a:lnTo>
                      <a:pt x="2344" y="3740"/>
                    </a:lnTo>
                    <a:lnTo>
                      <a:pt x="2345" y="3725"/>
                    </a:lnTo>
                    <a:lnTo>
                      <a:pt x="2347" y="3711"/>
                    </a:lnTo>
                    <a:lnTo>
                      <a:pt x="2351" y="3698"/>
                    </a:lnTo>
                    <a:lnTo>
                      <a:pt x="2355" y="3685"/>
                    </a:lnTo>
                    <a:lnTo>
                      <a:pt x="2363" y="3672"/>
                    </a:lnTo>
                    <a:lnTo>
                      <a:pt x="2372" y="3658"/>
                    </a:lnTo>
                    <a:lnTo>
                      <a:pt x="2383" y="3643"/>
                    </a:lnTo>
                    <a:lnTo>
                      <a:pt x="2406" y="3616"/>
                    </a:lnTo>
                    <a:lnTo>
                      <a:pt x="2425" y="3594"/>
                    </a:lnTo>
                    <a:lnTo>
                      <a:pt x="2445" y="3587"/>
                    </a:lnTo>
                    <a:lnTo>
                      <a:pt x="2463" y="3577"/>
                    </a:lnTo>
                    <a:lnTo>
                      <a:pt x="2482" y="3566"/>
                    </a:lnTo>
                    <a:lnTo>
                      <a:pt x="2499" y="3554"/>
                    </a:lnTo>
                    <a:lnTo>
                      <a:pt x="2517" y="3542"/>
                    </a:lnTo>
                    <a:lnTo>
                      <a:pt x="2533" y="3530"/>
                    </a:lnTo>
                    <a:lnTo>
                      <a:pt x="2549" y="3517"/>
                    </a:lnTo>
                    <a:lnTo>
                      <a:pt x="2565" y="3503"/>
                    </a:lnTo>
                    <a:lnTo>
                      <a:pt x="2597" y="3474"/>
                    </a:lnTo>
                    <a:lnTo>
                      <a:pt x="2629" y="3446"/>
                    </a:lnTo>
                    <a:lnTo>
                      <a:pt x="2661" y="3418"/>
                    </a:lnTo>
                    <a:lnTo>
                      <a:pt x="2693" y="3393"/>
                    </a:lnTo>
                    <a:lnTo>
                      <a:pt x="2716" y="3378"/>
                    </a:lnTo>
                    <a:lnTo>
                      <a:pt x="2740" y="3364"/>
                    </a:lnTo>
                    <a:lnTo>
                      <a:pt x="2765" y="3351"/>
                    </a:lnTo>
                    <a:lnTo>
                      <a:pt x="2791" y="3339"/>
                    </a:lnTo>
                    <a:lnTo>
                      <a:pt x="2844" y="3317"/>
                    </a:lnTo>
                    <a:lnTo>
                      <a:pt x="2899" y="3294"/>
                    </a:lnTo>
                    <a:lnTo>
                      <a:pt x="2926" y="3282"/>
                    </a:lnTo>
                    <a:lnTo>
                      <a:pt x="2952" y="3269"/>
                    </a:lnTo>
                    <a:lnTo>
                      <a:pt x="2978" y="3256"/>
                    </a:lnTo>
                    <a:lnTo>
                      <a:pt x="3002" y="3241"/>
                    </a:lnTo>
                    <a:lnTo>
                      <a:pt x="3026" y="3226"/>
                    </a:lnTo>
                    <a:lnTo>
                      <a:pt x="3048" y="3208"/>
                    </a:lnTo>
                    <a:lnTo>
                      <a:pt x="3057" y="3199"/>
                    </a:lnTo>
                    <a:lnTo>
                      <a:pt x="3068" y="3189"/>
                    </a:lnTo>
                    <a:lnTo>
                      <a:pt x="3077" y="3179"/>
                    </a:lnTo>
                    <a:lnTo>
                      <a:pt x="3085" y="3168"/>
                    </a:lnTo>
                    <a:lnTo>
                      <a:pt x="3107" y="3140"/>
                    </a:lnTo>
                    <a:lnTo>
                      <a:pt x="3129" y="3114"/>
                    </a:lnTo>
                    <a:lnTo>
                      <a:pt x="3150" y="3090"/>
                    </a:lnTo>
                    <a:lnTo>
                      <a:pt x="3172" y="3068"/>
                    </a:lnTo>
                    <a:lnTo>
                      <a:pt x="3194" y="3048"/>
                    </a:lnTo>
                    <a:lnTo>
                      <a:pt x="3216" y="3029"/>
                    </a:lnTo>
                    <a:lnTo>
                      <a:pt x="3238" y="3012"/>
                    </a:lnTo>
                    <a:lnTo>
                      <a:pt x="3261" y="2996"/>
                    </a:lnTo>
                    <a:lnTo>
                      <a:pt x="3285" y="2981"/>
                    </a:lnTo>
                    <a:lnTo>
                      <a:pt x="3310" y="2967"/>
                    </a:lnTo>
                    <a:lnTo>
                      <a:pt x="3336" y="2954"/>
                    </a:lnTo>
                    <a:lnTo>
                      <a:pt x="3363" y="2942"/>
                    </a:lnTo>
                    <a:lnTo>
                      <a:pt x="3391" y="2930"/>
                    </a:lnTo>
                    <a:lnTo>
                      <a:pt x="3421" y="2919"/>
                    </a:lnTo>
                    <a:lnTo>
                      <a:pt x="3453" y="2909"/>
                    </a:lnTo>
                    <a:lnTo>
                      <a:pt x="3486" y="2899"/>
                    </a:lnTo>
                    <a:lnTo>
                      <a:pt x="3523" y="2888"/>
                    </a:lnTo>
                    <a:lnTo>
                      <a:pt x="3557" y="2878"/>
                    </a:lnTo>
                    <a:lnTo>
                      <a:pt x="3573" y="2875"/>
                    </a:lnTo>
                    <a:lnTo>
                      <a:pt x="3590" y="2872"/>
                    </a:lnTo>
                    <a:lnTo>
                      <a:pt x="3609" y="2870"/>
                    </a:lnTo>
                    <a:lnTo>
                      <a:pt x="3628" y="2869"/>
                    </a:lnTo>
                    <a:lnTo>
                      <a:pt x="3659" y="2867"/>
                    </a:lnTo>
                    <a:lnTo>
                      <a:pt x="3686" y="2865"/>
                    </a:lnTo>
                    <a:lnTo>
                      <a:pt x="3712" y="2862"/>
                    </a:lnTo>
                    <a:lnTo>
                      <a:pt x="3736" y="2856"/>
                    </a:lnTo>
                    <a:lnTo>
                      <a:pt x="3761" y="2849"/>
                    </a:lnTo>
                    <a:lnTo>
                      <a:pt x="3786" y="2839"/>
                    </a:lnTo>
                    <a:lnTo>
                      <a:pt x="3812" y="2829"/>
                    </a:lnTo>
                    <a:lnTo>
                      <a:pt x="3840" y="2816"/>
                    </a:lnTo>
                    <a:lnTo>
                      <a:pt x="3858" y="2808"/>
                    </a:lnTo>
                    <a:lnTo>
                      <a:pt x="3884" y="2796"/>
                    </a:lnTo>
                    <a:lnTo>
                      <a:pt x="3913" y="2783"/>
                    </a:lnTo>
                    <a:lnTo>
                      <a:pt x="3942" y="2767"/>
                    </a:lnTo>
                    <a:lnTo>
                      <a:pt x="3955" y="2759"/>
                    </a:lnTo>
                    <a:lnTo>
                      <a:pt x="3965" y="2751"/>
                    </a:lnTo>
                    <a:lnTo>
                      <a:pt x="3974" y="2742"/>
                    </a:lnTo>
                    <a:lnTo>
                      <a:pt x="3981" y="2734"/>
                    </a:lnTo>
                    <a:lnTo>
                      <a:pt x="3983" y="2729"/>
                    </a:lnTo>
                    <a:lnTo>
                      <a:pt x="3984" y="2725"/>
                    </a:lnTo>
                    <a:lnTo>
                      <a:pt x="3984" y="2721"/>
                    </a:lnTo>
                    <a:lnTo>
                      <a:pt x="3983" y="2716"/>
                    </a:lnTo>
                    <a:lnTo>
                      <a:pt x="3981" y="2712"/>
                    </a:lnTo>
                    <a:lnTo>
                      <a:pt x="3978" y="2708"/>
                    </a:lnTo>
                    <a:lnTo>
                      <a:pt x="3974" y="2703"/>
                    </a:lnTo>
                    <a:lnTo>
                      <a:pt x="3969" y="2699"/>
                    </a:lnTo>
                    <a:lnTo>
                      <a:pt x="3963" y="2695"/>
                    </a:lnTo>
                    <a:lnTo>
                      <a:pt x="3960" y="2688"/>
                    </a:lnTo>
                    <a:lnTo>
                      <a:pt x="3957" y="2680"/>
                    </a:lnTo>
                    <a:lnTo>
                      <a:pt x="3954" y="2671"/>
                    </a:lnTo>
                    <a:lnTo>
                      <a:pt x="3952" y="2661"/>
                    </a:lnTo>
                    <a:lnTo>
                      <a:pt x="3951" y="2650"/>
                    </a:lnTo>
                    <a:lnTo>
                      <a:pt x="3950" y="2639"/>
                    </a:lnTo>
                    <a:lnTo>
                      <a:pt x="3951" y="2628"/>
                    </a:lnTo>
                    <a:lnTo>
                      <a:pt x="3952" y="2617"/>
                    </a:lnTo>
                    <a:lnTo>
                      <a:pt x="3956" y="2606"/>
                    </a:lnTo>
                    <a:lnTo>
                      <a:pt x="3958" y="2596"/>
                    </a:lnTo>
                    <a:lnTo>
                      <a:pt x="3962" y="2588"/>
                    </a:lnTo>
                    <a:lnTo>
                      <a:pt x="3968" y="2581"/>
                    </a:lnTo>
                    <a:lnTo>
                      <a:pt x="3973" y="2576"/>
                    </a:lnTo>
                    <a:lnTo>
                      <a:pt x="3976" y="2574"/>
                    </a:lnTo>
                    <a:lnTo>
                      <a:pt x="3980" y="2573"/>
                    </a:lnTo>
                    <a:lnTo>
                      <a:pt x="3983" y="2572"/>
                    </a:lnTo>
                    <a:lnTo>
                      <a:pt x="3987" y="2570"/>
                    </a:lnTo>
                    <a:lnTo>
                      <a:pt x="3988" y="2569"/>
                    </a:lnTo>
                    <a:lnTo>
                      <a:pt x="3989" y="2567"/>
                    </a:lnTo>
                    <a:lnTo>
                      <a:pt x="3994" y="2567"/>
                    </a:lnTo>
                    <a:lnTo>
                      <a:pt x="3998" y="2565"/>
                    </a:lnTo>
                    <a:lnTo>
                      <a:pt x="4001" y="2563"/>
                    </a:lnTo>
                    <a:lnTo>
                      <a:pt x="4004" y="2560"/>
                    </a:lnTo>
                    <a:lnTo>
                      <a:pt x="4008" y="2552"/>
                    </a:lnTo>
                    <a:lnTo>
                      <a:pt x="4010" y="2542"/>
                    </a:lnTo>
                    <a:lnTo>
                      <a:pt x="4012" y="2532"/>
                    </a:lnTo>
                    <a:lnTo>
                      <a:pt x="4013" y="2523"/>
                    </a:lnTo>
                    <a:lnTo>
                      <a:pt x="4015" y="2519"/>
                    </a:lnTo>
                    <a:lnTo>
                      <a:pt x="4016" y="2515"/>
                    </a:lnTo>
                    <a:lnTo>
                      <a:pt x="4019" y="2512"/>
                    </a:lnTo>
                    <a:lnTo>
                      <a:pt x="4022" y="2510"/>
                    </a:lnTo>
                    <a:lnTo>
                      <a:pt x="4032" y="2506"/>
                    </a:lnTo>
                    <a:lnTo>
                      <a:pt x="4040" y="2501"/>
                    </a:lnTo>
                    <a:lnTo>
                      <a:pt x="4047" y="2496"/>
                    </a:lnTo>
                    <a:lnTo>
                      <a:pt x="4052" y="2492"/>
                    </a:lnTo>
                    <a:lnTo>
                      <a:pt x="4055" y="2487"/>
                    </a:lnTo>
                    <a:lnTo>
                      <a:pt x="4058" y="2482"/>
                    </a:lnTo>
                    <a:lnTo>
                      <a:pt x="4059" y="2478"/>
                    </a:lnTo>
                    <a:lnTo>
                      <a:pt x="4060" y="2472"/>
                    </a:lnTo>
                    <a:lnTo>
                      <a:pt x="4060" y="2461"/>
                    </a:lnTo>
                    <a:lnTo>
                      <a:pt x="4059" y="2448"/>
                    </a:lnTo>
                    <a:lnTo>
                      <a:pt x="4059" y="2441"/>
                    </a:lnTo>
                    <a:lnTo>
                      <a:pt x="4059" y="2432"/>
                    </a:lnTo>
                    <a:lnTo>
                      <a:pt x="4060" y="2424"/>
                    </a:lnTo>
                    <a:lnTo>
                      <a:pt x="4061" y="2414"/>
                    </a:lnTo>
                    <a:lnTo>
                      <a:pt x="4063" y="2404"/>
                    </a:lnTo>
                    <a:lnTo>
                      <a:pt x="4064" y="2390"/>
                    </a:lnTo>
                    <a:lnTo>
                      <a:pt x="4064" y="2383"/>
                    </a:lnTo>
                    <a:lnTo>
                      <a:pt x="4063" y="2377"/>
                    </a:lnTo>
                    <a:lnTo>
                      <a:pt x="4062" y="2374"/>
                    </a:lnTo>
                    <a:lnTo>
                      <a:pt x="4061" y="2373"/>
                    </a:lnTo>
                    <a:lnTo>
                      <a:pt x="4059" y="2371"/>
                    </a:lnTo>
                    <a:lnTo>
                      <a:pt x="4056" y="2371"/>
                    </a:lnTo>
                    <a:lnTo>
                      <a:pt x="4035" y="2370"/>
                    </a:lnTo>
                    <a:lnTo>
                      <a:pt x="4027" y="2367"/>
                    </a:lnTo>
                    <a:lnTo>
                      <a:pt x="4021" y="2361"/>
                    </a:lnTo>
                    <a:lnTo>
                      <a:pt x="4001" y="2345"/>
                    </a:lnTo>
                    <a:lnTo>
                      <a:pt x="3999" y="2334"/>
                    </a:lnTo>
                    <a:lnTo>
                      <a:pt x="3994" y="2319"/>
                    </a:lnTo>
                    <a:lnTo>
                      <a:pt x="3990" y="2311"/>
                    </a:lnTo>
                    <a:lnTo>
                      <a:pt x="3986" y="2305"/>
                    </a:lnTo>
                    <a:lnTo>
                      <a:pt x="3984" y="2303"/>
                    </a:lnTo>
                    <a:lnTo>
                      <a:pt x="3982" y="2300"/>
                    </a:lnTo>
                    <a:lnTo>
                      <a:pt x="3980" y="2300"/>
                    </a:lnTo>
                    <a:lnTo>
                      <a:pt x="3977" y="2300"/>
                    </a:lnTo>
                    <a:lnTo>
                      <a:pt x="3970" y="2308"/>
                    </a:lnTo>
                    <a:lnTo>
                      <a:pt x="3958" y="2318"/>
                    </a:lnTo>
                    <a:lnTo>
                      <a:pt x="3955" y="2320"/>
                    </a:lnTo>
                    <a:lnTo>
                      <a:pt x="3952" y="2321"/>
                    </a:lnTo>
                    <a:lnTo>
                      <a:pt x="3949" y="2321"/>
                    </a:lnTo>
                    <a:lnTo>
                      <a:pt x="3947" y="2321"/>
                    </a:lnTo>
                    <a:lnTo>
                      <a:pt x="3945" y="2319"/>
                    </a:lnTo>
                    <a:lnTo>
                      <a:pt x="3943" y="2316"/>
                    </a:lnTo>
                    <a:lnTo>
                      <a:pt x="3942" y="2310"/>
                    </a:lnTo>
                    <a:lnTo>
                      <a:pt x="3942" y="2304"/>
                    </a:lnTo>
                    <a:lnTo>
                      <a:pt x="3941" y="2295"/>
                    </a:lnTo>
                    <a:lnTo>
                      <a:pt x="3939" y="2286"/>
                    </a:lnTo>
                    <a:lnTo>
                      <a:pt x="3938" y="2279"/>
                    </a:lnTo>
                    <a:lnTo>
                      <a:pt x="3936" y="2271"/>
                    </a:lnTo>
                    <a:lnTo>
                      <a:pt x="3934" y="2265"/>
                    </a:lnTo>
                    <a:lnTo>
                      <a:pt x="3930" y="2259"/>
                    </a:lnTo>
                    <a:lnTo>
                      <a:pt x="3924" y="2254"/>
                    </a:lnTo>
                    <a:lnTo>
                      <a:pt x="3917" y="2249"/>
                    </a:lnTo>
                    <a:lnTo>
                      <a:pt x="3903" y="2265"/>
                    </a:lnTo>
                    <a:lnTo>
                      <a:pt x="3890" y="2284"/>
                    </a:lnTo>
                    <a:lnTo>
                      <a:pt x="3886" y="2288"/>
                    </a:lnTo>
                    <a:lnTo>
                      <a:pt x="3882" y="2291"/>
                    </a:lnTo>
                    <a:lnTo>
                      <a:pt x="3878" y="2294"/>
                    </a:lnTo>
                    <a:lnTo>
                      <a:pt x="3873" y="2295"/>
                    </a:lnTo>
                    <a:lnTo>
                      <a:pt x="3869" y="2295"/>
                    </a:lnTo>
                    <a:lnTo>
                      <a:pt x="3864" y="2294"/>
                    </a:lnTo>
                    <a:lnTo>
                      <a:pt x="3857" y="2292"/>
                    </a:lnTo>
                    <a:lnTo>
                      <a:pt x="3851" y="2288"/>
                    </a:lnTo>
                    <a:lnTo>
                      <a:pt x="3847" y="2284"/>
                    </a:lnTo>
                    <a:lnTo>
                      <a:pt x="3845" y="2281"/>
                    </a:lnTo>
                    <a:lnTo>
                      <a:pt x="3843" y="2276"/>
                    </a:lnTo>
                    <a:lnTo>
                      <a:pt x="3842" y="2270"/>
                    </a:lnTo>
                    <a:lnTo>
                      <a:pt x="3841" y="2257"/>
                    </a:lnTo>
                    <a:lnTo>
                      <a:pt x="3842" y="2244"/>
                    </a:lnTo>
                    <a:lnTo>
                      <a:pt x="3844" y="2217"/>
                    </a:lnTo>
                    <a:lnTo>
                      <a:pt x="3846" y="2196"/>
                    </a:lnTo>
                    <a:lnTo>
                      <a:pt x="3842" y="2190"/>
                    </a:lnTo>
                    <a:lnTo>
                      <a:pt x="3834" y="2180"/>
                    </a:lnTo>
                    <a:lnTo>
                      <a:pt x="3827" y="2168"/>
                    </a:lnTo>
                    <a:lnTo>
                      <a:pt x="3823" y="2161"/>
                    </a:lnTo>
                    <a:lnTo>
                      <a:pt x="3823" y="2157"/>
                    </a:lnTo>
                    <a:lnTo>
                      <a:pt x="3825" y="2154"/>
                    </a:lnTo>
                    <a:lnTo>
                      <a:pt x="3827" y="2151"/>
                    </a:lnTo>
                    <a:lnTo>
                      <a:pt x="3829" y="2148"/>
                    </a:lnTo>
                    <a:lnTo>
                      <a:pt x="3835" y="2145"/>
                    </a:lnTo>
                    <a:lnTo>
                      <a:pt x="3843" y="2141"/>
                    </a:lnTo>
                    <a:lnTo>
                      <a:pt x="3851" y="2137"/>
                    </a:lnTo>
                    <a:lnTo>
                      <a:pt x="3858" y="2134"/>
                    </a:lnTo>
                    <a:lnTo>
                      <a:pt x="3861" y="2132"/>
                    </a:lnTo>
                    <a:lnTo>
                      <a:pt x="3864" y="2129"/>
                    </a:lnTo>
                    <a:lnTo>
                      <a:pt x="3866" y="2127"/>
                    </a:lnTo>
                    <a:lnTo>
                      <a:pt x="3867" y="2122"/>
                    </a:lnTo>
                    <a:lnTo>
                      <a:pt x="3859" y="2114"/>
                    </a:lnTo>
                    <a:lnTo>
                      <a:pt x="3853" y="2102"/>
                    </a:lnTo>
                    <a:lnTo>
                      <a:pt x="3849" y="2095"/>
                    </a:lnTo>
                    <a:lnTo>
                      <a:pt x="3846" y="2089"/>
                    </a:lnTo>
                    <a:lnTo>
                      <a:pt x="3845" y="2081"/>
                    </a:lnTo>
                    <a:lnTo>
                      <a:pt x="3843" y="2075"/>
                    </a:lnTo>
                    <a:lnTo>
                      <a:pt x="3843" y="2068"/>
                    </a:lnTo>
                    <a:lnTo>
                      <a:pt x="3843" y="2062"/>
                    </a:lnTo>
                    <a:lnTo>
                      <a:pt x="3844" y="2055"/>
                    </a:lnTo>
                    <a:lnTo>
                      <a:pt x="3846" y="2050"/>
                    </a:lnTo>
                    <a:lnTo>
                      <a:pt x="3848" y="2045"/>
                    </a:lnTo>
                    <a:lnTo>
                      <a:pt x="3853" y="2040"/>
                    </a:lnTo>
                    <a:lnTo>
                      <a:pt x="3859" y="2037"/>
                    </a:lnTo>
                    <a:lnTo>
                      <a:pt x="3866" y="2035"/>
                    </a:lnTo>
                    <a:lnTo>
                      <a:pt x="3875" y="2034"/>
                    </a:lnTo>
                    <a:lnTo>
                      <a:pt x="3885" y="2033"/>
                    </a:lnTo>
                    <a:lnTo>
                      <a:pt x="3890" y="2033"/>
                    </a:lnTo>
                    <a:lnTo>
                      <a:pt x="3894" y="2032"/>
                    </a:lnTo>
                    <a:lnTo>
                      <a:pt x="3899" y="2030"/>
                    </a:lnTo>
                    <a:lnTo>
                      <a:pt x="3904" y="2027"/>
                    </a:lnTo>
                    <a:lnTo>
                      <a:pt x="3913" y="2019"/>
                    </a:lnTo>
                    <a:lnTo>
                      <a:pt x="3924" y="2007"/>
                    </a:lnTo>
                    <a:lnTo>
                      <a:pt x="3933" y="1994"/>
                    </a:lnTo>
                    <a:lnTo>
                      <a:pt x="3941" y="1983"/>
                    </a:lnTo>
                    <a:lnTo>
                      <a:pt x="3941" y="1726"/>
                    </a:lnTo>
                    <a:lnTo>
                      <a:pt x="4470" y="1602"/>
                    </a:lnTo>
                    <a:lnTo>
                      <a:pt x="4470" y="1602"/>
                    </a:lnTo>
                    <a:lnTo>
                      <a:pt x="4448" y="1586"/>
                    </a:lnTo>
                    <a:lnTo>
                      <a:pt x="4406" y="1557"/>
                    </a:lnTo>
                    <a:lnTo>
                      <a:pt x="4365" y="1532"/>
                    </a:lnTo>
                    <a:lnTo>
                      <a:pt x="4344" y="1519"/>
                    </a:lnTo>
                    <a:lnTo>
                      <a:pt x="4345" y="1512"/>
                    </a:lnTo>
                    <a:lnTo>
                      <a:pt x="4347" y="1507"/>
                    </a:lnTo>
                    <a:lnTo>
                      <a:pt x="4350" y="1502"/>
                    </a:lnTo>
                    <a:lnTo>
                      <a:pt x="4356" y="1499"/>
                    </a:lnTo>
                    <a:lnTo>
                      <a:pt x="4362" y="1496"/>
                    </a:lnTo>
                    <a:lnTo>
                      <a:pt x="4369" y="1494"/>
                    </a:lnTo>
                    <a:lnTo>
                      <a:pt x="4376" y="1492"/>
                    </a:lnTo>
                    <a:lnTo>
                      <a:pt x="4384" y="1489"/>
                    </a:lnTo>
                    <a:lnTo>
                      <a:pt x="4400" y="1487"/>
                    </a:lnTo>
                    <a:lnTo>
                      <a:pt x="4416" y="1485"/>
                    </a:lnTo>
                    <a:lnTo>
                      <a:pt x="4429" y="1483"/>
                    </a:lnTo>
                    <a:lnTo>
                      <a:pt x="4439" y="1480"/>
                    </a:lnTo>
                    <a:lnTo>
                      <a:pt x="4449" y="1473"/>
                    </a:lnTo>
                    <a:lnTo>
                      <a:pt x="4456" y="1468"/>
                    </a:lnTo>
                    <a:lnTo>
                      <a:pt x="4463" y="1462"/>
                    </a:lnTo>
                    <a:lnTo>
                      <a:pt x="4467" y="1456"/>
                    </a:lnTo>
                    <a:lnTo>
                      <a:pt x="4472" y="1451"/>
                    </a:lnTo>
                    <a:lnTo>
                      <a:pt x="4474" y="1444"/>
                    </a:lnTo>
                    <a:lnTo>
                      <a:pt x="4476" y="1438"/>
                    </a:lnTo>
                    <a:lnTo>
                      <a:pt x="4476" y="1432"/>
                    </a:lnTo>
                    <a:lnTo>
                      <a:pt x="4474" y="1426"/>
                    </a:lnTo>
                    <a:lnTo>
                      <a:pt x="4472" y="1420"/>
                    </a:lnTo>
                    <a:lnTo>
                      <a:pt x="4468" y="1415"/>
                    </a:lnTo>
                    <a:lnTo>
                      <a:pt x="4463" y="1408"/>
                    </a:lnTo>
                    <a:lnTo>
                      <a:pt x="4456" y="1403"/>
                    </a:lnTo>
                    <a:lnTo>
                      <a:pt x="4449" y="1398"/>
                    </a:lnTo>
                    <a:lnTo>
                      <a:pt x="4440" y="1392"/>
                    </a:lnTo>
                    <a:lnTo>
                      <a:pt x="4429" y="1387"/>
                    </a:lnTo>
                    <a:lnTo>
                      <a:pt x="4416" y="1380"/>
                    </a:lnTo>
                    <a:lnTo>
                      <a:pt x="4404" y="1374"/>
                    </a:lnTo>
                    <a:lnTo>
                      <a:pt x="4392" y="1367"/>
                    </a:lnTo>
                    <a:lnTo>
                      <a:pt x="4383" y="1360"/>
                    </a:lnTo>
                    <a:lnTo>
                      <a:pt x="4373" y="1352"/>
                    </a:lnTo>
                    <a:lnTo>
                      <a:pt x="4363" y="1344"/>
                    </a:lnTo>
                    <a:lnTo>
                      <a:pt x="4354" y="1333"/>
                    </a:lnTo>
                    <a:lnTo>
                      <a:pt x="4346" y="1321"/>
                    </a:lnTo>
                    <a:lnTo>
                      <a:pt x="4343" y="1316"/>
                    </a:lnTo>
                    <a:lnTo>
                      <a:pt x="4339" y="1309"/>
                    </a:lnTo>
                    <a:lnTo>
                      <a:pt x="4337" y="1301"/>
                    </a:lnTo>
                    <a:lnTo>
                      <a:pt x="4336" y="1294"/>
                    </a:lnTo>
                    <a:lnTo>
                      <a:pt x="4334" y="1279"/>
                    </a:lnTo>
                    <a:lnTo>
                      <a:pt x="4333" y="1262"/>
                    </a:lnTo>
                    <a:lnTo>
                      <a:pt x="4332" y="1244"/>
                    </a:lnTo>
                    <a:lnTo>
                      <a:pt x="4332" y="1227"/>
                    </a:lnTo>
                    <a:lnTo>
                      <a:pt x="4330" y="1211"/>
                    </a:lnTo>
                    <a:lnTo>
                      <a:pt x="4327" y="1197"/>
                    </a:lnTo>
                    <a:lnTo>
                      <a:pt x="4332" y="1176"/>
                    </a:lnTo>
                    <a:lnTo>
                      <a:pt x="4339" y="1152"/>
                    </a:lnTo>
                    <a:lnTo>
                      <a:pt x="4344" y="1139"/>
                    </a:lnTo>
                    <a:lnTo>
                      <a:pt x="4349" y="1129"/>
                    </a:lnTo>
                    <a:lnTo>
                      <a:pt x="4353" y="1118"/>
                    </a:lnTo>
                    <a:lnTo>
                      <a:pt x="4359" y="1110"/>
                    </a:lnTo>
                    <a:lnTo>
                      <a:pt x="4373" y="1096"/>
                    </a:lnTo>
                    <a:lnTo>
                      <a:pt x="4393" y="1076"/>
                    </a:lnTo>
                    <a:lnTo>
                      <a:pt x="4402" y="1066"/>
                    </a:lnTo>
                    <a:lnTo>
                      <a:pt x="4410" y="1056"/>
                    </a:lnTo>
                    <a:lnTo>
                      <a:pt x="4413" y="1052"/>
                    </a:lnTo>
                    <a:lnTo>
                      <a:pt x="4414" y="1048"/>
                    </a:lnTo>
                    <a:lnTo>
                      <a:pt x="4415" y="1044"/>
                    </a:lnTo>
                    <a:lnTo>
                      <a:pt x="4414" y="1041"/>
                    </a:lnTo>
                    <a:lnTo>
                      <a:pt x="4412" y="1039"/>
                    </a:lnTo>
                    <a:lnTo>
                      <a:pt x="4410" y="1037"/>
                    </a:lnTo>
                    <a:lnTo>
                      <a:pt x="4406" y="1036"/>
                    </a:lnTo>
                    <a:lnTo>
                      <a:pt x="4402" y="1034"/>
                    </a:lnTo>
                    <a:lnTo>
                      <a:pt x="4392" y="1034"/>
                    </a:lnTo>
                    <a:lnTo>
                      <a:pt x="4380" y="1034"/>
                    </a:lnTo>
                    <a:lnTo>
                      <a:pt x="4366" y="1036"/>
                    </a:lnTo>
                    <a:lnTo>
                      <a:pt x="4351" y="1038"/>
                    </a:lnTo>
                    <a:lnTo>
                      <a:pt x="4336" y="1041"/>
                    </a:lnTo>
                    <a:lnTo>
                      <a:pt x="4319" y="1046"/>
                    </a:lnTo>
                    <a:lnTo>
                      <a:pt x="4286" y="1055"/>
                    </a:lnTo>
                    <a:lnTo>
                      <a:pt x="4255" y="1065"/>
                    </a:lnTo>
                    <a:lnTo>
                      <a:pt x="4229" y="1074"/>
                    </a:lnTo>
                    <a:lnTo>
                      <a:pt x="4211" y="1078"/>
                    </a:lnTo>
                    <a:lnTo>
                      <a:pt x="4201" y="1079"/>
                    </a:lnTo>
                    <a:lnTo>
                      <a:pt x="4185" y="1079"/>
                    </a:lnTo>
                    <a:lnTo>
                      <a:pt x="4177" y="1078"/>
                    </a:lnTo>
                    <a:lnTo>
                      <a:pt x="4171" y="1077"/>
                    </a:lnTo>
                    <a:lnTo>
                      <a:pt x="4168" y="1076"/>
                    </a:lnTo>
                    <a:lnTo>
                      <a:pt x="4167" y="1075"/>
                    </a:lnTo>
                    <a:lnTo>
                      <a:pt x="4166" y="1074"/>
                    </a:lnTo>
                    <a:lnTo>
                      <a:pt x="4166" y="1071"/>
                    </a:lnTo>
                    <a:lnTo>
                      <a:pt x="4151" y="1065"/>
                    </a:lnTo>
                    <a:lnTo>
                      <a:pt x="4139" y="1057"/>
                    </a:lnTo>
                    <a:lnTo>
                      <a:pt x="4129" y="1051"/>
                    </a:lnTo>
                    <a:lnTo>
                      <a:pt x="4120" y="1044"/>
                    </a:lnTo>
                    <a:lnTo>
                      <a:pt x="4113" y="1039"/>
                    </a:lnTo>
                    <a:lnTo>
                      <a:pt x="4105" y="1034"/>
                    </a:lnTo>
                    <a:lnTo>
                      <a:pt x="4100" y="1029"/>
                    </a:lnTo>
                    <a:lnTo>
                      <a:pt x="4093" y="1026"/>
                    </a:lnTo>
                    <a:lnTo>
                      <a:pt x="4087" y="1025"/>
                    </a:lnTo>
                    <a:lnTo>
                      <a:pt x="4080" y="1025"/>
                    </a:lnTo>
                    <a:lnTo>
                      <a:pt x="4072" y="1027"/>
                    </a:lnTo>
                    <a:lnTo>
                      <a:pt x="4063" y="1031"/>
                    </a:lnTo>
                    <a:lnTo>
                      <a:pt x="4051" y="1038"/>
                    </a:lnTo>
                    <a:lnTo>
                      <a:pt x="4038" y="1047"/>
                    </a:lnTo>
                    <a:lnTo>
                      <a:pt x="4023" y="1058"/>
                    </a:lnTo>
                    <a:lnTo>
                      <a:pt x="4004" y="1073"/>
                    </a:lnTo>
                    <a:lnTo>
                      <a:pt x="3988" y="1084"/>
                    </a:lnTo>
                    <a:lnTo>
                      <a:pt x="3975" y="1093"/>
                    </a:lnTo>
                    <a:lnTo>
                      <a:pt x="3970" y="1095"/>
                    </a:lnTo>
                    <a:lnTo>
                      <a:pt x="3965" y="1097"/>
                    </a:lnTo>
                    <a:lnTo>
                      <a:pt x="3961" y="1098"/>
                    </a:lnTo>
                    <a:lnTo>
                      <a:pt x="3958" y="1098"/>
                    </a:lnTo>
                    <a:lnTo>
                      <a:pt x="3955" y="1098"/>
                    </a:lnTo>
                    <a:lnTo>
                      <a:pt x="3952" y="1096"/>
                    </a:lnTo>
                    <a:lnTo>
                      <a:pt x="3950" y="1095"/>
                    </a:lnTo>
                    <a:lnTo>
                      <a:pt x="3949" y="1092"/>
                    </a:lnTo>
                    <a:lnTo>
                      <a:pt x="3946" y="1087"/>
                    </a:lnTo>
                    <a:lnTo>
                      <a:pt x="3944" y="1078"/>
                    </a:lnTo>
                    <a:lnTo>
                      <a:pt x="3942" y="1060"/>
                    </a:lnTo>
                    <a:lnTo>
                      <a:pt x="3937" y="1038"/>
                    </a:lnTo>
                    <a:lnTo>
                      <a:pt x="3933" y="1028"/>
                    </a:lnTo>
                    <a:lnTo>
                      <a:pt x="3928" y="1020"/>
                    </a:lnTo>
                    <a:lnTo>
                      <a:pt x="3924" y="1015"/>
                    </a:lnTo>
                    <a:lnTo>
                      <a:pt x="3920" y="1011"/>
                    </a:lnTo>
                    <a:lnTo>
                      <a:pt x="3916" y="1008"/>
                    </a:lnTo>
                    <a:lnTo>
                      <a:pt x="3910" y="1006"/>
                    </a:lnTo>
                    <a:lnTo>
                      <a:pt x="3884" y="996"/>
                    </a:lnTo>
                    <a:lnTo>
                      <a:pt x="3867" y="990"/>
                    </a:lnTo>
                    <a:lnTo>
                      <a:pt x="3859" y="987"/>
                    </a:lnTo>
                    <a:lnTo>
                      <a:pt x="3853" y="982"/>
                    </a:lnTo>
                    <a:lnTo>
                      <a:pt x="3845" y="972"/>
                    </a:lnTo>
                    <a:lnTo>
                      <a:pt x="3838" y="958"/>
                    </a:lnTo>
                    <a:lnTo>
                      <a:pt x="3829" y="942"/>
                    </a:lnTo>
                    <a:lnTo>
                      <a:pt x="3823" y="923"/>
                    </a:lnTo>
                    <a:lnTo>
                      <a:pt x="3818" y="905"/>
                    </a:lnTo>
                    <a:lnTo>
                      <a:pt x="3814" y="887"/>
                    </a:lnTo>
                    <a:lnTo>
                      <a:pt x="3808" y="868"/>
                    </a:lnTo>
                    <a:lnTo>
                      <a:pt x="3804" y="850"/>
                    </a:lnTo>
                    <a:lnTo>
                      <a:pt x="3801" y="841"/>
                    </a:lnTo>
                    <a:lnTo>
                      <a:pt x="3796" y="833"/>
                    </a:lnTo>
                    <a:lnTo>
                      <a:pt x="3793" y="824"/>
                    </a:lnTo>
                    <a:lnTo>
                      <a:pt x="3788" y="817"/>
                    </a:lnTo>
                    <a:lnTo>
                      <a:pt x="3775" y="796"/>
                    </a:lnTo>
                    <a:lnTo>
                      <a:pt x="3760" y="778"/>
                    </a:lnTo>
                    <a:lnTo>
                      <a:pt x="3745" y="761"/>
                    </a:lnTo>
                    <a:lnTo>
                      <a:pt x="3730" y="747"/>
                    </a:lnTo>
                    <a:lnTo>
                      <a:pt x="3715" y="732"/>
                    </a:lnTo>
                    <a:lnTo>
                      <a:pt x="3700" y="717"/>
                    </a:lnTo>
                    <a:lnTo>
                      <a:pt x="3686" y="702"/>
                    </a:lnTo>
                    <a:lnTo>
                      <a:pt x="3672" y="685"/>
                    </a:lnTo>
                    <a:lnTo>
                      <a:pt x="3667" y="678"/>
                    </a:lnTo>
                    <a:lnTo>
                      <a:pt x="3665" y="673"/>
                    </a:lnTo>
                    <a:lnTo>
                      <a:pt x="3664" y="668"/>
                    </a:lnTo>
                    <a:lnTo>
                      <a:pt x="3664" y="663"/>
                    </a:lnTo>
                    <a:lnTo>
                      <a:pt x="3664" y="659"/>
                    </a:lnTo>
                    <a:lnTo>
                      <a:pt x="3666" y="656"/>
                    </a:lnTo>
                    <a:lnTo>
                      <a:pt x="3668" y="651"/>
                    </a:lnTo>
                    <a:lnTo>
                      <a:pt x="3671" y="648"/>
                    </a:lnTo>
                    <a:lnTo>
                      <a:pt x="3676" y="641"/>
                    </a:lnTo>
                    <a:lnTo>
                      <a:pt x="3681" y="632"/>
                    </a:lnTo>
                    <a:lnTo>
                      <a:pt x="3685" y="628"/>
                    </a:lnTo>
                    <a:lnTo>
                      <a:pt x="3686" y="623"/>
                    </a:lnTo>
                    <a:lnTo>
                      <a:pt x="3688" y="618"/>
                    </a:lnTo>
                    <a:lnTo>
                      <a:pt x="3688" y="612"/>
                    </a:lnTo>
                    <a:lnTo>
                      <a:pt x="3618" y="562"/>
                    </a:lnTo>
                    <a:lnTo>
                      <a:pt x="3618" y="562"/>
                    </a:lnTo>
                    <a:lnTo>
                      <a:pt x="3588" y="552"/>
                    </a:lnTo>
                    <a:lnTo>
                      <a:pt x="3584" y="550"/>
                    </a:lnTo>
                    <a:lnTo>
                      <a:pt x="3580" y="547"/>
                    </a:lnTo>
                    <a:lnTo>
                      <a:pt x="3577" y="543"/>
                    </a:lnTo>
                    <a:lnTo>
                      <a:pt x="3574" y="539"/>
                    </a:lnTo>
                    <a:lnTo>
                      <a:pt x="3571" y="529"/>
                    </a:lnTo>
                    <a:lnTo>
                      <a:pt x="3568" y="520"/>
                    </a:lnTo>
                    <a:lnTo>
                      <a:pt x="3566" y="510"/>
                    </a:lnTo>
                    <a:lnTo>
                      <a:pt x="3562" y="502"/>
                    </a:lnTo>
                    <a:lnTo>
                      <a:pt x="3559" y="499"/>
                    </a:lnTo>
                    <a:lnTo>
                      <a:pt x="3557" y="497"/>
                    </a:lnTo>
                    <a:lnTo>
                      <a:pt x="3554" y="495"/>
                    </a:lnTo>
                    <a:lnTo>
                      <a:pt x="3549" y="495"/>
                    </a:lnTo>
                    <a:lnTo>
                      <a:pt x="3545" y="495"/>
                    </a:lnTo>
                    <a:lnTo>
                      <a:pt x="3541" y="497"/>
                    </a:lnTo>
                    <a:lnTo>
                      <a:pt x="3536" y="501"/>
                    </a:lnTo>
                    <a:lnTo>
                      <a:pt x="3532" y="506"/>
                    </a:lnTo>
                    <a:lnTo>
                      <a:pt x="3524" y="517"/>
                    </a:lnTo>
                    <a:lnTo>
                      <a:pt x="3517" y="530"/>
                    </a:lnTo>
                    <a:lnTo>
                      <a:pt x="3509" y="545"/>
                    </a:lnTo>
                    <a:lnTo>
                      <a:pt x="3502" y="560"/>
                    </a:lnTo>
                    <a:lnTo>
                      <a:pt x="3497" y="565"/>
                    </a:lnTo>
                    <a:lnTo>
                      <a:pt x="3493" y="570"/>
                    </a:lnTo>
                    <a:lnTo>
                      <a:pt x="3488" y="575"/>
                    </a:lnTo>
                    <a:lnTo>
                      <a:pt x="3483" y="578"/>
                    </a:lnTo>
                    <a:lnTo>
                      <a:pt x="3477" y="581"/>
                    </a:lnTo>
                    <a:lnTo>
                      <a:pt x="3470" y="584"/>
                    </a:lnTo>
                    <a:lnTo>
                      <a:pt x="3465" y="585"/>
                    </a:lnTo>
                    <a:lnTo>
                      <a:pt x="3458" y="587"/>
                    </a:lnTo>
                    <a:lnTo>
                      <a:pt x="3446" y="588"/>
                    </a:lnTo>
                    <a:lnTo>
                      <a:pt x="3434" y="585"/>
                    </a:lnTo>
                    <a:lnTo>
                      <a:pt x="3424" y="582"/>
                    </a:lnTo>
                    <a:lnTo>
                      <a:pt x="3413" y="577"/>
                    </a:lnTo>
                    <a:lnTo>
                      <a:pt x="3402" y="570"/>
                    </a:lnTo>
                    <a:lnTo>
                      <a:pt x="3391" y="563"/>
                    </a:lnTo>
                    <a:lnTo>
                      <a:pt x="3381" y="553"/>
                    </a:lnTo>
                    <a:lnTo>
                      <a:pt x="3373" y="543"/>
                    </a:lnTo>
                    <a:lnTo>
                      <a:pt x="3364" y="534"/>
                    </a:lnTo>
                    <a:lnTo>
                      <a:pt x="3355" y="523"/>
                    </a:lnTo>
                    <a:lnTo>
                      <a:pt x="3340" y="501"/>
                    </a:lnTo>
                    <a:lnTo>
                      <a:pt x="3329" y="481"/>
                    </a:lnTo>
                    <a:lnTo>
                      <a:pt x="3320" y="464"/>
                    </a:lnTo>
                    <a:lnTo>
                      <a:pt x="3309" y="448"/>
                    </a:lnTo>
                    <a:lnTo>
                      <a:pt x="3297" y="432"/>
                    </a:lnTo>
                    <a:lnTo>
                      <a:pt x="3284" y="415"/>
                    </a:lnTo>
                    <a:lnTo>
                      <a:pt x="3257" y="383"/>
                    </a:lnTo>
                    <a:lnTo>
                      <a:pt x="3231" y="354"/>
                    </a:lnTo>
                    <a:lnTo>
                      <a:pt x="3127" y="234"/>
                    </a:lnTo>
                    <a:lnTo>
                      <a:pt x="3123" y="231"/>
                    </a:lnTo>
                    <a:lnTo>
                      <a:pt x="3119" y="229"/>
                    </a:lnTo>
                    <a:lnTo>
                      <a:pt x="3115" y="227"/>
                    </a:lnTo>
                    <a:lnTo>
                      <a:pt x="3110" y="227"/>
                    </a:lnTo>
                    <a:lnTo>
                      <a:pt x="3100" y="228"/>
                    </a:lnTo>
                    <a:lnTo>
                      <a:pt x="3090" y="232"/>
                    </a:lnTo>
                    <a:lnTo>
                      <a:pt x="3069" y="243"/>
                    </a:lnTo>
                    <a:lnTo>
                      <a:pt x="3051" y="253"/>
                    </a:lnTo>
                    <a:lnTo>
                      <a:pt x="3011" y="256"/>
                    </a:lnTo>
                    <a:lnTo>
                      <a:pt x="2973" y="257"/>
                    </a:lnTo>
                    <a:lnTo>
                      <a:pt x="2955" y="257"/>
                    </a:lnTo>
                    <a:lnTo>
                      <a:pt x="2940" y="255"/>
                    </a:lnTo>
                    <a:lnTo>
                      <a:pt x="2925" y="252"/>
                    </a:lnTo>
                    <a:lnTo>
                      <a:pt x="2913" y="247"/>
                    </a:lnTo>
                    <a:lnTo>
                      <a:pt x="2907" y="245"/>
                    </a:lnTo>
                    <a:lnTo>
                      <a:pt x="2901" y="242"/>
                    </a:lnTo>
                    <a:lnTo>
                      <a:pt x="2897" y="238"/>
                    </a:lnTo>
                    <a:lnTo>
                      <a:pt x="2893" y="233"/>
                    </a:lnTo>
                    <a:lnTo>
                      <a:pt x="2888" y="229"/>
                    </a:lnTo>
                    <a:lnTo>
                      <a:pt x="2885" y="224"/>
                    </a:lnTo>
                    <a:lnTo>
                      <a:pt x="2883" y="218"/>
                    </a:lnTo>
                    <a:lnTo>
                      <a:pt x="2881" y="212"/>
                    </a:lnTo>
                    <a:lnTo>
                      <a:pt x="2878" y="204"/>
                    </a:lnTo>
                    <a:lnTo>
                      <a:pt x="2877" y="197"/>
                    </a:lnTo>
                    <a:lnTo>
                      <a:pt x="2877" y="188"/>
                    </a:lnTo>
                    <a:lnTo>
                      <a:pt x="2877" y="179"/>
                    </a:lnTo>
                    <a:lnTo>
                      <a:pt x="2877" y="170"/>
                    </a:lnTo>
                    <a:lnTo>
                      <a:pt x="2880" y="159"/>
                    </a:lnTo>
                    <a:lnTo>
                      <a:pt x="2882" y="148"/>
                    </a:lnTo>
                    <a:lnTo>
                      <a:pt x="2884" y="136"/>
                    </a:lnTo>
                    <a:lnTo>
                      <a:pt x="2886" y="129"/>
                    </a:lnTo>
                    <a:lnTo>
                      <a:pt x="2886" y="121"/>
                    </a:lnTo>
                    <a:lnTo>
                      <a:pt x="2886" y="115"/>
                    </a:lnTo>
                    <a:lnTo>
                      <a:pt x="2886" y="107"/>
                    </a:lnTo>
                    <a:lnTo>
                      <a:pt x="2885" y="99"/>
                    </a:lnTo>
                    <a:lnTo>
                      <a:pt x="2883" y="93"/>
                    </a:lnTo>
                    <a:lnTo>
                      <a:pt x="2881" y="85"/>
                    </a:lnTo>
                    <a:lnTo>
                      <a:pt x="2877" y="78"/>
                    </a:lnTo>
                    <a:lnTo>
                      <a:pt x="2870" y="65"/>
                    </a:lnTo>
                    <a:lnTo>
                      <a:pt x="2861" y="52"/>
                    </a:lnTo>
                    <a:lnTo>
                      <a:pt x="2850" y="40"/>
                    </a:lnTo>
                    <a:lnTo>
                      <a:pt x="2839" y="28"/>
                    </a:lnTo>
                    <a:lnTo>
                      <a:pt x="2826" y="20"/>
                    </a:lnTo>
                    <a:lnTo>
                      <a:pt x="2812" y="11"/>
                    </a:lnTo>
                    <a:lnTo>
                      <a:pt x="2798" y="5"/>
                    </a:lnTo>
                    <a:lnTo>
                      <a:pt x="2784" y="1"/>
                    </a:lnTo>
                    <a:lnTo>
                      <a:pt x="2778" y="0"/>
                    </a:lnTo>
                    <a:lnTo>
                      <a:pt x="2770" y="0"/>
                    </a:lnTo>
                    <a:lnTo>
                      <a:pt x="2764" y="0"/>
                    </a:lnTo>
                    <a:lnTo>
                      <a:pt x="2756" y="1"/>
                    </a:lnTo>
                    <a:lnTo>
                      <a:pt x="2750" y="2"/>
                    </a:lnTo>
                    <a:lnTo>
                      <a:pt x="2743" y="4"/>
                    </a:lnTo>
                    <a:lnTo>
                      <a:pt x="2737" y="8"/>
                    </a:lnTo>
                    <a:lnTo>
                      <a:pt x="2730" y="12"/>
                    </a:lnTo>
                    <a:lnTo>
                      <a:pt x="2719" y="18"/>
                    </a:lnTo>
                    <a:lnTo>
                      <a:pt x="2707" y="24"/>
                    </a:lnTo>
                    <a:lnTo>
                      <a:pt x="2696" y="27"/>
                    </a:lnTo>
                    <a:lnTo>
                      <a:pt x="2686" y="29"/>
                    </a:lnTo>
                    <a:lnTo>
                      <a:pt x="2663" y="34"/>
                    </a:lnTo>
                    <a:lnTo>
                      <a:pt x="2642" y="37"/>
                    </a:lnTo>
                    <a:lnTo>
                      <a:pt x="2632" y="39"/>
                    </a:lnTo>
                    <a:lnTo>
                      <a:pt x="2623" y="42"/>
                    </a:lnTo>
                    <a:lnTo>
                      <a:pt x="2615" y="47"/>
                    </a:lnTo>
                    <a:lnTo>
                      <a:pt x="2606" y="53"/>
                    </a:lnTo>
                    <a:lnTo>
                      <a:pt x="2600" y="61"/>
                    </a:lnTo>
                    <a:lnTo>
                      <a:pt x="2593" y="71"/>
                    </a:lnTo>
                    <a:lnTo>
                      <a:pt x="2588" y="83"/>
                    </a:lnTo>
                    <a:lnTo>
                      <a:pt x="2584" y="99"/>
                    </a:lnTo>
                    <a:lnTo>
                      <a:pt x="2578" y="123"/>
                    </a:lnTo>
                    <a:lnTo>
                      <a:pt x="2573" y="140"/>
                    </a:lnTo>
                    <a:lnTo>
                      <a:pt x="2567" y="155"/>
                    </a:lnTo>
                    <a:lnTo>
                      <a:pt x="2562" y="164"/>
                    </a:lnTo>
                    <a:lnTo>
                      <a:pt x="2560" y="169"/>
                    </a:lnTo>
                    <a:lnTo>
                      <a:pt x="2557" y="172"/>
                    </a:lnTo>
                    <a:lnTo>
                      <a:pt x="2553" y="174"/>
                    </a:lnTo>
                    <a:lnTo>
                      <a:pt x="2551" y="175"/>
                    </a:lnTo>
                    <a:lnTo>
                      <a:pt x="2545" y="177"/>
                    </a:lnTo>
                    <a:lnTo>
                      <a:pt x="2538" y="177"/>
                    </a:lnTo>
                    <a:lnTo>
                      <a:pt x="2522" y="175"/>
                    </a:lnTo>
                    <a:lnTo>
                      <a:pt x="2504" y="174"/>
                    </a:lnTo>
                    <a:lnTo>
                      <a:pt x="2494" y="175"/>
                    </a:lnTo>
                    <a:lnTo>
                      <a:pt x="2482" y="177"/>
                    </a:lnTo>
                    <a:lnTo>
                      <a:pt x="2469" y="183"/>
                    </a:lnTo>
                    <a:lnTo>
                      <a:pt x="2455" y="191"/>
                    </a:lnTo>
                    <a:lnTo>
                      <a:pt x="2411" y="224"/>
                    </a:lnTo>
                    <a:lnTo>
                      <a:pt x="2411" y="224"/>
                    </a:lnTo>
                    <a:lnTo>
                      <a:pt x="2414" y="243"/>
                    </a:lnTo>
                    <a:lnTo>
                      <a:pt x="2415" y="259"/>
                    </a:lnTo>
                    <a:lnTo>
                      <a:pt x="2415" y="275"/>
                    </a:lnTo>
                    <a:lnTo>
                      <a:pt x="2415" y="291"/>
                    </a:lnTo>
                    <a:lnTo>
                      <a:pt x="2412" y="321"/>
                    </a:lnTo>
                    <a:lnTo>
                      <a:pt x="2412" y="354"/>
                    </a:lnTo>
                    <a:lnTo>
                      <a:pt x="2415" y="381"/>
                    </a:lnTo>
                    <a:lnTo>
                      <a:pt x="2418" y="408"/>
                    </a:lnTo>
                    <a:lnTo>
                      <a:pt x="2419" y="422"/>
                    </a:lnTo>
                    <a:lnTo>
                      <a:pt x="2420" y="436"/>
                    </a:lnTo>
                    <a:lnTo>
                      <a:pt x="2420" y="449"/>
                    </a:lnTo>
                    <a:lnTo>
                      <a:pt x="2419" y="461"/>
                    </a:lnTo>
                    <a:lnTo>
                      <a:pt x="2422" y="607"/>
                    </a:lnTo>
                    <a:lnTo>
                      <a:pt x="2421" y="620"/>
                    </a:lnTo>
                    <a:lnTo>
                      <a:pt x="2417" y="638"/>
                    </a:lnTo>
                    <a:lnTo>
                      <a:pt x="2410" y="659"/>
                    </a:lnTo>
                    <a:lnTo>
                      <a:pt x="2402" y="680"/>
                    </a:lnTo>
                    <a:lnTo>
                      <a:pt x="2397" y="690"/>
                    </a:lnTo>
                    <a:lnTo>
                      <a:pt x="2392" y="700"/>
                    </a:lnTo>
                    <a:lnTo>
                      <a:pt x="2386" y="709"/>
                    </a:lnTo>
                    <a:lnTo>
                      <a:pt x="2381" y="716"/>
                    </a:lnTo>
                    <a:lnTo>
                      <a:pt x="2375" y="723"/>
                    </a:lnTo>
                    <a:lnTo>
                      <a:pt x="2369" y="727"/>
                    </a:lnTo>
                    <a:lnTo>
                      <a:pt x="2363" y="730"/>
                    </a:lnTo>
                    <a:lnTo>
                      <a:pt x="2357" y="730"/>
                    </a:lnTo>
                    <a:lnTo>
                      <a:pt x="2338" y="726"/>
                    </a:lnTo>
                    <a:lnTo>
                      <a:pt x="2319" y="723"/>
                    </a:lnTo>
                    <a:lnTo>
                      <a:pt x="2315" y="724"/>
                    </a:lnTo>
                    <a:lnTo>
                      <a:pt x="2312" y="725"/>
                    </a:lnTo>
                    <a:lnTo>
                      <a:pt x="2308" y="727"/>
                    </a:lnTo>
                    <a:lnTo>
                      <a:pt x="2306" y="729"/>
                    </a:lnTo>
                    <a:lnTo>
                      <a:pt x="2305" y="733"/>
                    </a:lnTo>
                    <a:lnTo>
                      <a:pt x="2304" y="739"/>
                    </a:lnTo>
                    <a:lnTo>
                      <a:pt x="2303" y="745"/>
                    </a:lnTo>
                    <a:lnTo>
                      <a:pt x="2304" y="753"/>
                    </a:lnTo>
                    <a:lnTo>
                      <a:pt x="2306" y="771"/>
                    </a:lnTo>
                    <a:lnTo>
                      <a:pt x="2308" y="786"/>
                    </a:lnTo>
                    <a:lnTo>
                      <a:pt x="2308" y="792"/>
                    </a:lnTo>
                    <a:lnTo>
                      <a:pt x="2308" y="797"/>
                    </a:lnTo>
                    <a:lnTo>
                      <a:pt x="2307" y="801"/>
                    </a:lnTo>
                    <a:lnTo>
                      <a:pt x="2306" y="806"/>
                    </a:lnTo>
                    <a:lnTo>
                      <a:pt x="2304" y="809"/>
                    </a:lnTo>
                    <a:lnTo>
                      <a:pt x="2301" y="812"/>
                    </a:lnTo>
                    <a:lnTo>
                      <a:pt x="2297" y="814"/>
                    </a:lnTo>
                    <a:lnTo>
                      <a:pt x="2291" y="815"/>
                    </a:lnTo>
                    <a:lnTo>
                      <a:pt x="2276" y="819"/>
                    </a:lnTo>
                    <a:lnTo>
                      <a:pt x="2254" y="820"/>
                    </a:lnTo>
                    <a:lnTo>
                      <a:pt x="2245" y="821"/>
                    </a:lnTo>
                    <a:lnTo>
                      <a:pt x="2237" y="823"/>
                    </a:lnTo>
                    <a:lnTo>
                      <a:pt x="2230" y="825"/>
                    </a:lnTo>
                    <a:lnTo>
                      <a:pt x="2225" y="828"/>
                    </a:lnTo>
                    <a:lnTo>
                      <a:pt x="2215" y="837"/>
                    </a:lnTo>
                    <a:lnTo>
                      <a:pt x="2202" y="847"/>
                    </a:lnTo>
                    <a:lnTo>
                      <a:pt x="2195" y="864"/>
                    </a:lnTo>
                    <a:lnTo>
                      <a:pt x="2188" y="878"/>
                    </a:lnTo>
                    <a:lnTo>
                      <a:pt x="2186" y="885"/>
                    </a:lnTo>
                    <a:lnTo>
                      <a:pt x="2184" y="890"/>
                    </a:lnTo>
                    <a:lnTo>
                      <a:pt x="2183" y="895"/>
                    </a:lnTo>
                    <a:lnTo>
                      <a:pt x="2183" y="901"/>
                    </a:lnTo>
                    <a:lnTo>
                      <a:pt x="2184" y="905"/>
                    </a:lnTo>
                    <a:lnTo>
                      <a:pt x="2185" y="909"/>
                    </a:lnTo>
                    <a:lnTo>
                      <a:pt x="2188" y="914"/>
                    </a:lnTo>
                    <a:lnTo>
                      <a:pt x="2191" y="918"/>
                    </a:lnTo>
                    <a:lnTo>
                      <a:pt x="2197" y="921"/>
                    </a:lnTo>
                    <a:lnTo>
                      <a:pt x="2203" y="926"/>
                    </a:lnTo>
                    <a:lnTo>
                      <a:pt x="2210" y="929"/>
                    </a:lnTo>
                    <a:lnTo>
                      <a:pt x="2219" y="932"/>
                    </a:lnTo>
                    <a:lnTo>
                      <a:pt x="2229" y="936"/>
                    </a:lnTo>
                    <a:lnTo>
                      <a:pt x="2237" y="942"/>
                    </a:lnTo>
                    <a:lnTo>
                      <a:pt x="2242" y="946"/>
                    </a:lnTo>
                    <a:lnTo>
                      <a:pt x="2247" y="952"/>
                    </a:lnTo>
                    <a:lnTo>
                      <a:pt x="2249" y="957"/>
                    </a:lnTo>
                    <a:lnTo>
                      <a:pt x="2250" y="963"/>
                    </a:lnTo>
                    <a:lnTo>
                      <a:pt x="2249" y="969"/>
                    </a:lnTo>
                    <a:lnTo>
                      <a:pt x="2248" y="975"/>
                    </a:lnTo>
                    <a:lnTo>
                      <a:pt x="2243" y="987"/>
                    </a:lnTo>
                    <a:lnTo>
                      <a:pt x="2239" y="1001"/>
                    </a:lnTo>
                    <a:lnTo>
                      <a:pt x="2237" y="1008"/>
                    </a:lnTo>
                    <a:lnTo>
                      <a:pt x="2236" y="1015"/>
                    </a:lnTo>
                    <a:lnTo>
                      <a:pt x="2235" y="1023"/>
                    </a:lnTo>
                    <a:lnTo>
                      <a:pt x="2235" y="1030"/>
                    </a:lnTo>
                    <a:lnTo>
                      <a:pt x="2236" y="1035"/>
                    </a:lnTo>
                    <a:lnTo>
                      <a:pt x="2238" y="1039"/>
                    </a:lnTo>
                    <a:lnTo>
                      <a:pt x="2240" y="1042"/>
                    </a:lnTo>
                    <a:lnTo>
                      <a:pt x="2243" y="1047"/>
                    </a:lnTo>
                    <a:lnTo>
                      <a:pt x="2251" y="1053"/>
                    </a:lnTo>
                    <a:lnTo>
                      <a:pt x="2260" y="1060"/>
                    </a:lnTo>
                    <a:lnTo>
                      <a:pt x="2268" y="1065"/>
                    </a:lnTo>
                    <a:lnTo>
                      <a:pt x="2275" y="1070"/>
                    </a:lnTo>
                    <a:lnTo>
                      <a:pt x="2278" y="1074"/>
                    </a:lnTo>
                    <a:lnTo>
                      <a:pt x="2279" y="1076"/>
                    </a:lnTo>
                    <a:lnTo>
                      <a:pt x="2280" y="1078"/>
                    </a:lnTo>
                    <a:lnTo>
                      <a:pt x="2280" y="1080"/>
                    </a:lnTo>
                    <a:lnTo>
                      <a:pt x="2271" y="1082"/>
                    </a:lnTo>
                    <a:lnTo>
                      <a:pt x="2261" y="1082"/>
                    </a:lnTo>
                    <a:lnTo>
                      <a:pt x="2251" y="1081"/>
                    </a:lnTo>
                    <a:lnTo>
                      <a:pt x="2241" y="1079"/>
                    </a:lnTo>
                    <a:lnTo>
                      <a:pt x="2222" y="1073"/>
                    </a:lnTo>
                    <a:lnTo>
                      <a:pt x="2202" y="1066"/>
                    </a:lnTo>
                    <a:lnTo>
                      <a:pt x="2192" y="1062"/>
                    </a:lnTo>
                    <a:lnTo>
                      <a:pt x="2183" y="1058"/>
                    </a:lnTo>
                    <a:lnTo>
                      <a:pt x="2173" y="1055"/>
                    </a:lnTo>
                    <a:lnTo>
                      <a:pt x="2162" y="1054"/>
                    </a:lnTo>
                    <a:lnTo>
                      <a:pt x="2152" y="1053"/>
                    </a:lnTo>
                    <a:lnTo>
                      <a:pt x="2142" y="1053"/>
                    </a:lnTo>
                    <a:lnTo>
                      <a:pt x="2131" y="1055"/>
                    </a:lnTo>
                    <a:lnTo>
                      <a:pt x="2120" y="1058"/>
                    </a:lnTo>
                    <a:lnTo>
                      <a:pt x="2113" y="1062"/>
                    </a:lnTo>
                    <a:lnTo>
                      <a:pt x="2108" y="1064"/>
                    </a:lnTo>
                    <a:lnTo>
                      <a:pt x="2103" y="1068"/>
                    </a:lnTo>
                    <a:lnTo>
                      <a:pt x="2098" y="1071"/>
                    </a:lnTo>
                    <a:lnTo>
                      <a:pt x="2090" y="1081"/>
                    </a:lnTo>
                    <a:lnTo>
                      <a:pt x="2082" y="1091"/>
                    </a:lnTo>
                    <a:lnTo>
                      <a:pt x="2068" y="1112"/>
                    </a:lnTo>
                    <a:lnTo>
                      <a:pt x="2057" y="1136"/>
                    </a:lnTo>
                    <a:lnTo>
                      <a:pt x="2051" y="1147"/>
                    </a:lnTo>
                    <a:lnTo>
                      <a:pt x="2045" y="1158"/>
                    </a:lnTo>
                    <a:lnTo>
                      <a:pt x="2039" y="1168"/>
                    </a:lnTo>
                    <a:lnTo>
                      <a:pt x="2031" y="1176"/>
                    </a:lnTo>
                    <a:lnTo>
                      <a:pt x="2022" y="1184"/>
                    </a:lnTo>
                    <a:lnTo>
                      <a:pt x="2013" y="1189"/>
                    </a:lnTo>
                    <a:lnTo>
                      <a:pt x="2008" y="1190"/>
                    </a:lnTo>
                    <a:lnTo>
                      <a:pt x="2002" y="1192"/>
                    </a:lnTo>
                    <a:lnTo>
                      <a:pt x="1996" y="1193"/>
                    </a:lnTo>
                    <a:lnTo>
                      <a:pt x="1990" y="1193"/>
                    </a:lnTo>
                    <a:lnTo>
                      <a:pt x="1971" y="1193"/>
                    </a:lnTo>
                    <a:lnTo>
                      <a:pt x="1957" y="1195"/>
                    </a:lnTo>
                    <a:lnTo>
                      <a:pt x="1946" y="1197"/>
                    </a:lnTo>
                    <a:lnTo>
                      <a:pt x="1936" y="1200"/>
                    </a:lnTo>
                    <a:lnTo>
                      <a:pt x="1927" y="1205"/>
                    </a:lnTo>
                    <a:lnTo>
                      <a:pt x="1918" y="1212"/>
                    </a:lnTo>
                    <a:lnTo>
                      <a:pt x="1907" y="1220"/>
                    </a:lnTo>
                    <a:lnTo>
                      <a:pt x="1894" y="1232"/>
                    </a:lnTo>
                    <a:lnTo>
                      <a:pt x="1885" y="1251"/>
                    </a:lnTo>
                    <a:lnTo>
                      <a:pt x="1873" y="1273"/>
                    </a:lnTo>
                    <a:lnTo>
                      <a:pt x="1867" y="1285"/>
                    </a:lnTo>
                    <a:lnTo>
                      <a:pt x="1863" y="1296"/>
                    </a:lnTo>
                    <a:lnTo>
                      <a:pt x="1861" y="1307"/>
                    </a:lnTo>
                    <a:lnTo>
                      <a:pt x="1860" y="1317"/>
                    </a:lnTo>
                    <a:lnTo>
                      <a:pt x="1860" y="1321"/>
                    </a:lnTo>
                    <a:lnTo>
                      <a:pt x="1861" y="1325"/>
                    </a:lnTo>
                    <a:lnTo>
                      <a:pt x="1863" y="1330"/>
                    </a:lnTo>
                    <a:lnTo>
                      <a:pt x="1865" y="1333"/>
                    </a:lnTo>
                    <a:lnTo>
                      <a:pt x="1872" y="1339"/>
                    </a:lnTo>
                    <a:lnTo>
                      <a:pt x="1879" y="1345"/>
                    </a:lnTo>
                    <a:lnTo>
                      <a:pt x="1898" y="1353"/>
                    </a:lnTo>
                    <a:lnTo>
                      <a:pt x="1913" y="1362"/>
                    </a:lnTo>
                    <a:lnTo>
                      <a:pt x="1917" y="1364"/>
                    </a:lnTo>
                    <a:lnTo>
                      <a:pt x="1919" y="1367"/>
                    </a:lnTo>
                    <a:lnTo>
                      <a:pt x="1923" y="1372"/>
                    </a:lnTo>
                    <a:lnTo>
                      <a:pt x="1925" y="1376"/>
                    </a:lnTo>
                    <a:lnTo>
                      <a:pt x="1927" y="1386"/>
                    </a:lnTo>
                    <a:lnTo>
                      <a:pt x="1928" y="1397"/>
                    </a:lnTo>
                    <a:lnTo>
                      <a:pt x="1928" y="1408"/>
                    </a:lnTo>
                    <a:lnTo>
                      <a:pt x="1926" y="1421"/>
                    </a:lnTo>
                    <a:lnTo>
                      <a:pt x="1923" y="1434"/>
                    </a:lnTo>
                    <a:lnTo>
                      <a:pt x="1918" y="1447"/>
                    </a:lnTo>
                    <a:lnTo>
                      <a:pt x="1913" y="1460"/>
                    </a:lnTo>
                    <a:lnTo>
                      <a:pt x="1906" y="1472"/>
                    </a:lnTo>
                    <a:lnTo>
                      <a:pt x="1899" y="1484"/>
                    </a:lnTo>
                    <a:lnTo>
                      <a:pt x="1891" y="1494"/>
                    </a:lnTo>
                    <a:lnTo>
                      <a:pt x="1883" y="1502"/>
                    </a:lnTo>
                    <a:lnTo>
                      <a:pt x="1874" y="1509"/>
                    </a:lnTo>
                    <a:lnTo>
                      <a:pt x="1870" y="1512"/>
                    </a:lnTo>
                    <a:lnTo>
                      <a:pt x="1864" y="1513"/>
                    </a:lnTo>
                    <a:lnTo>
                      <a:pt x="1860" y="1514"/>
                    </a:lnTo>
                    <a:lnTo>
                      <a:pt x="1855" y="1515"/>
                    </a:lnTo>
                    <a:lnTo>
                      <a:pt x="1836" y="1516"/>
                    </a:lnTo>
                    <a:lnTo>
                      <a:pt x="1822" y="1520"/>
                    </a:lnTo>
                    <a:lnTo>
                      <a:pt x="1815" y="1521"/>
                    </a:lnTo>
                    <a:lnTo>
                      <a:pt x="1811" y="1523"/>
                    </a:lnTo>
                    <a:lnTo>
                      <a:pt x="1807" y="1526"/>
                    </a:lnTo>
                    <a:lnTo>
                      <a:pt x="1802" y="1528"/>
                    </a:lnTo>
                    <a:lnTo>
                      <a:pt x="1788" y="1546"/>
                    </a:lnTo>
                    <a:lnTo>
                      <a:pt x="1768" y="1571"/>
                    </a:lnTo>
                    <a:lnTo>
                      <a:pt x="1750" y="1593"/>
                    </a:lnTo>
                    <a:lnTo>
                      <a:pt x="1731" y="1615"/>
                    </a:lnTo>
                    <a:lnTo>
                      <a:pt x="1721" y="1625"/>
                    </a:lnTo>
                    <a:lnTo>
                      <a:pt x="1710" y="1636"/>
                    </a:lnTo>
                    <a:lnTo>
                      <a:pt x="1698" y="1646"/>
                    </a:lnTo>
                    <a:lnTo>
                      <a:pt x="1686" y="1655"/>
                    </a:lnTo>
                    <a:lnTo>
                      <a:pt x="1674" y="1664"/>
                    </a:lnTo>
                    <a:lnTo>
                      <a:pt x="1661" y="1672"/>
                    </a:lnTo>
                    <a:lnTo>
                      <a:pt x="1648" y="1679"/>
                    </a:lnTo>
                    <a:lnTo>
                      <a:pt x="1635" y="1686"/>
                    </a:lnTo>
                    <a:lnTo>
                      <a:pt x="1622" y="1691"/>
                    </a:lnTo>
                    <a:lnTo>
                      <a:pt x="1608" y="1696"/>
                    </a:lnTo>
                    <a:lnTo>
                      <a:pt x="1595" y="1699"/>
                    </a:lnTo>
                    <a:lnTo>
                      <a:pt x="1581" y="1701"/>
                    </a:lnTo>
                    <a:lnTo>
                      <a:pt x="1551" y="1704"/>
                    </a:lnTo>
                    <a:lnTo>
                      <a:pt x="1520" y="1710"/>
                    </a:lnTo>
                    <a:lnTo>
                      <a:pt x="1504" y="1713"/>
                    </a:lnTo>
                    <a:lnTo>
                      <a:pt x="1489" y="1717"/>
                    </a:lnTo>
                    <a:lnTo>
                      <a:pt x="1474" y="1723"/>
                    </a:lnTo>
                    <a:lnTo>
                      <a:pt x="1460" y="1728"/>
                    </a:lnTo>
                    <a:lnTo>
                      <a:pt x="1446" y="1735"/>
                    </a:lnTo>
                    <a:lnTo>
                      <a:pt x="1432" y="1741"/>
                    </a:lnTo>
                    <a:lnTo>
                      <a:pt x="1418" y="1749"/>
                    </a:lnTo>
                    <a:lnTo>
                      <a:pt x="1405" y="1757"/>
                    </a:lnTo>
                    <a:lnTo>
                      <a:pt x="1393" y="1767"/>
                    </a:lnTo>
                    <a:lnTo>
                      <a:pt x="1380" y="1777"/>
                    </a:lnTo>
                    <a:lnTo>
                      <a:pt x="1369" y="1787"/>
                    </a:lnTo>
                    <a:lnTo>
                      <a:pt x="1358" y="1799"/>
                    </a:lnTo>
                    <a:lnTo>
                      <a:pt x="1348" y="1809"/>
                    </a:lnTo>
                    <a:lnTo>
                      <a:pt x="1340" y="1818"/>
                    </a:lnTo>
                    <a:lnTo>
                      <a:pt x="1331" y="1824"/>
                    </a:lnTo>
                    <a:lnTo>
                      <a:pt x="1322" y="1829"/>
                    </a:lnTo>
                    <a:lnTo>
                      <a:pt x="1316" y="1832"/>
                    </a:lnTo>
                    <a:lnTo>
                      <a:pt x="1308" y="1834"/>
                    </a:lnTo>
                    <a:lnTo>
                      <a:pt x="1302" y="1835"/>
                    </a:lnTo>
                    <a:lnTo>
                      <a:pt x="1294" y="1835"/>
                    </a:lnTo>
                    <a:lnTo>
                      <a:pt x="1281" y="1835"/>
                    </a:lnTo>
                    <a:lnTo>
                      <a:pt x="1268" y="1835"/>
                    </a:lnTo>
                    <a:lnTo>
                      <a:pt x="1261" y="1836"/>
                    </a:lnTo>
                    <a:lnTo>
                      <a:pt x="1253" y="1838"/>
                    </a:lnTo>
                    <a:lnTo>
                      <a:pt x="1245" y="1841"/>
                    </a:lnTo>
                    <a:lnTo>
                      <a:pt x="1237" y="1846"/>
                    </a:lnTo>
                    <a:lnTo>
                      <a:pt x="1174" y="1885"/>
                    </a:lnTo>
                    <a:lnTo>
                      <a:pt x="1158" y="1886"/>
                    </a:lnTo>
                    <a:lnTo>
                      <a:pt x="1146" y="1887"/>
                    </a:lnTo>
                    <a:lnTo>
                      <a:pt x="1135" y="1887"/>
                    </a:lnTo>
                    <a:lnTo>
                      <a:pt x="1125" y="1886"/>
                    </a:lnTo>
                    <a:lnTo>
                      <a:pt x="1116" y="1884"/>
                    </a:lnTo>
                    <a:lnTo>
                      <a:pt x="1106" y="1881"/>
                    </a:lnTo>
                    <a:lnTo>
                      <a:pt x="1095" y="1877"/>
                    </a:lnTo>
                    <a:lnTo>
                      <a:pt x="1081" y="1871"/>
                    </a:lnTo>
                    <a:lnTo>
                      <a:pt x="1070" y="1867"/>
                    </a:lnTo>
                    <a:lnTo>
                      <a:pt x="1060" y="1866"/>
                    </a:lnTo>
                    <a:lnTo>
                      <a:pt x="1056" y="1866"/>
                    </a:lnTo>
                    <a:lnTo>
                      <a:pt x="1050" y="1866"/>
                    </a:lnTo>
                    <a:lnTo>
                      <a:pt x="1047" y="1867"/>
                    </a:lnTo>
                    <a:lnTo>
                      <a:pt x="1043" y="1868"/>
                    </a:lnTo>
                    <a:lnTo>
                      <a:pt x="1038" y="1871"/>
                    </a:lnTo>
                    <a:lnTo>
                      <a:pt x="1035" y="1874"/>
                    </a:lnTo>
                    <a:lnTo>
                      <a:pt x="1033" y="1876"/>
                    </a:lnTo>
                    <a:lnTo>
                      <a:pt x="1030" y="1880"/>
                    </a:lnTo>
                    <a:lnTo>
                      <a:pt x="1028" y="1885"/>
                    </a:lnTo>
                    <a:lnTo>
                      <a:pt x="1026" y="1889"/>
                    </a:lnTo>
                    <a:lnTo>
                      <a:pt x="1025" y="1894"/>
                    </a:lnTo>
                    <a:lnTo>
                      <a:pt x="1024" y="1901"/>
                    </a:lnTo>
                    <a:lnTo>
                      <a:pt x="1025" y="1918"/>
                    </a:lnTo>
                    <a:lnTo>
                      <a:pt x="1026" y="1941"/>
                    </a:lnTo>
                    <a:lnTo>
                      <a:pt x="1026" y="1968"/>
                    </a:lnTo>
                    <a:lnTo>
                      <a:pt x="1026" y="1995"/>
                    </a:lnTo>
                    <a:lnTo>
                      <a:pt x="1025" y="2008"/>
                    </a:lnTo>
                    <a:lnTo>
                      <a:pt x="1023" y="2020"/>
                    </a:lnTo>
                    <a:lnTo>
                      <a:pt x="1020" y="2032"/>
                    </a:lnTo>
                    <a:lnTo>
                      <a:pt x="1016" y="2041"/>
                    </a:lnTo>
                    <a:lnTo>
                      <a:pt x="1012" y="2046"/>
                    </a:lnTo>
                    <a:lnTo>
                      <a:pt x="1009" y="2050"/>
                    </a:lnTo>
                    <a:lnTo>
                      <a:pt x="1006" y="2053"/>
                    </a:lnTo>
                    <a:lnTo>
                      <a:pt x="1003" y="2056"/>
                    </a:lnTo>
                    <a:lnTo>
                      <a:pt x="998" y="2060"/>
                    </a:lnTo>
                    <a:lnTo>
                      <a:pt x="994" y="2062"/>
                    </a:lnTo>
                    <a:lnTo>
                      <a:pt x="988" y="2063"/>
                    </a:lnTo>
                    <a:lnTo>
                      <a:pt x="983" y="2063"/>
                    </a:lnTo>
                    <a:lnTo>
                      <a:pt x="842" y="2073"/>
                    </a:lnTo>
                    <a:lnTo>
                      <a:pt x="824" y="2074"/>
                    </a:lnTo>
                    <a:lnTo>
                      <a:pt x="810" y="2074"/>
                    </a:lnTo>
                    <a:lnTo>
                      <a:pt x="798" y="2073"/>
                    </a:lnTo>
                    <a:lnTo>
                      <a:pt x="788" y="2072"/>
                    </a:lnTo>
                    <a:lnTo>
                      <a:pt x="780" y="2069"/>
                    </a:lnTo>
                    <a:lnTo>
                      <a:pt x="775" y="2067"/>
                    </a:lnTo>
                    <a:lnTo>
                      <a:pt x="771" y="2063"/>
                    </a:lnTo>
                    <a:lnTo>
                      <a:pt x="767" y="2060"/>
                    </a:lnTo>
                    <a:lnTo>
                      <a:pt x="761" y="2049"/>
                    </a:lnTo>
                    <a:lnTo>
                      <a:pt x="754" y="2036"/>
                    </a:lnTo>
                    <a:lnTo>
                      <a:pt x="750" y="2028"/>
                    </a:lnTo>
                    <a:lnTo>
                      <a:pt x="745" y="2021"/>
                    </a:lnTo>
                    <a:lnTo>
                      <a:pt x="737" y="2012"/>
                    </a:lnTo>
                    <a:lnTo>
                      <a:pt x="727" y="2003"/>
                    </a:lnTo>
                    <a:lnTo>
                      <a:pt x="724" y="2000"/>
                    </a:lnTo>
                    <a:lnTo>
                      <a:pt x="720" y="1999"/>
                    </a:lnTo>
                    <a:lnTo>
                      <a:pt x="716" y="1998"/>
                    </a:lnTo>
                    <a:lnTo>
                      <a:pt x="713" y="1999"/>
                    </a:lnTo>
                    <a:lnTo>
                      <a:pt x="706" y="2002"/>
                    </a:lnTo>
                    <a:lnTo>
                      <a:pt x="699" y="2009"/>
                    </a:lnTo>
                    <a:lnTo>
                      <a:pt x="692" y="2015"/>
                    </a:lnTo>
                    <a:lnTo>
                      <a:pt x="685" y="2023"/>
                    </a:lnTo>
                    <a:lnTo>
                      <a:pt x="679" y="2028"/>
                    </a:lnTo>
                    <a:lnTo>
                      <a:pt x="672" y="2032"/>
                    </a:lnTo>
                    <a:lnTo>
                      <a:pt x="667" y="2033"/>
                    </a:lnTo>
                    <a:lnTo>
                      <a:pt x="662" y="2033"/>
                    </a:lnTo>
                    <a:lnTo>
                      <a:pt x="658" y="2032"/>
                    </a:lnTo>
                    <a:lnTo>
                      <a:pt x="655" y="2030"/>
                    </a:lnTo>
                    <a:lnTo>
                      <a:pt x="649" y="2025"/>
                    </a:lnTo>
                    <a:lnTo>
                      <a:pt x="645" y="2018"/>
                    </a:lnTo>
                    <a:lnTo>
                      <a:pt x="641" y="2010"/>
                    </a:lnTo>
                    <a:lnTo>
                      <a:pt x="637" y="2002"/>
                    </a:lnTo>
                    <a:lnTo>
                      <a:pt x="635" y="2000"/>
                    </a:lnTo>
                    <a:lnTo>
                      <a:pt x="633" y="1997"/>
                    </a:lnTo>
                    <a:lnTo>
                      <a:pt x="631" y="1995"/>
                    </a:lnTo>
                    <a:lnTo>
                      <a:pt x="628" y="1994"/>
                    </a:lnTo>
                    <a:lnTo>
                      <a:pt x="628" y="1993"/>
                    </a:lnTo>
                    <a:lnTo>
                      <a:pt x="628" y="1993"/>
                    </a:lnTo>
                    <a:lnTo>
                      <a:pt x="625" y="1992"/>
                    </a:lnTo>
                    <a:lnTo>
                      <a:pt x="623" y="1991"/>
                    </a:lnTo>
                    <a:lnTo>
                      <a:pt x="577" y="1952"/>
                    </a:lnTo>
                    <a:lnTo>
                      <a:pt x="577" y="1952"/>
                    </a:lnTo>
                    <a:lnTo>
                      <a:pt x="543" y="2015"/>
                    </a:lnTo>
                    <a:lnTo>
                      <a:pt x="538" y="2034"/>
                    </a:lnTo>
                    <a:lnTo>
                      <a:pt x="533" y="2049"/>
                    </a:lnTo>
                    <a:lnTo>
                      <a:pt x="529" y="2062"/>
                    </a:lnTo>
                    <a:lnTo>
                      <a:pt x="525" y="2072"/>
                    </a:lnTo>
                    <a:lnTo>
                      <a:pt x="520" y="2077"/>
                    </a:lnTo>
                    <a:lnTo>
                      <a:pt x="517" y="2080"/>
                    </a:lnTo>
                    <a:lnTo>
                      <a:pt x="513" y="2084"/>
                    </a:lnTo>
                    <a:lnTo>
                      <a:pt x="506" y="2088"/>
                    </a:lnTo>
                    <a:lnTo>
                      <a:pt x="492" y="2095"/>
                    </a:lnTo>
                    <a:lnTo>
                      <a:pt x="472" y="2102"/>
                    </a:lnTo>
                    <a:lnTo>
                      <a:pt x="456" y="2105"/>
                    </a:lnTo>
                    <a:lnTo>
                      <a:pt x="441" y="2108"/>
                    </a:lnTo>
                    <a:lnTo>
                      <a:pt x="425" y="2109"/>
                    </a:lnTo>
                    <a:lnTo>
                      <a:pt x="409" y="2111"/>
                    </a:lnTo>
                    <a:lnTo>
                      <a:pt x="394" y="2114"/>
                    </a:lnTo>
                    <a:lnTo>
                      <a:pt x="377" y="2116"/>
                    </a:lnTo>
                    <a:lnTo>
                      <a:pt x="362" y="2120"/>
                    </a:lnTo>
                    <a:lnTo>
                      <a:pt x="348" y="2127"/>
                    </a:lnTo>
                    <a:lnTo>
                      <a:pt x="339" y="2132"/>
                    </a:lnTo>
                    <a:lnTo>
                      <a:pt x="333" y="2138"/>
                    </a:lnTo>
                    <a:lnTo>
                      <a:pt x="326" y="2145"/>
                    </a:lnTo>
                    <a:lnTo>
                      <a:pt x="321" y="2153"/>
                    </a:lnTo>
                    <a:lnTo>
                      <a:pt x="316" y="2160"/>
                    </a:lnTo>
                    <a:lnTo>
                      <a:pt x="309" y="2167"/>
                    </a:lnTo>
                    <a:lnTo>
                      <a:pt x="305" y="2169"/>
                    </a:lnTo>
                    <a:lnTo>
                      <a:pt x="300" y="2172"/>
                    </a:lnTo>
                    <a:lnTo>
                      <a:pt x="296" y="2174"/>
                    </a:lnTo>
                    <a:lnTo>
                      <a:pt x="291" y="2176"/>
                    </a:lnTo>
                    <a:lnTo>
                      <a:pt x="274" y="2180"/>
                    </a:lnTo>
                    <a:lnTo>
                      <a:pt x="258" y="2183"/>
                    </a:lnTo>
                    <a:lnTo>
                      <a:pt x="242" y="2185"/>
                    </a:lnTo>
                    <a:lnTo>
                      <a:pt x="226" y="2186"/>
                    </a:lnTo>
                    <a:lnTo>
                      <a:pt x="209" y="2188"/>
                    </a:lnTo>
                    <a:lnTo>
                      <a:pt x="193" y="2191"/>
                    </a:lnTo>
                    <a:lnTo>
                      <a:pt x="178" y="2196"/>
                    </a:lnTo>
                    <a:lnTo>
                      <a:pt x="163" y="2202"/>
                    </a:lnTo>
                    <a:lnTo>
                      <a:pt x="98" y="2259"/>
                    </a:lnTo>
                    <a:lnTo>
                      <a:pt x="98" y="2259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01" name="Freeform 16">
                <a:extLst>
                  <a:ext uri="{FF2B5EF4-FFF2-40B4-BE49-F238E27FC236}">
                    <a16:creationId xmlns:a16="http://schemas.microsoft.com/office/drawing/2014/main" id="{DB50D029-68F6-4ABD-B4C8-863D1641DD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41101" y="5168"/>
                <a:ext cx="1776413" cy="1628775"/>
              </a:xfrm>
              <a:custGeom>
                <a:avLst/>
                <a:gdLst>
                  <a:gd name="T0" fmla="*/ 33 w 4476"/>
                  <a:gd name="T1" fmla="*/ 2444 h 4105"/>
                  <a:gd name="T2" fmla="*/ 113 w 4476"/>
                  <a:gd name="T3" fmla="*/ 2607 h 4105"/>
                  <a:gd name="T4" fmla="*/ 97 w 4476"/>
                  <a:gd name="T5" fmla="*/ 2741 h 4105"/>
                  <a:gd name="T6" fmla="*/ 207 w 4476"/>
                  <a:gd name="T7" fmla="*/ 2882 h 4105"/>
                  <a:gd name="T8" fmla="*/ 185 w 4476"/>
                  <a:gd name="T9" fmla="*/ 2982 h 4105"/>
                  <a:gd name="T10" fmla="*/ 58 w 4476"/>
                  <a:gd name="T11" fmla="*/ 3074 h 4105"/>
                  <a:gd name="T12" fmla="*/ 162 w 4476"/>
                  <a:gd name="T13" fmla="*/ 3210 h 4105"/>
                  <a:gd name="T14" fmla="*/ 256 w 4476"/>
                  <a:gd name="T15" fmla="*/ 3343 h 4105"/>
                  <a:gd name="T16" fmla="*/ 435 w 4476"/>
                  <a:gd name="T17" fmla="*/ 3432 h 4105"/>
                  <a:gd name="T18" fmla="*/ 448 w 4476"/>
                  <a:gd name="T19" fmla="*/ 3331 h 4105"/>
                  <a:gd name="T20" fmla="*/ 688 w 4476"/>
                  <a:gd name="T21" fmla="*/ 3216 h 4105"/>
                  <a:gd name="T22" fmla="*/ 876 w 4476"/>
                  <a:gd name="T23" fmla="*/ 3191 h 4105"/>
                  <a:gd name="T24" fmla="*/ 951 w 4476"/>
                  <a:gd name="T25" fmla="*/ 3086 h 4105"/>
                  <a:gd name="T26" fmla="*/ 1110 w 4476"/>
                  <a:gd name="T27" fmla="*/ 3129 h 4105"/>
                  <a:gd name="T28" fmla="*/ 1241 w 4476"/>
                  <a:gd name="T29" fmla="*/ 3233 h 4105"/>
                  <a:gd name="T30" fmla="*/ 1217 w 4476"/>
                  <a:gd name="T31" fmla="*/ 3430 h 4105"/>
                  <a:gd name="T32" fmla="*/ 1306 w 4476"/>
                  <a:gd name="T33" fmla="*/ 3528 h 4105"/>
                  <a:gd name="T34" fmla="*/ 1248 w 4476"/>
                  <a:gd name="T35" fmla="*/ 3719 h 4105"/>
                  <a:gd name="T36" fmla="*/ 1238 w 4476"/>
                  <a:gd name="T37" fmla="*/ 3885 h 4105"/>
                  <a:gd name="T38" fmla="*/ 1482 w 4476"/>
                  <a:gd name="T39" fmla="*/ 3999 h 4105"/>
                  <a:gd name="T40" fmla="*/ 1848 w 4476"/>
                  <a:gd name="T41" fmla="*/ 3967 h 4105"/>
                  <a:gd name="T42" fmla="*/ 1966 w 4476"/>
                  <a:gd name="T43" fmla="*/ 4072 h 4105"/>
                  <a:gd name="T44" fmla="*/ 2125 w 4476"/>
                  <a:gd name="T45" fmla="*/ 4095 h 4105"/>
                  <a:gd name="T46" fmla="*/ 2351 w 4476"/>
                  <a:gd name="T47" fmla="*/ 3698 h 4105"/>
                  <a:gd name="T48" fmla="*/ 2844 w 4476"/>
                  <a:gd name="T49" fmla="*/ 3317 h 4105"/>
                  <a:gd name="T50" fmla="*/ 3363 w 4476"/>
                  <a:gd name="T51" fmla="*/ 2942 h 4105"/>
                  <a:gd name="T52" fmla="*/ 3955 w 4476"/>
                  <a:gd name="T53" fmla="*/ 2759 h 4105"/>
                  <a:gd name="T54" fmla="*/ 3962 w 4476"/>
                  <a:gd name="T55" fmla="*/ 2588 h 4105"/>
                  <a:gd name="T56" fmla="*/ 4047 w 4476"/>
                  <a:gd name="T57" fmla="*/ 2496 h 4105"/>
                  <a:gd name="T58" fmla="*/ 4001 w 4476"/>
                  <a:gd name="T59" fmla="*/ 2345 h 4105"/>
                  <a:gd name="T60" fmla="*/ 3934 w 4476"/>
                  <a:gd name="T61" fmla="*/ 2265 h 4105"/>
                  <a:gd name="T62" fmla="*/ 3834 w 4476"/>
                  <a:gd name="T63" fmla="*/ 2180 h 4105"/>
                  <a:gd name="T64" fmla="*/ 3844 w 4476"/>
                  <a:gd name="T65" fmla="*/ 2055 h 4105"/>
                  <a:gd name="T66" fmla="*/ 4345 w 4476"/>
                  <a:gd name="T67" fmla="*/ 1512 h 4105"/>
                  <a:gd name="T68" fmla="*/ 4463 w 4476"/>
                  <a:gd name="T69" fmla="*/ 1408 h 4105"/>
                  <a:gd name="T70" fmla="*/ 4332 w 4476"/>
                  <a:gd name="T71" fmla="*/ 1176 h 4105"/>
                  <a:gd name="T72" fmla="*/ 4319 w 4476"/>
                  <a:gd name="T73" fmla="*/ 1046 h 4105"/>
                  <a:gd name="T74" fmla="*/ 4072 w 4476"/>
                  <a:gd name="T75" fmla="*/ 1027 h 4105"/>
                  <a:gd name="T76" fmla="*/ 3920 w 4476"/>
                  <a:gd name="T77" fmla="*/ 1011 h 4105"/>
                  <a:gd name="T78" fmla="*/ 3715 w 4476"/>
                  <a:gd name="T79" fmla="*/ 732 h 4105"/>
                  <a:gd name="T80" fmla="*/ 3577 w 4476"/>
                  <a:gd name="T81" fmla="*/ 543 h 4105"/>
                  <a:gd name="T82" fmla="*/ 3470 w 4476"/>
                  <a:gd name="T83" fmla="*/ 584 h 4105"/>
                  <a:gd name="T84" fmla="*/ 3119 w 4476"/>
                  <a:gd name="T85" fmla="*/ 229 h 4105"/>
                  <a:gd name="T86" fmla="*/ 2877 w 4476"/>
                  <a:gd name="T87" fmla="*/ 188 h 4105"/>
                  <a:gd name="T88" fmla="*/ 2770 w 4476"/>
                  <a:gd name="T89" fmla="*/ 0 h 4105"/>
                  <a:gd name="T90" fmla="*/ 2567 w 4476"/>
                  <a:gd name="T91" fmla="*/ 155 h 4105"/>
                  <a:gd name="T92" fmla="*/ 2418 w 4476"/>
                  <a:gd name="T93" fmla="*/ 408 h 4105"/>
                  <a:gd name="T94" fmla="*/ 2306 w 4476"/>
                  <a:gd name="T95" fmla="*/ 729 h 4105"/>
                  <a:gd name="T96" fmla="*/ 2195 w 4476"/>
                  <a:gd name="T97" fmla="*/ 864 h 4105"/>
                  <a:gd name="T98" fmla="*/ 2239 w 4476"/>
                  <a:gd name="T99" fmla="*/ 1001 h 4105"/>
                  <a:gd name="T100" fmla="*/ 2192 w 4476"/>
                  <a:gd name="T101" fmla="*/ 1062 h 4105"/>
                  <a:gd name="T102" fmla="*/ 2002 w 4476"/>
                  <a:gd name="T103" fmla="*/ 1192 h 4105"/>
                  <a:gd name="T104" fmla="*/ 1898 w 4476"/>
                  <a:gd name="T105" fmla="*/ 1353 h 4105"/>
                  <a:gd name="T106" fmla="*/ 1822 w 4476"/>
                  <a:gd name="T107" fmla="*/ 1520 h 4105"/>
                  <a:gd name="T108" fmla="*/ 1504 w 4476"/>
                  <a:gd name="T109" fmla="*/ 1713 h 4105"/>
                  <a:gd name="T110" fmla="*/ 1253 w 4476"/>
                  <a:gd name="T111" fmla="*/ 1838 h 4105"/>
                  <a:gd name="T112" fmla="*/ 1026 w 4476"/>
                  <a:gd name="T113" fmla="*/ 1889 h 4105"/>
                  <a:gd name="T114" fmla="*/ 788 w 4476"/>
                  <a:gd name="T115" fmla="*/ 2072 h 4105"/>
                  <a:gd name="T116" fmla="*/ 658 w 4476"/>
                  <a:gd name="T117" fmla="*/ 2032 h 4105"/>
                  <a:gd name="T118" fmla="*/ 513 w 4476"/>
                  <a:gd name="T119" fmla="*/ 2084 h 4105"/>
                  <a:gd name="T120" fmla="*/ 258 w 4476"/>
                  <a:gd name="T121" fmla="*/ 2183 h 4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476" h="4105">
                    <a:moveTo>
                      <a:pt x="98" y="2259"/>
                    </a:moveTo>
                    <a:lnTo>
                      <a:pt x="28" y="2305"/>
                    </a:lnTo>
                    <a:lnTo>
                      <a:pt x="20" y="2316"/>
                    </a:lnTo>
                    <a:lnTo>
                      <a:pt x="9" y="2327"/>
                    </a:lnTo>
                    <a:lnTo>
                      <a:pt x="4" y="2334"/>
                    </a:lnTo>
                    <a:lnTo>
                      <a:pt x="1" y="2342"/>
                    </a:lnTo>
                    <a:lnTo>
                      <a:pt x="0" y="2348"/>
                    </a:lnTo>
                    <a:lnTo>
                      <a:pt x="0" y="2356"/>
                    </a:lnTo>
                    <a:lnTo>
                      <a:pt x="2" y="2364"/>
                    </a:lnTo>
                    <a:lnTo>
                      <a:pt x="6" y="2370"/>
                    </a:lnTo>
                    <a:lnTo>
                      <a:pt x="10" y="2374"/>
                    </a:lnTo>
                    <a:lnTo>
                      <a:pt x="14" y="2376"/>
                    </a:lnTo>
                    <a:lnTo>
                      <a:pt x="26" y="2377"/>
                    </a:lnTo>
                    <a:lnTo>
                      <a:pt x="41" y="2381"/>
                    </a:lnTo>
                    <a:lnTo>
                      <a:pt x="46" y="2384"/>
                    </a:lnTo>
                    <a:lnTo>
                      <a:pt x="48" y="2386"/>
                    </a:lnTo>
                    <a:lnTo>
                      <a:pt x="50" y="2390"/>
                    </a:lnTo>
                    <a:lnTo>
                      <a:pt x="50" y="2393"/>
                    </a:lnTo>
                    <a:lnTo>
                      <a:pt x="48" y="2403"/>
                    </a:lnTo>
                    <a:lnTo>
                      <a:pt x="44" y="2414"/>
                    </a:lnTo>
                    <a:lnTo>
                      <a:pt x="39" y="2426"/>
                    </a:lnTo>
                    <a:lnTo>
                      <a:pt x="34" y="2438"/>
                    </a:lnTo>
                    <a:lnTo>
                      <a:pt x="33" y="2444"/>
                    </a:lnTo>
                    <a:lnTo>
                      <a:pt x="32" y="2451"/>
                    </a:lnTo>
                    <a:lnTo>
                      <a:pt x="32" y="2456"/>
                    </a:lnTo>
                    <a:lnTo>
                      <a:pt x="33" y="2462"/>
                    </a:lnTo>
                    <a:lnTo>
                      <a:pt x="34" y="2471"/>
                    </a:lnTo>
                    <a:lnTo>
                      <a:pt x="35" y="2481"/>
                    </a:lnTo>
                    <a:lnTo>
                      <a:pt x="35" y="2491"/>
                    </a:lnTo>
                    <a:lnTo>
                      <a:pt x="35" y="2501"/>
                    </a:lnTo>
                    <a:lnTo>
                      <a:pt x="34" y="2524"/>
                    </a:lnTo>
                    <a:lnTo>
                      <a:pt x="34" y="2546"/>
                    </a:lnTo>
                    <a:lnTo>
                      <a:pt x="35" y="2556"/>
                    </a:lnTo>
                    <a:lnTo>
                      <a:pt x="36" y="2565"/>
                    </a:lnTo>
                    <a:lnTo>
                      <a:pt x="39" y="2575"/>
                    </a:lnTo>
                    <a:lnTo>
                      <a:pt x="42" y="2582"/>
                    </a:lnTo>
                    <a:lnTo>
                      <a:pt x="48" y="2589"/>
                    </a:lnTo>
                    <a:lnTo>
                      <a:pt x="54" y="2593"/>
                    </a:lnTo>
                    <a:lnTo>
                      <a:pt x="59" y="2595"/>
                    </a:lnTo>
                    <a:lnTo>
                      <a:pt x="63" y="2597"/>
                    </a:lnTo>
                    <a:lnTo>
                      <a:pt x="68" y="2597"/>
                    </a:lnTo>
                    <a:lnTo>
                      <a:pt x="74" y="2599"/>
                    </a:lnTo>
                    <a:lnTo>
                      <a:pt x="88" y="2600"/>
                    </a:lnTo>
                    <a:lnTo>
                      <a:pt x="99" y="2602"/>
                    </a:lnTo>
                    <a:lnTo>
                      <a:pt x="107" y="2604"/>
                    </a:lnTo>
                    <a:lnTo>
                      <a:pt x="113" y="2607"/>
                    </a:lnTo>
                    <a:lnTo>
                      <a:pt x="117" y="2612"/>
                    </a:lnTo>
                    <a:lnTo>
                      <a:pt x="118" y="2616"/>
                    </a:lnTo>
                    <a:lnTo>
                      <a:pt x="118" y="2621"/>
                    </a:lnTo>
                    <a:lnTo>
                      <a:pt x="117" y="2627"/>
                    </a:lnTo>
                    <a:lnTo>
                      <a:pt x="114" y="2632"/>
                    </a:lnTo>
                    <a:lnTo>
                      <a:pt x="111" y="2639"/>
                    </a:lnTo>
                    <a:lnTo>
                      <a:pt x="105" y="2645"/>
                    </a:lnTo>
                    <a:lnTo>
                      <a:pt x="100" y="2651"/>
                    </a:lnTo>
                    <a:lnTo>
                      <a:pt x="88" y="2666"/>
                    </a:lnTo>
                    <a:lnTo>
                      <a:pt x="75" y="2680"/>
                    </a:lnTo>
                    <a:lnTo>
                      <a:pt x="72" y="2685"/>
                    </a:lnTo>
                    <a:lnTo>
                      <a:pt x="67" y="2693"/>
                    </a:lnTo>
                    <a:lnTo>
                      <a:pt x="63" y="2702"/>
                    </a:lnTo>
                    <a:lnTo>
                      <a:pt x="60" y="2712"/>
                    </a:lnTo>
                    <a:lnTo>
                      <a:pt x="58" y="2722"/>
                    </a:lnTo>
                    <a:lnTo>
                      <a:pt x="58" y="2730"/>
                    </a:lnTo>
                    <a:lnTo>
                      <a:pt x="59" y="2734"/>
                    </a:lnTo>
                    <a:lnTo>
                      <a:pt x="60" y="2737"/>
                    </a:lnTo>
                    <a:lnTo>
                      <a:pt x="63" y="2740"/>
                    </a:lnTo>
                    <a:lnTo>
                      <a:pt x="66" y="2741"/>
                    </a:lnTo>
                    <a:lnTo>
                      <a:pt x="76" y="2743"/>
                    </a:lnTo>
                    <a:lnTo>
                      <a:pt x="86" y="2742"/>
                    </a:lnTo>
                    <a:lnTo>
                      <a:pt x="97" y="2741"/>
                    </a:lnTo>
                    <a:lnTo>
                      <a:pt x="107" y="2739"/>
                    </a:lnTo>
                    <a:lnTo>
                      <a:pt x="118" y="2737"/>
                    </a:lnTo>
                    <a:lnTo>
                      <a:pt x="128" y="2737"/>
                    </a:lnTo>
                    <a:lnTo>
                      <a:pt x="133" y="2737"/>
                    </a:lnTo>
                    <a:lnTo>
                      <a:pt x="139" y="2737"/>
                    </a:lnTo>
                    <a:lnTo>
                      <a:pt x="143" y="2738"/>
                    </a:lnTo>
                    <a:lnTo>
                      <a:pt x="148" y="2740"/>
                    </a:lnTo>
                    <a:lnTo>
                      <a:pt x="150" y="2741"/>
                    </a:lnTo>
                    <a:lnTo>
                      <a:pt x="150" y="2743"/>
                    </a:lnTo>
                    <a:lnTo>
                      <a:pt x="150" y="2747"/>
                    </a:lnTo>
                    <a:lnTo>
                      <a:pt x="150" y="2750"/>
                    </a:lnTo>
                    <a:lnTo>
                      <a:pt x="149" y="2756"/>
                    </a:lnTo>
                    <a:lnTo>
                      <a:pt x="148" y="2762"/>
                    </a:lnTo>
                    <a:lnTo>
                      <a:pt x="148" y="2768"/>
                    </a:lnTo>
                    <a:lnTo>
                      <a:pt x="149" y="2776"/>
                    </a:lnTo>
                    <a:lnTo>
                      <a:pt x="151" y="2784"/>
                    </a:lnTo>
                    <a:lnTo>
                      <a:pt x="154" y="2792"/>
                    </a:lnTo>
                    <a:lnTo>
                      <a:pt x="161" y="2808"/>
                    </a:lnTo>
                    <a:lnTo>
                      <a:pt x="169" y="2825"/>
                    </a:lnTo>
                    <a:lnTo>
                      <a:pt x="179" y="2842"/>
                    </a:lnTo>
                    <a:lnTo>
                      <a:pt x="189" y="2857"/>
                    </a:lnTo>
                    <a:lnTo>
                      <a:pt x="198" y="2870"/>
                    </a:lnTo>
                    <a:lnTo>
                      <a:pt x="207" y="2882"/>
                    </a:lnTo>
                    <a:lnTo>
                      <a:pt x="223" y="2899"/>
                    </a:lnTo>
                    <a:lnTo>
                      <a:pt x="242" y="2917"/>
                    </a:lnTo>
                    <a:lnTo>
                      <a:pt x="246" y="2923"/>
                    </a:lnTo>
                    <a:lnTo>
                      <a:pt x="249" y="2927"/>
                    </a:lnTo>
                    <a:lnTo>
                      <a:pt x="253" y="2932"/>
                    </a:lnTo>
                    <a:lnTo>
                      <a:pt x="255" y="2938"/>
                    </a:lnTo>
                    <a:lnTo>
                      <a:pt x="257" y="2944"/>
                    </a:lnTo>
                    <a:lnTo>
                      <a:pt x="257" y="2950"/>
                    </a:lnTo>
                    <a:lnTo>
                      <a:pt x="257" y="2956"/>
                    </a:lnTo>
                    <a:lnTo>
                      <a:pt x="256" y="2961"/>
                    </a:lnTo>
                    <a:lnTo>
                      <a:pt x="254" y="2966"/>
                    </a:lnTo>
                    <a:lnTo>
                      <a:pt x="252" y="2969"/>
                    </a:lnTo>
                    <a:lnTo>
                      <a:pt x="248" y="2971"/>
                    </a:lnTo>
                    <a:lnTo>
                      <a:pt x="244" y="2972"/>
                    </a:lnTo>
                    <a:lnTo>
                      <a:pt x="235" y="2973"/>
                    </a:lnTo>
                    <a:lnTo>
                      <a:pt x="226" y="2973"/>
                    </a:lnTo>
                    <a:lnTo>
                      <a:pt x="216" y="2972"/>
                    </a:lnTo>
                    <a:lnTo>
                      <a:pt x="206" y="2971"/>
                    </a:lnTo>
                    <a:lnTo>
                      <a:pt x="202" y="2971"/>
                    </a:lnTo>
                    <a:lnTo>
                      <a:pt x="197" y="2972"/>
                    </a:lnTo>
                    <a:lnTo>
                      <a:pt x="193" y="2974"/>
                    </a:lnTo>
                    <a:lnTo>
                      <a:pt x="190" y="2977"/>
                    </a:lnTo>
                    <a:lnTo>
                      <a:pt x="185" y="2982"/>
                    </a:lnTo>
                    <a:lnTo>
                      <a:pt x="182" y="2987"/>
                    </a:lnTo>
                    <a:lnTo>
                      <a:pt x="179" y="2994"/>
                    </a:lnTo>
                    <a:lnTo>
                      <a:pt x="177" y="2999"/>
                    </a:lnTo>
                    <a:lnTo>
                      <a:pt x="174" y="3011"/>
                    </a:lnTo>
                    <a:lnTo>
                      <a:pt x="170" y="3022"/>
                    </a:lnTo>
                    <a:lnTo>
                      <a:pt x="168" y="3027"/>
                    </a:lnTo>
                    <a:lnTo>
                      <a:pt x="165" y="3032"/>
                    </a:lnTo>
                    <a:lnTo>
                      <a:pt x="162" y="3036"/>
                    </a:lnTo>
                    <a:lnTo>
                      <a:pt x="156" y="3040"/>
                    </a:lnTo>
                    <a:lnTo>
                      <a:pt x="150" y="3042"/>
                    </a:lnTo>
                    <a:lnTo>
                      <a:pt x="142" y="3045"/>
                    </a:lnTo>
                    <a:lnTo>
                      <a:pt x="132" y="3047"/>
                    </a:lnTo>
                    <a:lnTo>
                      <a:pt x="120" y="3047"/>
                    </a:lnTo>
                    <a:lnTo>
                      <a:pt x="110" y="3047"/>
                    </a:lnTo>
                    <a:lnTo>
                      <a:pt x="97" y="3047"/>
                    </a:lnTo>
                    <a:lnTo>
                      <a:pt x="85" y="3048"/>
                    </a:lnTo>
                    <a:lnTo>
                      <a:pt x="74" y="3051"/>
                    </a:lnTo>
                    <a:lnTo>
                      <a:pt x="68" y="3053"/>
                    </a:lnTo>
                    <a:lnTo>
                      <a:pt x="64" y="3055"/>
                    </a:lnTo>
                    <a:lnTo>
                      <a:pt x="61" y="3059"/>
                    </a:lnTo>
                    <a:lnTo>
                      <a:pt x="59" y="3063"/>
                    </a:lnTo>
                    <a:lnTo>
                      <a:pt x="58" y="3068"/>
                    </a:lnTo>
                    <a:lnTo>
                      <a:pt x="58" y="3074"/>
                    </a:lnTo>
                    <a:lnTo>
                      <a:pt x="59" y="3081"/>
                    </a:lnTo>
                    <a:lnTo>
                      <a:pt x="61" y="3089"/>
                    </a:lnTo>
                    <a:lnTo>
                      <a:pt x="65" y="3105"/>
                    </a:lnTo>
                    <a:lnTo>
                      <a:pt x="67" y="3122"/>
                    </a:lnTo>
                    <a:lnTo>
                      <a:pt x="70" y="3130"/>
                    </a:lnTo>
                    <a:lnTo>
                      <a:pt x="72" y="3139"/>
                    </a:lnTo>
                    <a:lnTo>
                      <a:pt x="74" y="3146"/>
                    </a:lnTo>
                    <a:lnTo>
                      <a:pt x="78" y="3153"/>
                    </a:lnTo>
                    <a:lnTo>
                      <a:pt x="81" y="3156"/>
                    </a:lnTo>
                    <a:lnTo>
                      <a:pt x="85" y="3158"/>
                    </a:lnTo>
                    <a:lnTo>
                      <a:pt x="88" y="3158"/>
                    </a:lnTo>
                    <a:lnTo>
                      <a:pt x="92" y="3158"/>
                    </a:lnTo>
                    <a:lnTo>
                      <a:pt x="101" y="3155"/>
                    </a:lnTo>
                    <a:lnTo>
                      <a:pt x="110" y="3152"/>
                    </a:lnTo>
                    <a:lnTo>
                      <a:pt x="115" y="3152"/>
                    </a:lnTo>
                    <a:lnTo>
                      <a:pt x="119" y="3152"/>
                    </a:lnTo>
                    <a:lnTo>
                      <a:pt x="125" y="3153"/>
                    </a:lnTo>
                    <a:lnTo>
                      <a:pt x="130" y="3156"/>
                    </a:lnTo>
                    <a:lnTo>
                      <a:pt x="136" y="3161"/>
                    </a:lnTo>
                    <a:lnTo>
                      <a:pt x="142" y="3169"/>
                    </a:lnTo>
                    <a:lnTo>
                      <a:pt x="148" y="3179"/>
                    </a:lnTo>
                    <a:lnTo>
                      <a:pt x="154" y="3191"/>
                    </a:lnTo>
                    <a:lnTo>
                      <a:pt x="162" y="3210"/>
                    </a:lnTo>
                    <a:lnTo>
                      <a:pt x="167" y="3224"/>
                    </a:lnTo>
                    <a:lnTo>
                      <a:pt x="170" y="3237"/>
                    </a:lnTo>
                    <a:lnTo>
                      <a:pt x="171" y="3248"/>
                    </a:lnTo>
                    <a:lnTo>
                      <a:pt x="170" y="3258"/>
                    </a:lnTo>
                    <a:lnTo>
                      <a:pt x="167" y="3270"/>
                    </a:lnTo>
                    <a:lnTo>
                      <a:pt x="162" y="3284"/>
                    </a:lnTo>
                    <a:lnTo>
                      <a:pt x="154" y="3302"/>
                    </a:lnTo>
                    <a:lnTo>
                      <a:pt x="150" y="3312"/>
                    </a:lnTo>
                    <a:lnTo>
                      <a:pt x="148" y="3322"/>
                    </a:lnTo>
                    <a:lnTo>
                      <a:pt x="146" y="3329"/>
                    </a:lnTo>
                    <a:lnTo>
                      <a:pt x="148" y="3335"/>
                    </a:lnTo>
                    <a:lnTo>
                      <a:pt x="151" y="3339"/>
                    </a:lnTo>
                    <a:lnTo>
                      <a:pt x="155" y="3343"/>
                    </a:lnTo>
                    <a:lnTo>
                      <a:pt x="159" y="3344"/>
                    </a:lnTo>
                    <a:lnTo>
                      <a:pt x="166" y="3345"/>
                    </a:lnTo>
                    <a:lnTo>
                      <a:pt x="180" y="3345"/>
                    </a:lnTo>
                    <a:lnTo>
                      <a:pt x="196" y="3343"/>
                    </a:lnTo>
                    <a:lnTo>
                      <a:pt x="211" y="3339"/>
                    </a:lnTo>
                    <a:lnTo>
                      <a:pt x="226" y="3337"/>
                    </a:lnTo>
                    <a:lnTo>
                      <a:pt x="235" y="3337"/>
                    </a:lnTo>
                    <a:lnTo>
                      <a:pt x="243" y="3338"/>
                    </a:lnTo>
                    <a:lnTo>
                      <a:pt x="250" y="3339"/>
                    </a:lnTo>
                    <a:lnTo>
                      <a:pt x="256" y="3343"/>
                    </a:lnTo>
                    <a:lnTo>
                      <a:pt x="261" y="3347"/>
                    </a:lnTo>
                    <a:lnTo>
                      <a:pt x="266" y="3351"/>
                    </a:lnTo>
                    <a:lnTo>
                      <a:pt x="270" y="3357"/>
                    </a:lnTo>
                    <a:lnTo>
                      <a:pt x="274" y="3361"/>
                    </a:lnTo>
                    <a:lnTo>
                      <a:pt x="281" y="3372"/>
                    </a:lnTo>
                    <a:lnTo>
                      <a:pt x="287" y="3382"/>
                    </a:lnTo>
                    <a:lnTo>
                      <a:pt x="291" y="3385"/>
                    </a:lnTo>
                    <a:lnTo>
                      <a:pt x="295" y="3388"/>
                    </a:lnTo>
                    <a:lnTo>
                      <a:pt x="299" y="3390"/>
                    </a:lnTo>
                    <a:lnTo>
                      <a:pt x="305" y="3390"/>
                    </a:lnTo>
                    <a:lnTo>
                      <a:pt x="316" y="3389"/>
                    </a:lnTo>
                    <a:lnTo>
                      <a:pt x="324" y="3387"/>
                    </a:lnTo>
                    <a:lnTo>
                      <a:pt x="332" y="3384"/>
                    </a:lnTo>
                    <a:lnTo>
                      <a:pt x="339" y="3380"/>
                    </a:lnTo>
                    <a:lnTo>
                      <a:pt x="348" y="3378"/>
                    </a:lnTo>
                    <a:lnTo>
                      <a:pt x="357" y="3377"/>
                    </a:lnTo>
                    <a:lnTo>
                      <a:pt x="361" y="3378"/>
                    </a:lnTo>
                    <a:lnTo>
                      <a:pt x="366" y="3379"/>
                    </a:lnTo>
                    <a:lnTo>
                      <a:pt x="372" y="3382"/>
                    </a:lnTo>
                    <a:lnTo>
                      <a:pt x="378" y="3384"/>
                    </a:lnTo>
                    <a:lnTo>
                      <a:pt x="398" y="3400"/>
                    </a:lnTo>
                    <a:lnTo>
                      <a:pt x="427" y="3427"/>
                    </a:lnTo>
                    <a:lnTo>
                      <a:pt x="435" y="3432"/>
                    </a:lnTo>
                    <a:lnTo>
                      <a:pt x="441" y="3438"/>
                    </a:lnTo>
                    <a:lnTo>
                      <a:pt x="448" y="3442"/>
                    </a:lnTo>
                    <a:lnTo>
                      <a:pt x="454" y="3445"/>
                    </a:lnTo>
                    <a:lnTo>
                      <a:pt x="459" y="3446"/>
                    </a:lnTo>
                    <a:lnTo>
                      <a:pt x="463" y="3445"/>
                    </a:lnTo>
                    <a:lnTo>
                      <a:pt x="464" y="3444"/>
                    </a:lnTo>
                    <a:lnTo>
                      <a:pt x="465" y="3442"/>
                    </a:lnTo>
                    <a:lnTo>
                      <a:pt x="466" y="3440"/>
                    </a:lnTo>
                    <a:lnTo>
                      <a:pt x="466" y="3437"/>
                    </a:lnTo>
                    <a:lnTo>
                      <a:pt x="466" y="3429"/>
                    </a:lnTo>
                    <a:lnTo>
                      <a:pt x="465" y="3423"/>
                    </a:lnTo>
                    <a:lnTo>
                      <a:pt x="463" y="3415"/>
                    </a:lnTo>
                    <a:lnTo>
                      <a:pt x="460" y="3409"/>
                    </a:lnTo>
                    <a:lnTo>
                      <a:pt x="453" y="3396"/>
                    </a:lnTo>
                    <a:lnTo>
                      <a:pt x="446" y="3383"/>
                    </a:lnTo>
                    <a:lnTo>
                      <a:pt x="442" y="3376"/>
                    </a:lnTo>
                    <a:lnTo>
                      <a:pt x="440" y="3370"/>
                    </a:lnTo>
                    <a:lnTo>
                      <a:pt x="438" y="3363"/>
                    </a:lnTo>
                    <a:lnTo>
                      <a:pt x="437" y="3357"/>
                    </a:lnTo>
                    <a:lnTo>
                      <a:pt x="438" y="3350"/>
                    </a:lnTo>
                    <a:lnTo>
                      <a:pt x="439" y="3344"/>
                    </a:lnTo>
                    <a:lnTo>
                      <a:pt x="442" y="3337"/>
                    </a:lnTo>
                    <a:lnTo>
                      <a:pt x="448" y="3331"/>
                    </a:lnTo>
                    <a:lnTo>
                      <a:pt x="465" y="3311"/>
                    </a:lnTo>
                    <a:lnTo>
                      <a:pt x="480" y="3293"/>
                    </a:lnTo>
                    <a:lnTo>
                      <a:pt x="494" y="3275"/>
                    </a:lnTo>
                    <a:lnTo>
                      <a:pt x="506" y="3256"/>
                    </a:lnTo>
                    <a:lnTo>
                      <a:pt x="518" y="3237"/>
                    </a:lnTo>
                    <a:lnTo>
                      <a:pt x="529" y="3215"/>
                    </a:lnTo>
                    <a:lnTo>
                      <a:pt x="539" y="3194"/>
                    </a:lnTo>
                    <a:lnTo>
                      <a:pt x="550" y="3170"/>
                    </a:lnTo>
                    <a:lnTo>
                      <a:pt x="556" y="3155"/>
                    </a:lnTo>
                    <a:lnTo>
                      <a:pt x="562" y="3144"/>
                    </a:lnTo>
                    <a:lnTo>
                      <a:pt x="568" y="3135"/>
                    </a:lnTo>
                    <a:lnTo>
                      <a:pt x="573" y="3130"/>
                    </a:lnTo>
                    <a:lnTo>
                      <a:pt x="579" y="3127"/>
                    </a:lnTo>
                    <a:lnTo>
                      <a:pt x="584" y="3127"/>
                    </a:lnTo>
                    <a:lnTo>
                      <a:pt x="591" y="3128"/>
                    </a:lnTo>
                    <a:lnTo>
                      <a:pt x="596" y="3131"/>
                    </a:lnTo>
                    <a:lnTo>
                      <a:pt x="609" y="3141"/>
                    </a:lnTo>
                    <a:lnTo>
                      <a:pt x="622" y="3155"/>
                    </a:lnTo>
                    <a:lnTo>
                      <a:pt x="637" y="3170"/>
                    </a:lnTo>
                    <a:lnTo>
                      <a:pt x="656" y="3185"/>
                    </a:lnTo>
                    <a:lnTo>
                      <a:pt x="667" y="3196"/>
                    </a:lnTo>
                    <a:lnTo>
                      <a:pt x="677" y="3207"/>
                    </a:lnTo>
                    <a:lnTo>
                      <a:pt x="688" y="3216"/>
                    </a:lnTo>
                    <a:lnTo>
                      <a:pt x="699" y="3223"/>
                    </a:lnTo>
                    <a:lnTo>
                      <a:pt x="706" y="3226"/>
                    </a:lnTo>
                    <a:lnTo>
                      <a:pt x="711" y="3227"/>
                    </a:lnTo>
                    <a:lnTo>
                      <a:pt x="718" y="3228"/>
                    </a:lnTo>
                    <a:lnTo>
                      <a:pt x="723" y="3228"/>
                    </a:lnTo>
                    <a:lnTo>
                      <a:pt x="729" y="3226"/>
                    </a:lnTo>
                    <a:lnTo>
                      <a:pt x="736" y="3223"/>
                    </a:lnTo>
                    <a:lnTo>
                      <a:pt x="742" y="3218"/>
                    </a:lnTo>
                    <a:lnTo>
                      <a:pt x="749" y="3212"/>
                    </a:lnTo>
                    <a:lnTo>
                      <a:pt x="758" y="3204"/>
                    </a:lnTo>
                    <a:lnTo>
                      <a:pt x="765" y="3198"/>
                    </a:lnTo>
                    <a:lnTo>
                      <a:pt x="773" y="3194"/>
                    </a:lnTo>
                    <a:lnTo>
                      <a:pt x="779" y="3189"/>
                    </a:lnTo>
                    <a:lnTo>
                      <a:pt x="786" y="3187"/>
                    </a:lnTo>
                    <a:lnTo>
                      <a:pt x="791" y="3185"/>
                    </a:lnTo>
                    <a:lnTo>
                      <a:pt x="798" y="3185"/>
                    </a:lnTo>
                    <a:lnTo>
                      <a:pt x="803" y="3185"/>
                    </a:lnTo>
                    <a:lnTo>
                      <a:pt x="827" y="3190"/>
                    </a:lnTo>
                    <a:lnTo>
                      <a:pt x="858" y="3200"/>
                    </a:lnTo>
                    <a:lnTo>
                      <a:pt x="864" y="3200"/>
                    </a:lnTo>
                    <a:lnTo>
                      <a:pt x="869" y="3199"/>
                    </a:lnTo>
                    <a:lnTo>
                      <a:pt x="873" y="3196"/>
                    </a:lnTo>
                    <a:lnTo>
                      <a:pt x="876" y="3191"/>
                    </a:lnTo>
                    <a:lnTo>
                      <a:pt x="878" y="3186"/>
                    </a:lnTo>
                    <a:lnTo>
                      <a:pt x="879" y="3180"/>
                    </a:lnTo>
                    <a:lnTo>
                      <a:pt x="880" y="3172"/>
                    </a:lnTo>
                    <a:lnTo>
                      <a:pt x="880" y="3163"/>
                    </a:lnTo>
                    <a:lnTo>
                      <a:pt x="878" y="3131"/>
                    </a:lnTo>
                    <a:lnTo>
                      <a:pt x="877" y="3109"/>
                    </a:lnTo>
                    <a:lnTo>
                      <a:pt x="879" y="3100"/>
                    </a:lnTo>
                    <a:lnTo>
                      <a:pt x="880" y="3092"/>
                    </a:lnTo>
                    <a:lnTo>
                      <a:pt x="881" y="3087"/>
                    </a:lnTo>
                    <a:lnTo>
                      <a:pt x="883" y="3083"/>
                    </a:lnTo>
                    <a:lnTo>
                      <a:pt x="886" y="3081"/>
                    </a:lnTo>
                    <a:lnTo>
                      <a:pt x="889" y="3079"/>
                    </a:lnTo>
                    <a:lnTo>
                      <a:pt x="891" y="3079"/>
                    </a:lnTo>
                    <a:lnTo>
                      <a:pt x="894" y="3080"/>
                    </a:lnTo>
                    <a:lnTo>
                      <a:pt x="901" y="3083"/>
                    </a:lnTo>
                    <a:lnTo>
                      <a:pt x="908" y="3088"/>
                    </a:lnTo>
                    <a:lnTo>
                      <a:pt x="912" y="3090"/>
                    </a:lnTo>
                    <a:lnTo>
                      <a:pt x="916" y="3091"/>
                    </a:lnTo>
                    <a:lnTo>
                      <a:pt x="920" y="3093"/>
                    </a:lnTo>
                    <a:lnTo>
                      <a:pt x="926" y="3093"/>
                    </a:lnTo>
                    <a:lnTo>
                      <a:pt x="932" y="3092"/>
                    </a:lnTo>
                    <a:lnTo>
                      <a:pt x="941" y="3090"/>
                    </a:lnTo>
                    <a:lnTo>
                      <a:pt x="951" y="3086"/>
                    </a:lnTo>
                    <a:lnTo>
                      <a:pt x="962" y="3081"/>
                    </a:lnTo>
                    <a:lnTo>
                      <a:pt x="986" y="3068"/>
                    </a:lnTo>
                    <a:lnTo>
                      <a:pt x="1013" y="3055"/>
                    </a:lnTo>
                    <a:lnTo>
                      <a:pt x="1038" y="3044"/>
                    </a:lnTo>
                    <a:lnTo>
                      <a:pt x="1060" y="3034"/>
                    </a:lnTo>
                    <a:lnTo>
                      <a:pt x="1070" y="3032"/>
                    </a:lnTo>
                    <a:lnTo>
                      <a:pt x="1076" y="3029"/>
                    </a:lnTo>
                    <a:lnTo>
                      <a:pt x="1080" y="3031"/>
                    </a:lnTo>
                    <a:lnTo>
                      <a:pt x="1082" y="3031"/>
                    </a:lnTo>
                    <a:lnTo>
                      <a:pt x="1084" y="3032"/>
                    </a:lnTo>
                    <a:lnTo>
                      <a:pt x="1085" y="3034"/>
                    </a:lnTo>
                    <a:lnTo>
                      <a:pt x="1088" y="3041"/>
                    </a:lnTo>
                    <a:lnTo>
                      <a:pt x="1090" y="3049"/>
                    </a:lnTo>
                    <a:lnTo>
                      <a:pt x="1091" y="3058"/>
                    </a:lnTo>
                    <a:lnTo>
                      <a:pt x="1090" y="3066"/>
                    </a:lnTo>
                    <a:lnTo>
                      <a:pt x="1089" y="3082"/>
                    </a:lnTo>
                    <a:lnTo>
                      <a:pt x="1088" y="3098"/>
                    </a:lnTo>
                    <a:lnTo>
                      <a:pt x="1088" y="3105"/>
                    </a:lnTo>
                    <a:lnTo>
                      <a:pt x="1089" y="3112"/>
                    </a:lnTo>
                    <a:lnTo>
                      <a:pt x="1093" y="3117"/>
                    </a:lnTo>
                    <a:lnTo>
                      <a:pt x="1096" y="3122"/>
                    </a:lnTo>
                    <a:lnTo>
                      <a:pt x="1102" y="3126"/>
                    </a:lnTo>
                    <a:lnTo>
                      <a:pt x="1110" y="3129"/>
                    </a:lnTo>
                    <a:lnTo>
                      <a:pt x="1121" y="3131"/>
                    </a:lnTo>
                    <a:lnTo>
                      <a:pt x="1134" y="3131"/>
                    </a:lnTo>
                    <a:lnTo>
                      <a:pt x="1141" y="3132"/>
                    </a:lnTo>
                    <a:lnTo>
                      <a:pt x="1151" y="3133"/>
                    </a:lnTo>
                    <a:lnTo>
                      <a:pt x="1161" y="3135"/>
                    </a:lnTo>
                    <a:lnTo>
                      <a:pt x="1172" y="3139"/>
                    </a:lnTo>
                    <a:lnTo>
                      <a:pt x="1182" y="3142"/>
                    </a:lnTo>
                    <a:lnTo>
                      <a:pt x="1194" y="3146"/>
                    </a:lnTo>
                    <a:lnTo>
                      <a:pt x="1205" y="3152"/>
                    </a:lnTo>
                    <a:lnTo>
                      <a:pt x="1216" y="3158"/>
                    </a:lnTo>
                    <a:lnTo>
                      <a:pt x="1227" y="3164"/>
                    </a:lnTo>
                    <a:lnTo>
                      <a:pt x="1236" y="3171"/>
                    </a:lnTo>
                    <a:lnTo>
                      <a:pt x="1243" y="3179"/>
                    </a:lnTo>
                    <a:lnTo>
                      <a:pt x="1249" y="3187"/>
                    </a:lnTo>
                    <a:lnTo>
                      <a:pt x="1251" y="3191"/>
                    </a:lnTo>
                    <a:lnTo>
                      <a:pt x="1252" y="3196"/>
                    </a:lnTo>
                    <a:lnTo>
                      <a:pt x="1253" y="3200"/>
                    </a:lnTo>
                    <a:lnTo>
                      <a:pt x="1253" y="3204"/>
                    </a:lnTo>
                    <a:lnTo>
                      <a:pt x="1253" y="3210"/>
                    </a:lnTo>
                    <a:lnTo>
                      <a:pt x="1252" y="3214"/>
                    </a:lnTo>
                    <a:lnTo>
                      <a:pt x="1250" y="3220"/>
                    </a:lnTo>
                    <a:lnTo>
                      <a:pt x="1248" y="3224"/>
                    </a:lnTo>
                    <a:lnTo>
                      <a:pt x="1241" y="3233"/>
                    </a:lnTo>
                    <a:lnTo>
                      <a:pt x="1234" y="3241"/>
                    </a:lnTo>
                    <a:lnTo>
                      <a:pt x="1228" y="3248"/>
                    </a:lnTo>
                    <a:lnTo>
                      <a:pt x="1221" y="3254"/>
                    </a:lnTo>
                    <a:lnTo>
                      <a:pt x="1206" y="3267"/>
                    </a:lnTo>
                    <a:lnTo>
                      <a:pt x="1192" y="3280"/>
                    </a:lnTo>
                    <a:lnTo>
                      <a:pt x="1186" y="3287"/>
                    </a:lnTo>
                    <a:lnTo>
                      <a:pt x="1179" y="3293"/>
                    </a:lnTo>
                    <a:lnTo>
                      <a:pt x="1174" y="3301"/>
                    </a:lnTo>
                    <a:lnTo>
                      <a:pt x="1169" y="3309"/>
                    </a:lnTo>
                    <a:lnTo>
                      <a:pt x="1165" y="3318"/>
                    </a:lnTo>
                    <a:lnTo>
                      <a:pt x="1162" y="3326"/>
                    </a:lnTo>
                    <a:lnTo>
                      <a:pt x="1161" y="3337"/>
                    </a:lnTo>
                    <a:lnTo>
                      <a:pt x="1160" y="3349"/>
                    </a:lnTo>
                    <a:lnTo>
                      <a:pt x="1173" y="3365"/>
                    </a:lnTo>
                    <a:lnTo>
                      <a:pt x="1182" y="3380"/>
                    </a:lnTo>
                    <a:lnTo>
                      <a:pt x="1188" y="3387"/>
                    </a:lnTo>
                    <a:lnTo>
                      <a:pt x="1193" y="3395"/>
                    </a:lnTo>
                    <a:lnTo>
                      <a:pt x="1201" y="3401"/>
                    </a:lnTo>
                    <a:lnTo>
                      <a:pt x="1211" y="3410"/>
                    </a:lnTo>
                    <a:lnTo>
                      <a:pt x="1214" y="3413"/>
                    </a:lnTo>
                    <a:lnTo>
                      <a:pt x="1216" y="3417"/>
                    </a:lnTo>
                    <a:lnTo>
                      <a:pt x="1217" y="3424"/>
                    </a:lnTo>
                    <a:lnTo>
                      <a:pt x="1217" y="3430"/>
                    </a:lnTo>
                    <a:lnTo>
                      <a:pt x="1214" y="3446"/>
                    </a:lnTo>
                    <a:lnTo>
                      <a:pt x="1210" y="3465"/>
                    </a:lnTo>
                    <a:lnTo>
                      <a:pt x="1204" y="3484"/>
                    </a:lnTo>
                    <a:lnTo>
                      <a:pt x="1200" y="3503"/>
                    </a:lnTo>
                    <a:lnTo>
                      <a:pt x="1199" y="3512"/>
                    </a:lnTo>
                    <a:lnTo>
                      <a:pt x="1199" y="3521"/>
                    </a:lnTo>
                    <a:lnTo>
                      <a:pt x="1200" y="3530"/>
                    </a:lnTo>
                    <a:lnTo>
                      <a:pt x="1201" y="3537"/>
                    </a:lnTo>
                    <a:lnTo>
                      <a:pt x="1205" y="3546"/>
                    </a:lnTo>
                    <a:lnTo>
                      <a:pt x="1210" y="3551"/>
                    </a:lnTo>
                    <a:lnTo>
                      <a:pt x="1214" y="3554"/>
                    </a:lnTo>
                    <a:lnTo>
                      <a:pt x="1218" y="3555"/>
                    </a:lnTo>
                    <a:lnTo>
                      <a:pt x="1224" y="3555"/>
                    </a:lnTo>
                    <a:lnTo>
                      <a:pt x="1229" y="3553"/>
                    </a:lnTo>
                    <a:lnTo>
                      <a:pt x="1236" y="3551"/>
                    </a:lnTo>
                    <a:lnTo>
                      <a:pt x="1241" y="3547"/>
                    </a:lnTo>
                    <a:lnTo>
                      <a:pt x="1254" y="3538"/>
                    </a:lnTo>
                    <a:lnTo>
                      <a:pt x="1267" y="3531"/>
                    </a:lnTo>
                    <a:lnTo>
                      <a:pt x="1274" y="3527"/>
                    </a:lnTo>
                    <a:lnTo>
                      <a:pt x="1279" y="3525"/>
                    </a:lnTo>
                    <a:lnTo>
                      <a:pt x="1285" y="3524"/>
                    </a:lnTo>
                    <a:lnTo>
                      <a:pt x="1292" y="3524"/>
                    </a:lnTo>
                    <a:lnTo>
                      <a:pt x="1306" y="3528"/>
                    </a:lnTo>
                    <a:lnTo>
                      <a:pt x="1319" y="3533"/>
                    </a:lnTo>
                    <a:lnTo>
                      <a:pt x="1329" y="3537"/>
                    </a:lnTo>
                    <a:lnTo>
                      <a:pt x="1337" y="3540"/>
                    </a:lnTo>
                    <a:lnTo>
                      <a:pt x="1344" y="3546"/>
                    </a:lnTo>
                    <a:lnTo>
                      <a:pt x="1348" y="3550"/>
                    </a:lnTo>
                    <a:lnTo>
                      <a:pt x="1350" y="3555"/>
                    </a:lnTo>
                    <a:lnTo>
                      <a:pt x="1352" y="3560"/>
                    </a:lnTo>
                    <a:lnTo>
                      <a:pt x="1352" y="3566"/>
                    </a:lnTo>
                    <a:lnTo>
                      <a:pt x="1349" y="3572"/>
                    </a:lnTo>
                    <a:lnTo>
                      <a:pt x="1345" y="3578"/>
                    </a:lnTo>
                    <a:lnTo>
                      <a:pt x="1341" y="3586"/>
                    </a:lnTo>
                    <a:lnTo>
                      <a:pt x="1327" y="3602"/>
                    </a:lnTo>
                    <a:lnTo>
                      <a:pt x="1308" y="3620"/>
                    </a:lnTo>
                    <a:lnTo>
                      <a:pt x="1292" y="3635"/>
                    </a:lnTo>
                    <a:lnTo>
                      <a:pt x="1278" y="3648"/>
                    </a:lnTo>
                    <a:lnTo>
                      <a:pt x="1265" y="3660"/>
                    </a:lnTo>
                    <a:lnTo>
                      <a:pt x="1255" y="3672"/>
                    </a:lnTo>
                    <a:lnTo>
                      <a:pt x="1252" y="3679"/>
                    </a:lnTo>
                    <a:lnTo>
                      <a:pt x="1249" y="3685"/>
                    </a:lnTo>
                    <a:lnTo>
                      <a:pt x="1246" y="3693"/>
                    </a:lnTo>
                    <a:lnTo>
                      <a:pt x="1245" y="3700"/>
                    </a:lnTo>
                    <a:lnTo>
                      <a:pt x="1245" y="3709"/>
                    </a:lnTo>
                    <a:lnTo>
                      <a:pt x="1248" y="3719"/>
                    </a:lnTo>
                    <a:lnTo>
                      <a:pt x="1250" y="3729"/>
                    </a:lnTo>
                    <a:lnTo>
                      <a:pt x="1254" y="3741"/>
                    </a:lnTo>
                    <a:lnTo>
                      <a:pt x="1259" y="3748"/>
                    </a:lnTo>
                    <a:lnTo>
                      <a:pt x="1263" y="3753"/>
                    </a:lnTo>
                    <a:lnTo>
                      <a:pt x="1266" y="3760"/>
                    </a:lnTo>
                    <a:lnTo>
                      <a:pt x="1268" y="3765"/>
                    </a:lnTo>
                    <a:lnTo>
                      <a:pt x="1269" y="3770"/>
                    </a:lnTo>
                    <a:lnTo>
                      <a:pt x="1270" y="3775"/>
                    </a:lnTo>
                    <a:lnTo>
                      <a:pt x="1270" y="3780"/>
                    </a:lnTo>
                    <a:lnTo>
                      <a:pt x="1269" y="3784"/>
                    </a:lnTo>
                    <a:lnTo>
                      <a:pt x="1266" y="3794"/>
                    </a:lnTo>
                    <a:lnTo>
                      <a:pt x="1262" y="3802"/>
                    </a:lnTo>
                    <a:lnTo>
                      <a:pt x="1255" y="3809"/>
                    </a:lnTo>
                    <a:lnTo>
                      <a:pt x="1249" y="3817"/>
                    </a:lnTo>
                    <a:lnTo>
                      <a:pt x="1234" y="3831"/>
                    </a:lnTo>
                    <a:lnTo>
                      <a:pt x="1223" y="3844"/>
                    </a:lnTo>
                    <a:lnTo>
                      <a:pt x="1219" y="3850"/>
                    </a:lnTo>
                    <a:lnTo>
                      <a:pt x="1218" y="3857"/>
                    </a:lnTo>
                    <a:lnTo>
                      <a:pt x="1218" y="3860"/>
                    </a:lnTo>
                    <a:lnTo>
                      <a:pt x="1219" y="3863"/>
                    </a:lnTo>
                    <a:lnTo>
                      <a:pt x="1221" y="3866"/>
                    </a:lnTo>
                    <a:lnTo>
                      <a:pt x="1224" y="3870"/>
                    </a:lnTo>
                    <a:lnTo>
                      <a:pt x="1238" y="3885"/>
                    </a:lnTo>
                    <a:lnTo>
                      <a:pt x="1251" y="3901"/>
                    </a:lnTo>
                    <a:lnTo>
                      <a:pt x="1257" y="3909"/>
                    </a:lnTo>
                    <a:lnTo>
                      <a:pt x="1263" y="3917"/>
                    </a:lnTo>
                    <a:lnTo>
                      <a:pt x="1268" y="3926"/>
                    </a:lnTo>
                    <a:lnTo>
                      <a:pt x="1272" y="3935"/>
                    </a:lnTo>
                    <a:lnTo>
                      <a:pt x="1277" y="3944"/>
                    </a:lnTo>
                    <a:lnTo>
                      <a:pt x="1279" y="3954"/>
                    </a:lnTo>
                    <a:lnTo>
                      <a:pt x="1281" y="3964"/>
                    </a:lnTo>
                    <a:lnTo>
                      <a:pt x="1282" y="3973"/>
                    </a:lnTo>
                    <a:lnTo>
                      <a:pt x="1282" y="3984"/>
                    </a:lnTo>
                    <a:lnTo>
                      <a:pt x="1281" y="3994"/>
                    </a:lnTo>
                    <a:lnTo>
                      <a:pt x="1278" y="4006"/>
                    </a:lnTo>
                    <a:lnTo>
                      <a:pt x="1274" y="4017"/>
                    </a:lnTo>
                    <a:lnTo>
                      <a:pt x="1274" y="4017"/>
                    </a:lnTo>
                    <a:lnTo>
                      <a:pt x="1387" y="4022"/>
                    </a:lnTo>
                    <a:lnTo>
                      <a:pt x="1401" y="4022"/>
                    </a:lnTo>
                    <a:lnTo>
                      <a:pt x="1414" y="4021"/>
                    </a:lnTo>
                    <a:lnTo>
                      <a:pt x="1426" y="4019"/>
                    </a:lnTo>
                    <a:lnTo>
                      <a:pt x="1436" y="4017"/>
                    </a:lnTo>
                    <a:lnTo>
                      <a:pt x="1452" y="4010"/>
                    </a:lnTo>
                    <a:lnTo>
                      <a:pt x="1467" y="4005"/>
                    </a:lnTo>
                    <a:lnTo>
                      <a:pt x="1474" y="4001"/>
                    </a:lnTo>
                    <a:lnTo>
                      <a:pt x="1482" y="3999"/>
                    </a:lnTo>
                    <a:lnTo>
                      <a:pt x="1490" y="3998"/>
                    </a:lnTo>
                    <a:lnTo>
                      <a:pt x="1499" y="3997"/>
                    </a:lnTo>
                    <a:lnTo>
                      <a:pt x="1509" y="3998"/>
                    </a:lnTo>
                    <a:lnTo>
                      <a:pt x="1521" y="4000"/>
                    </a:lnTo>
                    <a:lnTo>
                      <a:pt x="1535" y="4004"/>
                    </a:lnTo>
                    <a:lnTo>
                      <a:pt x="1550" y="4009"/>
                    </a:lnTo>
                    <a:lnTo>
                      <a:pt x="1567" y="4014"/>
                    </a:lnTo>
                    <a:lnTo>
                      <a:pt x="1585" y="4019"/>
                    </a:lnTo>
                    <a:lnTo>
                      <a:pt x="1601" y="4021"/>
                    </a:lnTo>
                    <a:lnTo>
                      <a:pt x="1617" y="4021"/>
                    </a:lnTo>
                    <a:lnTo>
                      <a:pt x="1632" y="4021"/>
                    </a:lnTo>
                    <a:lnTo>
                      <a:pt x="1648" y="4019"/>
                    </a:lnTo>
                    <a:lnTo>
                      <a:pt x="1664" y="4017"/>
                    </a:lnTo>
                    <a:lnTo>
                      <a:pt x="1680" y="4013"/>
                    </a:lnTo>
                    <a:lnTo>
                      <a:pt x="1710" y="4005"/>
                    </a:lnTo>
                    <a:lnTo>
                      <a:pt x="1743" y="3997"/>
                    </a:lnTo>
                    <a:lnTo>
                      <a:pt x="1759" y="3993"/>
                    </a:lnTo>
                    <a:lnTo>
                      <a:pt x="1775" y="3990"/>
                    </a:lnTo>
                    <a:lnTo>
                      <a:pt x="1793" y="3987"/>
                    </a:lnTo>
                    <a:lnTo>
                      <a:pt x="1810" y="3986"/>
                    </a:lnTo>
                    <a:lnTo>
                      <a:pt x="1824" y="3978"/>
                    </a:lnTo>
                    <a:lnTo>
                      <a:pt x="1837" y="3971"/>
                    </a:lnTo>
                    <a:lnTo>
                      <a:pt x="1848" y="3967"/>
                    </a:lnTo>
                    <a:lnTo>
                      <a:pt x="1858" y="3964"/>
                    </a:lnTo>
                    <a:lnTo>
                      <a:pt x="1867" y="3962"/>
                    </a:lnTo>
                    <a:lnTo>
                      <a:pt x="1875" y="3960"/>
                    </a:lnTo>
                    <a:lnTo>
                      <a:pt x="1883" y="3960"/>
                    </a:lnTo>
                    <a:lnTo>
                      <a:pt x="1890" y="3962"/>
                    </a:lnTo>
                    <a:lnTo>
                      <a:pt x="1919" y="3972"/>
                    </a:lnTo>
                    <a:lnTo>
                      <a:pt x="1959" y="3986"/>
                    </a:lnTo>
                    <a:lnTo>
                      <a:pt x="1959" y="3995"/>
                    </a:lnTo>
                    <a:lnTo>
                      <a:pt x="1957" y="4004"/>
                    </a:lnTo>
                    <a:lnTo>
                      <a:pt x="1954" y="4013"/>
                    </a:lnTo>
                    <a:lnTo>
                      <a:pt x="1951" y="4023"/>
                    </a:lnTo>
                    <a:lnTo>
                      <a:pt x="1948" y="4032"/>
                    </a:lnTo>
                    <a:lnTo>
                      <a:pt x="1944" y="4041"/>
                    </a:lnTo>
                    <a:lnTo>
                      <a:pt x="1942" y="4050"/>
                    </a:lnTo>
                    <a:lnTo>
                      <a:pt x="1942" y="4059"/>
                    </a:lnTo>
                    <a:lnTo>
                      <a:pt x="1942" y="4062"/>
                    </a:lnTo>
                    <a:lnTo>
                      <a:pt x="1943" y="4065"/>
                    </a:lnTo>
                    <a:lnTo>
                      <a:pt x="1945" y="4067"/>
                    </a:lnTo>
                    <a:lnTo>
                      <a:pt x="1949" y="4070"/>
                    </a:lnTo>
                    <a:lnTo>
                      <a:pt x="1955" y="4074"/>
                    </a:lnTo>
                    <a:lnTo>
                      <a:pt x="1962" y="4076"/>
                    </a:lnTo>
                    <a:lnTo>
                      <a:pt x="1964" y="4075"/>
                    </a:lnTo>
                    <a:lnTo>
                      <a:pt x="1966" y="4072"/>
                    </a:lnTo>
                    <a:lnTo>
                      <a:pt x="1969" y="4067"/>
                    </a:lnTo>
                    <a:lnTo>
                      <a:pt x="1973" y="4062"/>
                    </a:lnTo>
                    <a:lnTo>
                      <a:pt x="1976" y="4055"/>
                    </a:lnTo>
                    <a:lnTo>
                      <a:pt x="1979" y="4050"/>
                    </a:lnTo>
                    <a:lnTo>
                      <a:pt x="1983" y="4047"/>
                    </a:lnTo>
                    <a:lnTo>
                      <a:pt x="1988" y="4044"/>
                    </a:lnTo>
                    <a:lnTo>
                      <a:pt x="1990" y="4051"/>
                    </a:lnTo>
                    <a:lnTo>
                      <a:pt x="1993" y="4057"/>
                    </a:lnTo>
                    <a:lnTo>
                      <a:pt x="1997" y="4063"/>
                    </a:lnTo>
                    <a:lnTo>
                      <a:pt x="2003" y="4068"/>
                    </a:lnTo>
                    <a:lnTo>
                      <a:pt x="2009" y="4074"/>
                    </a:lnTo>
                    <a:lnTo>
                      <a:pt x="2016" y="4078"/>
                    </a:lnTo>
                    <a:lnTo>
                      <a:pt x="2023" y="4082"/>
                    </a:lnTo>
                    <a:lnTo>
                      <a:pt x="2031" y="4087"/>
                    </a:lnTo>
                    <a:lnTo>
                      <a:pt x="2046" y="4093"/>
                    </a:lnTo>
                    <a:lnTo>
                      <a:pt x="2062" y="4099"/>
                    </a:lnTo>
                    <a:lnTo>
                      <a:pt x="2078" y="4102"/>
                    </a:lnTo>
                    <a:lnTo>
                      <a:pt x="2092" y="4104"/>
                    </a:lnTo>
                    <a:lnTo>
                      <a:pt x="2099" y="4105"/>
                    </a:lnTo>
                    <a:lnTo>
                      <a:pt x="2107" y="4104"/>
                    </a:lnTo>
                    <a:lnTo>
                      <a:pt x="2113" y="4102"/>
                    </a:lnTo>
                    <a:lnTo>
                      <a:pt x="2120" y="4100"/>
                    </a:lnTo>
                    <a:lnTo>
                      <a:pt x="2125" y="4095"/>
                    </a:lnTo>
                    <a:lnTo>
                      <a:pt x="2131" y="4091"/>
                    </a:lnTo>
                    <a:lnTo>
                      <a:pt x="2135" y="4087"/>
                    </a:lnTo>
                    <a:lnTo>
                      <a:pt x="2140" y="4080"/>
                    </a:lnTo>
                    <a:lnTo>
                      <a:pt x="2158" y="4053"/>
                    </a:lnTo>
                    <a:lnTo>
                      <a:pt x="2178" y="4024"/>
                    </a:lnTo>
                    <a:lnTo>
                      <a:pt x="2199" y="4000"/>
                    </a:lnTo>
                    <a:lnTo>
                      <a:pt x="2221" y="3974"/>
                    </a:lnTo>
                    <a:lnTo>
                      <a:pt x="2242" y="3949"/>
                    </a:lnTo>
                    <a:lnTo>
                      <a:pt x="2264" y="3922"/>
                    </a:lnTo>
                    <a:lnTo>
                      <a:pt x="2285" y="3895"/>
                    </a:lnTo>
                    <a:lnTo>
                      <a:pt x="2304" y="3866"/>
                    </a:lnTo>
                    <a:lnTo>
                      <a:pt x="2313" y="3852"/>
                    </a:lnTo>
                    <a:lnTo>
                      <a:pt x="2321" y="3838"/>
                    </a:lnTo>
                    <a:lnTo>
                      <a:pt x="2329" y="3824"/>
                    </a:lnTo>
                    <a:lnTo>
                      <a:pt x="2336" y="3810"/>
                    </a:lnTo>
                    <a:lnTo>
                      <a:pt x="2340" y="3798"/>
                    </a:lnTo>
                    <a:lnTo>
                      <a:pt x="2342" y="3784"/>
                    </a:lnTo>
                    <a:lnTo>
                      <a:pt x="2343" y="3770"/>
                    </a:lnTo>
                    <a:lnTo>
                      <a:pt x="2343" y="3755"/>
                    </a:lnTo>
                    <a:lnTo>
                      <a:pt x="2344" y="3740"/>
                    </a:lnTo>
                    <a:lnTo>
                      <a:pt x="2345" y="3725"/>
                    </a:lnTo>
                    <a:lnTo>
                      <a:pt x="2347" y="3711"/>
                    </a:lnTo>
                    <a:lnTo>
                      <a:pt x="2351" y="3698"/>
                    </a:lnTo>
                    <a:lnTo>
                      <a:pt x="2355" y="3685"/>
                    </a:lnTo>
                    <a:lnTo>
                      <a:pt x="2363" y="3672"/>
                    </a:lnTo>
                    <a:lnTo>
                      <a:pt x="2372" y="3658"/>
                    </a:lnTo>
                    <a:lnTo>
                      <a:pt x="2383" y="3643"/>
                    </a:lnTo>
                    <a:lnTo>
                      <a:pt x="2406" y="3616"/>
                    </a:lnTo>
                    <a:lnTo>
                      <a:pt x="2425" y="3594"/>
                    </a:lnTo>
                    <a:lnTo>
                      <a:pt x="2445" y="3587"/>
                    </a:lnTo>
                    <a:lnTo>
                      <a:pt x="2463" y="3577"/>
                    </a:lnTo>
                    <a:lnTo>
                      <a:pt x="2482" y="3566"/>
                    </a:lnTo>
                    <a:lnTo>
                      <a:pt x="2499" y="3554"/>
                    </a:lnTo>
                    <a:lnTo>
                      <a:pt x="2517" y="3542"/>
                    </a:lnTo>
                    <a:lnTo>
                      <a:pt x="2533" y="3530"/>
                    </a:lnTo>
                    <a:lnTo>
                      <a:pt x="2549" y="3517"/>
                    </a:lnTo>
                    <a:lnTo>
                      <a:pt x="2565" y="3503"/>
                    </a:lnTo>
                    <a:lnTo>
                      <a:pt x="2597" y="3474"/>
                    </a:lnTo>
                    <a:lnTo>
                      <a:pt x="2629" y="3446"/>
                    </a:lnTo>
                    <a:lnTo>
                      <a:pt x="2661" y="3418"/>
                    </a:lnTo>
                    <a:lnTo>
                      <a:pt x="2693" y="3393"/>
                    </a:lnTo>
                    <a:lnTo>
                      <a:pt x="2716" y="3378"/>
                    </a:lnTo>
                    <a:lnTo>
                      <a:pt x="2740" y="3364"/>
                    </a:lnTo>
                    <a:lnTo>
                      <a:pt x="2765" y="3351"/>
                    </a:lnTo>
                    <a:lnTo>
                      <a:pt x="2791" y="3339"/>
                    </a:lnTo>
                    <a:lnTo>
                      <a:pt x="2844" y="3317"/>
                    </a:lnTo>
                    <a:lnTo>
                      <a:pt x="2899" y="3294"/>
                    </a:lnTo>
                    <a:lnTo>
                      <a:pt x="2926" y="3282"/>
                    </a:lnTo>
                    <a:lnTo>
                      <a:pt x="2952" y="3269"/>
                    </a:lnTo>
                    <a:lnTo>
                      <a:pt x="2978" y="3256"/>
                    </a:lnTo>
                    <a:lnTo>
                      <a:pt x="3002" y="3241"/>
                    </a:lnTo>
                    <a:lnTo>
                      <a:pt x="3026" y="3226"/>
                    </a:lnTo>
                    <a:lnTo>
                      <a:pt x="3048" y="3208"/>
                    </a:lnTo>
                    <a:lnTo>
                      <a:pt x="3057" y="3199"/>
                    </a:lnTo>
                    <a:lnTo>
                      <a:pt x="3068" y="3189"/>
                    </a:lnTo>
                    <a:lnTo>
                      <a:pt x="3077" y="3179"/>
                    </a:lnTo>
                    <a:lnTo>
                      <a:pt x="3085" y="3168"/>
                    </a:lnTo>
                    <a:lnTo>
                      <a:pt x="3107" y="3140"/>
                    </a:lnTo>
                    <a:lnTo>
                      <a:pt x="3129" y="3114"/>
                    </a:lnTo>
                    <a:lnTo>
                      <a:pt x="3150" y="3090"/>
                    </a:lnTo>
                    <a:lnTo>
                      <a:pt x="3172" y="3068"/>
                    </a:lnTo>
                    <a:lnTo>
                      <a:pt x="3194" y="3048"/>
                    </a:lnTo>
                    <a:lnTo>
                      <a:pt x="3216" y="3029"/>
                    </a:lnTo>
                    <a:lnTo>
                      <a:pt x="3238" y="3012"/>
                    </a:lnTo>
                    <a:lnTo>
                      <a:pt x="3261" y="2996"/>
                    </a:lnTo>
                    <a:lnTo>
                      <a:pt x="3285" y="2981"/>
                    </a:lnTo>
                    <a:lnTo>
                      <a:pt x="3310" y="2967"/>
                    </a:lnTo>
                    <a:lnTo>
                      <a:pt x="3336" y="2954"/>
                    </a:lnTo>
                    <a:lnTo>
                      <a:pt x="3363" y="2942"/>
                    </a:lnTo>
                    <a:lnTo>
                      <a:pt x="3391" y="2930"/>
                    </a:lnTo>
                    <a:lnTo>
                      <a:pt x="3421" y="2919"/>
                    </a:lnTo>
                    <a:lnTo>
                      <a:pt x="3453" y="2909"/>
                    </a:lnTo>
                    <a:lnTo>
                      <a:pt x="3486" y="2899"/>
                    </a:lnTo>
                    <a:lnTo>
                      <a:pt x="3523" y="2888"/>
                    </a:lnTo>
                    <a:lnTo>
                      <a:pt x="3557" y="2878"/>
                    </a:lnTo>
                    <a:lnTo>
                      <a:pt x="3573" y="2875"/>
                    </a:lnTo>
                    <a:lnTo>
                      <a:pt x="3590" y="2872"/>
                    </a:lnTo>
                    <a:lnTo>
                      <a:pt x="3609" y="2870"/>
                    </a:lnTo>
                    <a:lnTo>
                      <a:pt x="3628" y="2869"/>
                    </a:lnTo>
                    <a:lnTo>
                      <a:pt x="3659" y="2867"/>
                    </a:lnTo>
                    <a:lnTo>
                      <a:pt x="3686" y="2865"/>
                    </a:lnTo>
                    <a:lnTo>
                      <a:pt x="3712" y="2862"/>
                    </a:lnTo>
                    <a:lnTo>
                      <a:pt x="3736" y="2856"/>
                    </a:lnTo>
                    <a:lnTo>
                      <a:pt x="3761" y="2849"/>
                    </a:lnTo>
                    <a:lnTo>
                      <a:pt x="3786" y="2839"/>
                    </a:lnTo>
                    <a:lnTo>
                      <a:pt x="3812" y="2829"/>
                    </a:lnTo>
                    <a:lnTo>
                      <a:pt x="3840" y="2816"/>
                    </a:lnTo>
                    <a:lnTo>
                      <a:pt x="3858" y="2808"/>
                    </a:lnTo>
                    <a:lnTo>
                      <a:pt x="3884" y="2796"/>
                    </a:lnTo>
                    <a:lnTo>
                      <a:pt x="3913" y="2783"/>
                    </a:lnTo>
                    <a:lnTo>
                      <a:pt x="3942" y="2767"/>
                    </a:lnTo>
                    <a:lnTo>
                      <a:pt x="3955" y="2759"/>
                    </a:lnTo>
                    <a:lnTo>
                      <a:pt x="3965" y="2751"/>
                    </a:lnTo>
                    <a:lnTo>
                      <a:pt x="3974" y="2742"/>
                    </a:lnTo>
                    <a:lnTo>
                      <a:pt x="3981" y="2734"/>
                    </a:lnTo>
                    <a:lnTo>
                      <a:pt x="3983" y="2729"/>
                    </a:lnTo>
                    <a:lnTo>
                      <a:pt x="3984" y="2725"/>
                    </a:lnTo>
                    <a:lnTo>
                      <a:pt x="3984" y="2721"/>
                    </a:lnTo>
                    <a:lnTo>
                      <a:pt x="3983" y="2716"/>
                    </a:lnTo>
                    <a:lnTo>
                      <a:pt x="3981" y="2712"/>
                    </a:lnTo>
                    <a:lnTo>
                      <a:pt x="3978" y="2708"/>
                    </a:lnTo>
                    <a:lnTo>
                      <a:pt x="3974" y="2703"/>
                    </a:lnTo>
                    <a:lnTo>
                      <a:pt x="3969" y="2699"/>
                    </a:lnTo>
                    <a:lnTo>
                      <a:pt x="3963" y="2695"/>
                    </a:lnTo>
                    <a:lnTo>
                      <a:pt x="3960" y="2688"/>
                    </a:lnTo>
                    <a:lnTo>
                      <a:pt x="3957" y="2680"/>
                    </a:lnTo>
                    <a:lnTo>
                      <a:pt x="3954" y="2671"/>
                    </a:lnTo>
                    <a:lnTo>
                      <a:pt x="3952" y="2661"/>
                    </a:lnTo>
                    <a:lnTo>
                      <a:pt x="3951" y="2650"/>
                    </a:lnTo>
                    <a:lnTo>
                      <a:pt x="3950" y="2639"/>
                    </a:lnTo>
                    <a:lnTo>
                      <a:pt x="3951" y="2628"/>
                    </a:lnTo>
                    <a:lnTo>
                      <a:pt x="3952" y="2617"/>
                    </a:lnTo>
                    <a:lnTo>
                      <a:pt x="3956" y="2606"/>
                    </a:lnTo>
                    <a:lnTo>
                      <a:pt x="3958" y="2596"/>
                    </a:lnTo>
                    <a:lnTo>
                      <a:pt x="3962" y="2588"/>
                    </a:lnTo>
                    <a:lnTo>
                      <a:pt x="3968" y="2581"/>
                    </a:lnTo>
                    <a:lnTo>
                      <a:pt x="3973" y="2576"/>
                    </a:lnTo>
                    <a:lnTo>
                      <a:pt x="3976" y="2574"/>
                    </a:lnTo>
                    <a:lnTo>
                      <a:pt x="3980" y="2573"/>
                    </a:lnTo>
                    <a:lnTo>
                      <a:pt x="3983" y="2572"/>
                    </a:lnTo>
                    <a:lnTo>
                      <a:pt x="3987" y="2570"/>
                    </a:lnTo>
                    <a:lnTo>
                      <a:pt x="3988" y="2569"/>
                    </a:lnTo>
                    <a:lnTo>
                      <a:pt x="3989" y="2567"/>
                    </a:lnTo>
                    <a:lnTo>
                      <a:pt x="3994" y="2567"/>
                    </a:lnTo>
                    <a:lnTo>
                      <a:pt x="3998" y="2565"/>
                    </a:lnTo>
                    <a:lnTo>
                      <a:pt x="4001" y="2563"/>
                    </a:lnTo>
                    <a:lnTo>
                      <a:pt x="4004" y="2560"/>
                    </a:lnTo>
                    <a:lnTo>
                      <a:pt x="4008" y="2552"/>
                    </a:lnTo>
                    <a:lnTo>
                      <a:pt x="4010" y="2542"/>
                    </a:lnTo>
                    <a:lnTo>
                      <a:pt x="4012" y="2532"/>
                    </a:lnTo>
                    <a:lnTo>
                      <a:pt x="4013" y="2523"/>
                    </a:lnTo>
                    <a:lnTo>
                      <a:pt x="4015" y="2519"/>
                    </a:lnTo>
                    <a:lnTo>
                      <a:pt x="4016" y="2515"/>
                    </a:lnTo>
                    <a:lnTo>
                      <a:pt x="4019" y="2512"/>
                    </a:lnTo>
                    <a:lnTo>
                      <a:pt x="4022" y="2510"/>
                    </a:lnTo>
                    <a:lnTo>
                      <a:pt x="4032" y="2506"/>
                    </a:lnTo>
                    <a:lnTo>
                      <a:pt x="4040" y="2501"/>
                    </a:lnTo>
                    <a:lnTo>
                      <a:pt x="4047" y="2496"/>
                    </a:lnTo>
                    <a:lnTo>
                      <a:pt x="4052" y="2492"/>
                    </a:lnTo>
                    <a:lnTo>
                      <a:pt x="4055" y="2487"/>
                    </a:lnTo>
                    <a:lnTo>
                      <a:pt x="4058" y="2482"/>
                    </a:lnTo>
                    <a:lnTo>
                      <a:pt x="4059" y="2478"/>
                    </a:lnTo>
                    <a:lnTo>
                      <a:pt x="4060" y="2472"/>
                    </a:lnTo>
                    <a:lnTo>
                      <a:pt x="4060" y="2461"/>
                    </a:lnTo>
                    <a:lnTo>
                      <a:pt x="4059" y="2448"/>
                    </a:lnTo>
                    <a:lnTo>
                      <a:pt x="4059" y="2441"/>
                    </a:lnTo>
                    <a:lnTo>
                      <a:pt x="4059" y="2432"/>
                    </a:lnTo>
                    <a:lnTo>
                      <a:pt x="4060" y="2424"/>
                    </a:lnTo>
                    <a:lnTo>
                      <a:pt x="4061" y="2414"/>
                    </a:lnTo>
                    <a:lnTo>
                      <a:pt x="4063" y="2404"/>
                    </a:lnTo>
                    <a:lnTo>
                      <a:pt x="4064" y="2390"/>
                    </a:lnTo>
                    <a:lnTo>
                      <a:pt x="4064" y="2383"/>
                    </a:lnTo>
                    <a:lnTo>
                      <a:pt x="4063" y="2377"/>
                    </a:lnTo>
                    <a:lnTo>
                      <a:pt x="4062" y="2374"/>
                    </a:lnTo>
                    <a:lnTo>
                      <a:pt x="4061" y="2373"/>
                    </a:lnTo>
                    <a:lnTo>
                      <a:pt x="4059" y="2371"/>
                    </a:lnTo>
                    <a:lnTo>
                      <a:pt x="4056" y="2371"/>
                    </a:lnTo>
                    <a:lnTo>
                      <a:pt x="4035" y="2370"/>
                    </a:lnTo>
                    <a:lnTo>
                      <a:pt x="4027" y="2367"/>
                    </a:lnTo>
                    <a:lnTo>
                      <a:pt x="4021" y="2361"/>
                    </a:lnTo>
                    <a:lnTo>
                      <a:pt x="4001" y="2345"/>
                    </a:lnTo>
                    <a:lnTo>
                      <a:pt x="3999" y="2334"/>
                    </a:lnTo>
                    <a:lnTo>
                      <a:pt x="3994" y="2319"/>
                    </a:lnTo>
                    <a:lnTo>
                      <a:pt x="3990" y="2311"/>
                    </a:lnTo>
                    <a:lnTo>
                      <a:pt x="3986" y="2305"/>
                    </a:lnTo>
                    <a:lnTo>
                      <a:pt x="3984" y="2303"/>
                    </a:lnTo>
                    <a:lnTo>
                      <a:pt x="3982" y="2300"/>
                    </a:lnTo>
                    <a:lnTo>
                      <a:pt x="3980" y="2300"/>
                    </a:lnTo>
                    <a:lnTo>
                      <a:pt x="3977" y="2300"/>
                    </a:lnTo>
                    <a:lnTo>
                      <a:pt x="3970" y="2308"/>
                    </a:lnTo>
                    <a:lnTo>
                      <a:pt x="3958" y="2318"/>
                    </a:lnTo>
                    <a:lnTo>
                      <a:pt x="3955" y="2320"/>
                    </a:lnTo>
                    <a:lnTo>
                      <a:pt x="3952" y="2321"/>
                    </a:lnTo>
                    <a:lnTo>
                      <a:pt x="3949" y="2321"/>
                    </a:lnTo>
                    <a:lnTo>
                      <a:pt x="3947" y="2321"/>
                    </a:lnTo>
                    <a:lnTo>
                      <a:pt x="3945" y="2319"/>
                    </a:lnTo>
                    <a:lnTo>
                      <a:pt x="3943" y="2316"/>
                    </a:lnTo>
                    <a:lnTo>
                      <a:pt x="3942" y="2310"/>
                    </a:lnTo>
                    <a:lnTo>
                      <a:pt x="3942" y="2304"/>
                    </a:lnTo>
                    <a:lnTo>
                      <a:pt x="3941" y="2295"/>
                    </a:lnTo>
                    <a:lnTo>
                      <a:pt x="3939" y="2286"/>
                    </a:lnTo>
                    <a:lnTo>
                      <a:pt x="3938" y="2279"/>
                    </a:lnTo>
                    <a:lnTo>
                      <a:pt x="3936" y="2271"/>
                    </a:lnTo>
                    <a:lnTo>
                      <a:pt x="3934" y="2265"/>
                    </a:lnTo>
                    <a:lnTo>
                      <a:pt x="3930" y="2259"/>
                    </a:lnTo>
                    <a:lnTo>
                      <a:pt x="3924" y="2254"/>
                    </a:lnTo>
                    <a:lnTo>
                      <a:pt x="3917" y="2249"/>
                    </a:lnTo>
                    <a:lnTo>
                      <a:pt x="3903" y="2265"/>
                    </a:lnTo>
                    <a:lnTo>
                      <a:pt x="3890" y="2284"/>
                    </a:lnTo>
                    <a:lnTo>
                      <a:pt x="3886" y="2288"/>
                    </a:lnTo>
                    <a:lnTo>
                      <a:pt x="3882" y="2291"/>
                    </a:lnTo>
                    <a:lnTo>
                      <a:pt x="3878" y="2294"/>
                    </a:lnTo>
                    <a:lnTo>
                      <a:pt x="3873" y="2295"/>
                    </a:lnTo>
                    <a:lnTo>
                      <a:pt x="3869" y="2295"/>
                    </a:lnTo>
                    <a:lnTo>
                      <a:pt x="3864" y="2294"/>
                    </a:lnTo>
                    <a:lnTo>
                      <a:pt x="3857" y="2292"/>
                    </a:lnTo>
                    <a:lnTo>
                      <a:pt x="3851" y="2288"/>
                    </a:lnTo>
                    <a:lnTo>
                      <a:pt x="3847" y="2284"/>
                    </a:lnTo>
                    <a:lnTo>
                      <a:pt x="3845" y="2281"/>
                    </a:lnTo>
                    <a:lnTo>
                      <a:pt x="3843" y="2276"/>
                    </a:lnTo>
                    <a:lnTo>
                      <a:pt x="3842" y="2270"/>
                    </a:lnTo>
                    <a:lnTo>
                      <a:pt x="3841" y="2257"/>
                    </a:lnTo>
                    <a:lnTo>
                      <a:pt x="3842" y="2244"/>
                    </a:lnTo>
                    <a:lnTo>
                      <a:pt x="3844" y="2217"/>
                    </a:lnTo>
                    <a:lnTo>
                      <a:pt x="3846" y="2196"/>
                    </a:lnTo>
                    <a:lnTo>
                      <a:pt x="3842" y="2190"/>
                    </a:lnTo>
                    <a:lnTo>
                      <a:pt x="3834" y="2180"/>
                    </a:lnTo>
                    <a:lnTo>
                      <a:pt x="3827" y="2168"/>
                    </a:lnTo>
                    <a:lnTo>
                      <a:pt x="3823" y="2161"/>
                    </a:lnTo>
                    <a:lnTo>
                      <a:pt x="3823" y="2157"/>
                    </a:lnTo>
                    <a:lnTo>
                      <a:pt x="3825" y="2154"/>
                    </a:lnTo>
                    <a:lnTo>
                      <a:pt x="3827" y="2151"/>
                    </a:lnTo>
                    <a:lnTo>
                      <a:pt x="3829" y="2148"/>
                    </a:lnTo>
                    <a:lnTo>
                      <a:pt x="3835" y="2145"/>
                    </a:lnTo>
                    <a:lnTo>
                      <a:pt x="3843" y="2141"/>
                    </a:lnTo>
                    <a:lnTo>
                      <a:pt x="3851" y="2137"/>
                    </a:lnTo>
                    <a:lnTo>
                      <a:pt x="3858" y="2134"/>
                    </a:lnTo>
                    <a:lnTo>
                      <a:pt x="3861" y="2132"/>
                    </a:lnTo>
                    <a:lnTo>
                      <a:pt x="3864" y="2129"/>
                    </a:lnTo>
                    <a:lnTo>
                      <a:pt x="3866" y="2127"/>
                    </a:lnTo>
                    <a:lnTo>
                      <a:pt x="3867" y="2122"/>
                    </a:lnTo>
                    <a:lnTo>
                      <a:pt x="3859" y="2114"/>
                    </a:lnTo>
                    <a:lnTo>
                      <a:pt x="3853" y="2102"/>
                    </a:lnTo>
                    <a:lnTo>
                      <a:pt x="3849" y="2095"/>
                    </a:lnTo>
                    <a:lnTo>
                      <a:pt x="3846" y="2089"/>
                    </a:lnTo>
                    <a:lnTo>
                      <a:pt x="3845" y="2081"/>
                    </a:lnTo>
                    <a:lnTo>
                      <a:pt x="3843" y="2075"/>
                    </a:lnTo>
                    <a:lnTo>
                      <a:pt x="3843" y="2068"/>
                    </a:lnTo>
                    <a:lnTo>
                      <a:pt x="3843" y="2062"/>
                    </a:lnTo>
                    <a:lnTo>
                      <a:pt x="3844" y="2055"/>
                    </a:lnTo>
                    <a:lnTo>
                      <a:pt x="3846" y="2050"/>
                    </a:lnTo>
                    <a:lnTo>
                      <a:pt x="3848" y="2045"/>
                    </a:lnTo>
                    <a:lnTo>
                      <a:pt x="3853" y="2040"/>
                    </a:lnTo>
                    <a:lnTo>
                      <a:pt x="3859" y="2037"/>
                    </a:lnTo>
                    <a:lnTo>
                      <a:pt x="3866" y="2035"/>
                    </a:lnTo>
                    <a:lnTo>
                      <a:pt x="3875" y="2034"/>
                    </a:lnTo>
                    <a:lnTo>
                      <a:pt x="3885" y="2033"/>
                    </a:lnTo>
                    <a:lnTo>
                      <a:pt x="3890" y="2033"/>
                    </a:lnTo>
                    <a:lnTo>
                      <a:pt x="3894" y="2032"/>
                    </a:lnTo>
                    <a:lnTo>
                      <a:pt x="3899" y="2030"/>
                    </a:lnTo>
                    <a:lnTo>
                      <a:pt x="3904" y="2027"/>
                    </a:lnTo>
                    <a:lnTo>
                      <a:pt x="3913" y="2019"/>
                    </a:lnTo>
                    <a:lnTo>
                      <a:pt x="3924" y="2007"/>
                    </a:lnTo>
                    <a:lnTo>
                      <a:pt x="3933" y="1994"/>
                    </a:lnTo>
                    <a:lnTo>
                      <a:pt x="3941" y="1983"/>
                    </a:lnTo>
                    <a:lnTo>
                      <a:pt x="3941" y="1726"/>
                    </a:lnTo>
                    <a:lnTo>
                      <a:pt x="4470" y="1602"/>
                    </a:lnTo>
                    <a:lnTo>
                      <a:pt x="4470" y="1602"/>
                    </a:lnTo>
                    <a:lnTo>
                      <a:pt x="4448" y="1586"/>
                    </a:lnTo>
                    <a:lnTo>
                      <a:pt x="4406" y="1557"/>
                    </a:lnTo>
                    <a:lnTo>
                      <a:pt x="4365" y="1532"/>
                    </a:lnTo>
                    <a:lnTo>
                      <a:pt x="4344" y="1519"/>
                    </a:lnTo>
                    <a:lnTo>
                      <a:pt x="4345" y="1512"/>
                    </a:lnTo>
                    <a:lnTo>
                      <a:pt x="4347" y="1507"/>
                    </a:lnTo>
                    <a:lnTo>
                      <a:pt x="4350" y="1502"/>
                    </a:lnTo>
                    <a:lnTo>
                      <a:pt x="4356" y="1499"/>
                    </a:lnTo>
                    <a:lnTo>
                      <a:pt x="4362" y="1496"/>
                    </a:lnTo>
                    <a:lnTo>
                      <a:pt x="4369" y="1494"/>
                    </a:lnTo>
                    <a:lnTo>
                      <a:pt x="4376" y="1492"/>
                    </a:lnTo>
                    <a:lnTo>
                      <a:pt x="4384" y="1489"/>
                    </a:lnTo>
                    <a:lnTo>
                      <a:pt x="4400" y="1487"/>
                    </a:lnTo>
                    <a:lnTo>
                      <a:pt x="4416" y="1485"/>
                    </a:lnTo>
                    <a:lnTo>
                      <a:pt x="4429" y="1483"/>
                    </a:lnTo>
                    <a:lnTo>
                      <a:pt x="4439" y="1480"/>
                    </a:lnTo>
                    <a:lnTo>
                      <a:pt x="4449" y="1473"/>
                    </a:lnTo>
                    <a:lnTo>
                      <a:pt x="4456" y="1468"/>
                    </a:lnTo>
                    <a:lnTo>
                      <a:pt x="4463" y="1462"/>
                    </a:lnTo>
                    <a:lnTo>
                      <a:pt x="4467" y="1456"/>
                    </a:lnTo>
                    <a:lnTo>
                      <a:pt x="4472" y="1451"/>
                    </a:lnTo>
                    <a:lnTo>
                      <a:pt x="4474" y="1444"/>
                    </a:lnTo>
                    <a:lnTo>
                      <a:pt x="4476" y="1438"/>
                    </a:lnTo>
                    <a:lnTo>
                      <a:pt x="4476" y="1432"/>
                    </a:lnTo>
                    <a:lnTo>
                      <a:pt x="4474" y="1426"/>
                    </a:lnTo>
                    <a:lnTo>
                      <a:pt x="4472" y="1420"/>
                    </a:lnTo>
                    <a:lnTo>
                      <a:pt x="4468" y="1415"/>
                    </a:lnTo>
                    <a:lnTo>
                      <a:pt x="4463" y="1408"/>
                    </a:lnTo>
                    <a:lnTo>
                      <a:pt x="4456" y="1403"/>
                    </a:lnTo>
                    <a:lnTo>
                      <a:pt x="4449" y="1398"/>
                    </a:lnTo>
                    <a:lnTo>
                      <a:pt x="4440" y="1392"/>
                    </a:lnTo>
                    <a:lnTo>
                      <a:pt x="4429" y="1387"/>
                    </a:lnTo>
                    <a:lnTo>
                      <a:pt x="4416" y="1380"/>
                    </a:lnTo>
                    <a:lnTo>
                      <a:pt x="4404" y="1374"/>
                    </a:lnTo>
                    <a:lnTo>
                      <a:pt x="4392" y="1367"/>
                    </a:lnTo>
                    <a:lnTo>
                      <a:pt x="4383" y="1360"/>
                    </a:lnTo>
                    <a:lnTo>
                      <a:pt x="4373" y="1352"/>
                    </a:lnTo>
                    <a:lnTo>
                      <a:pt x="4363" y="1344"/>
                    </a:lnTo>
                    <a:lnTo>
                      <a:pt x="4354" y="1333"/>
                    </a:lnTo>
                    <a:lnTo>
                      <a:pt x="4346" y="1321"/>
                    </a:lnTo>
                    <a:lnTo>
                      <a:pt x="4343" y="1316"/>
                    </a:lnTo>
                    <a:lnTo>
                      <a:pt x="4339" y="1309"/>
                    </a:lnTo>
                    <a:lnTo>
                      <a:pt x="4337" y="1301"/>
                    </a:lnTo>
                    <a:lnTo>
                      <a:pt x="4336" y="1294"/>
                    </a:lnTo>
                    <a:lnTo>
                      <a:pt x="4334" y="1279"/>
                    </a:lnTo>
                    <a:lnTo>
                      <a:pt x="4333" y="1262"/>
                    </a:lnTo>
                    <a:lnTo>
                      <a:pt x="4332" y="1244"/>
                    </a:lnTo>
                    <a:lnTo>
                      <a:pt x="4332" y="1227"/>
                    </a:lnTo>
                    <a:lnTo>
                      <a:pt x="4330" y="1211"/>
                    </a:lnTo>
                    <a:lnTo>
                      <a:pt x="4327" y="1197"/>
                    </a:lnTo>
                    <a:lnTo>
                      <a:pt x="4332" y="1176"/>
                    </a:lnTo>
                    <a:lnTo>
                      <a:pt x="4339" y="1152"/>
                    </a:lnTo>
                    <a:lnTo>
                      <a:pt x="4344" y="1139"/>
                    </a:lnTo>
                    <a:lnTo>
                      <a:pt x="4349" y="1129"/>
                    </a:lnTo>
                    <a:lnTo>
                      <a:pt x="4353" y="1118"/>
                    </a:lnTo>
                    <a:lnTo>
                      <a:pt x="4359" y="1110"/>
                    </a:lnTo>
                    <a:lnTo>
                      <a:pt x="4373" y="1096"/>
                    </a:lnTo>
                    <a:lnTo>
                      <a:pt x="4393" y="1076"/>
                    </a:lnTo>
                    <a:lnTo>
                      <a:pt x="4402" y="1066"/>
                    </a:lnTo>
                    <a:lnTo>
                      <a:pt x="4410" y="1056"/>
                    </a:lnTo>
                    <a:lnTo>
                      <a:pt x="4413" y="1052"/>
                    </a:lnTo>
                    <a:lnTo>
                      <a:pt x="4414" y="1048"/>
                    </a:lnTo>
                    <a:lnTo>
                      <a:pt x="4415" y="1044"/>
                    </a:lnTo>
                    <a:lnTo>
                      <a:pt x="4414" y="1041"/>
                    </a:lnTo>
                    <a:lnTo>
                      <a:pt x="4412" y="1039"/>
                    </a:lnTo>
                    <a:lnTo>
                      <a:pt x="4410" y="1037"/>
                    </a:lnTo>
                    <a:lnTo>
                      <a:pt x="4406" y="1036"/>
                    </a:lnTo>
                    <a:lnTo>
                      <a:pt x="4402" y="1034"/>
                    </a:lnTo>
                    <a:lnTo>
                      <a:pt x="4392" y="1034"/>
                    </a:lnTo>
                    <a:lnTo>
                      <a:pt x="4380" y="1034"/>
                    </a:lnTo>
                    <a:lnTo>
                      <a:pt x="4366" y="1036"/>
                    </a:lnTo>
                    <a:lnTo>
                      <a:pt x="4351" y="1038"/>
                    </a:lnTo>
                    <a:lnTo>
                      <a:pt x="4336" y="1041"/>
                    </a:lnTo>
                    <a:lnTo>
                      <a:pt x="4319" y="1046"/>
                    </a:lnTo>
                    <a:lnTo>
                      <a:pt x="4286" y="1055"/>
                    </a:lnTo>
                    <a:lnTo>
                      <a:pt x="4255" y="1065"/>
                    </a:lnTo>
                    <a:lnTo>
                      <a:pt x="4229" y="1074"/>
                    </a:lnTo>
                    <a:lnTo>
                      <a:pt x="4211" y="1078"/>
                    </a:lnTo>
                    <a:lnTo>
                      <a:pt x="4201" y="1079"/>
                    </a:lnTo>
                    <a:lnTo>
                      <a:pt x="4185" y="1079"/>
                    </a:lnTo>
                    <a:lnTo>
                      <a:pt x="4177" y="1078"/>
                    </a:lnTo>
                    <a:lnTo>
                      <a:pt x="4171" y="1077"/>
                    </a:lnTo>
                    <a:lnTo>
                      <a:pt x="4168" y="1076"/>
                    </a:lnTo>
                    <a:lnTo>
                      <a:pt x="4167" y="1075"/>
                    </a:lnTo>
                    <a:lnTo>
                      <a:pt x="4166" y="1074"/>
                    </a:lnTo>
                    <a:lnTo>
                      <a:pt x="4166" y="1071"/>
                    </a:lnTo>
                    <a:lnTo>
                      <a:pt x="4151" y="1065"/>
                    </a:lnTo>
                    <a:lnTo>
                      <a:pt x="4139" y="1057"/>
                    </a:lnTo>
                    <a:lnTo>
                      <a:pt x="4129" y="1051"/>
                    </a:lnTo>
                    <a:lnTo>
                      <a:pt x="4120" y="1044"/>
                    </a:lnTo>
                    <a:lnTo>
                      <a:pt x="4113" y="1039"/>
                    </a:lnTo>
                    <a:lnTo>
                      <a:pt x="4105" y="1034"/>
                    </a:lnTo>
                    <a:lnTo>
                      <a:pt x="4100" y="1029"/>
                    </a:lnTo>
                    <a:lnTo>
                      <a:pt x="4093" y="1026"/>
                    </a:lnTo>
                    <a:lnTo>
                      <a:pt x="4087" y="1025"/>
                    </a:lnTo>
                    <a:lnTo>
                      <a:pt x="4080" y="1025"/>
                    </a:lnTo>
                    <a:lnTo>
                      <a:pt x="4072" y="1027"/>
                    </a:lnTo>
                    <a:lnTo>
                      <a:pt x="4063" y="1031"/>
                    </a:lnTo>
                    <a:lnTo>
                      <a:pt x="4051" y="1038"/>
                    </a:lnTo>
                    <a:lnTo>
                      <a:pt x="4038" y="1047"/>
                    </a:lnTo>
                    <a:lnTo>
                      <a:pt x="4023" y="1058"/>
                    </a:lnTo>
                    <a:lnTo>
                      <a:pt x="4004" y="1073"/>
                    </a:lnTo>
                    <a:lnTo>
                      <a:pt x="3988" y="1084"/>
                    </a:lnTo>
                    <a:lnTo>
                      <a:pt x="3975" y="1093"/>
                    </a:lnTo>
                    <a:lnTo>
                      <a:pt x="3970" y="1095"/>
                    </a:lnTo>
                    <a:lnTo>
                      <a:pt x="3965" y="1097"/>
                    </a:lnTo>
                    <a:lnTo>
                      <a:pt x="3961" y="1098"/>
                    </a:lnTo>
                    <a:lnTo>
                      <a:pt x="3958" y="1098"/>
                    </a:lnTo>
                    <a:lnTo>
                      <a:pt x="3955" y="1098"/>
                    </a:lnTo>
                    <a:lnTo>
                      <a:pt x="3952" y="1096"/>
                    </a:lnTo>
                    <a:lnTo>
                      <a:pt x="3950" y="1095"/>
                    </a:lnTo>
                    <a:lnTo>
                      <a:pt x="3949" y="1092"/>
                    </a:lnTo>
                    <a:lnTo>
                      <a:pt x="3946" y="1087"/>
                    </a:lnTo>
                    <a:lnTo>
                      <a:pt x="3944" y="1078"/>
                    </a:lnTo>
                    <a:lnTo>
                      <a:pt x="3942" y="1060"/>
                    </a:lnTo>
                    <a:lnTo>
                      <a:pt x="3937" y="1038"/>
                    </a:lnTo>
                    <a:lnTo>
                      <a:pt x="3933" y="1028"/>
                    </a:lnTo>
                    <a:lnTo>
                      <a:pt x="3928" y="1020"/>
                    </a:lnTo>
                    <a:lnTo>
                      <a:pt x="3924" y="1015"/>
                    </a:lnTo>
                    <a:lnTo>
                      <a:pt x="3920" y="1011"/>
                    </a:lnTo>
                    <a:lnTo>
                      <a:pt x="3916" y="1008"/>
                    </a:lnTo>
                    <a:lnTo>
                      <a:pt x="3910" y="1006"/>
                    </a:lnTo>
                    <a:lnTo>
                      <a:pt x="3884" y="996"/>
                    </a:lnTo>
                    <a:lnTo>
                      <a:pt x="3867" y="990"/>
                    </a:lnTo>
                    <a:lnTo>
                      <a:pt x="3859" y="987"/>
                    </a:lnTo>
                    <a:lnTo>
                      <a:pt x="3853" y="982"/>
                    </a:lnTo>
                    <a:lnTo>
                      <a:pt x="3845" y="972"/>
                    </a:lnTo>
                    <a:lnTo>
                      <a:pt x="3838" y="958"/>
                    </a:lnTo>
                    <a:lnTo>
                      <a:pt x="3829" y="942"/>
                    </a:lnTo>
                    <a:lnTo>
                      <a:pt x="3823" y="923"/>
                    </a:lnTo>
                    <a:lnTo>
                      <a:pt x="3818" y="905"/>
                    </a:lnTo>
                    <a:lnTo>
                      <a:pt x="3814" y="887"/>
                    </a:lnTo>
                    <a:lnTo>
                      <a:pt x="3808" y="868"/>
                    </a:lnTo>
                    <a:lnTo>
                      <a:pt x="3804" y="850"/>
                    </a:lnTo>
                    <a:lnTo>
                      <a:pt x="3801" y="841"/>
                    </a:lnTo>
                    <a:lnTo>
                      <a:pt x="3796" y="833"/>
                    </a:lnTo>
                    <a:lnTo>
                      <a:pt x="3793" y="824"/>
                    </a:lnTo>
                    <a:lnTo>
                      <a:pt x="3788" y="817"/>
                    </a:lnTo>
                    <a:lnTo>
                      <a:pt x="3775" y="796"/>
                    </a:lnTo>
                    <a:lnTo>
                      <a:pt x="3760" y="778"/>
                    </a:lnTo>
                    <a:lnTo>
                      <a:pt x="3745" y="761"/>
                    </a:lnTo>
                    <a:lnTo>
                      <a:pt x="3730" y="747"/>
                    </a:lnTo>
                    <a:lnTo>
                      <a:pt x="3715" y="732"/>
                    </a:lnTo>
                    <a:lnTo>
                      <a:pt x="3700" y="717"/>
                    </a:lnTo>
                    <a:lnTo>
                      <a:pt x="3686" y="702"/>
                    </a:lnTo>
                    <a:lnTo>
                      <a:pt x="3672" y="685"/>
                    </a:lnTo>
                    <a:lnTo>
                      <a:pt x="3667" y="678"/>
                    </a:lnTo>
                    <a:lnTo>
                      <a:pt x="3665" y="673"/>
                    </a:lnTo>
                    <a:lnTo>
                      <a:pt x="3664" y="668"/>
                    </a:lnTo>
                    <a:lnTo>
                      <a:pt x="3664" y="663"/>
                    </a:lnTo>
                    <a:lnTo>
                      <a:pt x="3664" y="659"/>
                    </a:lnTo>
                    <a:lnTo>
                      <a:pt x="3666" y="656"/>
                    </a:lnTo>
                    <a:lnTo>
                      <a:pt x="3668" y="651"/>
                    </a:lnTo>
                    <a:lnTo>
                      <a:pt x="3671" y="648"/>
                    </a:lnTo>
                    <a:lnTo>
                      <a:pt x="3676" y="641"/>
                    </a:lnTo>
                    <a:lnTo>
                      <a:pt x="3681" y="632"/>
                    </a:lnTo>
                    <a:lnTo>
                      <a:pt x="3685" y="628"/>
                    </a:lnTo>
                    <a:lnTo>
                      <a:pt x="3686" y="623"/>
                    </a:lnTo>
                    <a:lnTo>
                      <a:pt x="3688" y="618"/>
                    </a:lnTo>
                    <a:lnTo>
                      <a:pt x="3688" y="612"/>
                    </a:lnTo>
                    <a:lnTo>
                      <a:pt x="3618" y="562"/>
                    </a:lnTo>
                    <a:lnTo>
                      <a:pt x="3618" y="562"/>
                    </a:lnTo>
                    <a:lnTo>
                      <a:pt x="3588" y="552"/>
                    </a:lnTo>
                    <a:lnTo>
                      <a:pt x="3584" y="550"/>
                    </a:lnTo>
                    <a:lnTo>
                      <a:pt x="3580" y="547"/>
                    </a:lnTo>
                    <a:lnTo>
                      <a:pt x="3577" y="543"/>
                    </a:lnTo>
                    <a:lnTo>
                      <a:pt x="3574" y="539"/>
                    </a:lnTo>
                    <a:lnTo>
                      <a:pt x="3571" y="529"/>
                    </a:lnTo>
                    <a:lnTo>
                      <a:pt x="3568" y="520"/>
                    </a:lnTo>
                    <a:lnTo>
                      <a:pt x="3566" y="510"/>
                    </a:lnTo>
                    <a:lnTo>
                      <a:pt x="3562" y="502"/>
                    </a:lnTo>
                    <a:lnTo>
                      <a:pt x="3559" y="499"/>
                    </a:lnTo>
                    <a:lnTo>
                      <a:pt x="3557" y="497"/>
                    </a:lnTo>
                    <a:lnTo>
                      <a:pt x="3554" y="495"/>
                    </a:lnTo>
                    <a:lnTo>
                      <a:pt x="3549" y="495"/>
                    </a:lnTo>
                    <a:lnTo>
                      <a:pt x="3545" y="495"/>
                    </a:lnTo>
                    <a:lnTo>
                      <a:pt x="3541" y="497"/>
                    </a:lnTo>
                    <a:lnTo>
                      <a:pt x="3536" y="501"/>
                    </a:lnTo>
                    <a:lnTo>
                      <a:pt x="3532" y="506"/>
                    </a:lnTo>
                    <a:lnTo>
                      <a:pt x="3524" y="517"/>
                    </a:lnTo>
                    <a:lnTo>
                      <a:pt x="3517" y="530"/>
                    </a:lnTo>
                    <a:lnTo>
                      <a:pt x="3509" y="545"/>
                    </a:lnTo>
                    <a:lnTo>
                      <a:pt x="3502" y="560"/>
                    </a:lnTo>
                    <a:lnTo>
                      <a:pt x="3497" y="565"/>
                    </a:lnTo>
                    <a:lnTo>
                      <a:pt x="3493" y="570"/>
                    </a:lnTo>
                    <a:lnTo>
                      <a:pt x="3488" y="575"/>
                    </a:lnTo>
                    <a:lnTo>
                      <a:pt x="3483" y="578"/>
                    </a:lnTo>
                    <a:lnTo>
                      <a:pt x="3477" y="581"/>
                    </a:lnTo>
                    <a:lnTo>
                      <a:pt x="3470" y="584"/>
                    </a:lnTo>
                    <a:lnTo>
                      <a:pt x="3465" y="585"/>
                    </a:lnTo>
                    <a:lnTo>
                      <a:pt x="3458" y="587"/>
                    </a:lnTo>
                    <a:lnTo>
                      <a:pt x="3446" y="588"/>
                    </a:lnTo>
                    <a:lnTo>
                      <a:pt x="3434" y="585"/>
                    </a:lnTo>
                    <a:lnTo>
                      <a:pt x="3424" y="582"/>
                    </a:lnTo>
                    <a:lnTo>
                      <a:pt x="3413" y="577"/>
                    </a:lnTo>
                    <a:lnTo>
                      <a:pt x="3402" y="570"/>
                    </a:lnTo>
                    <a:lnTo>
                      <a:pt x="3391" y="563"/>
                    </a:lnTo>
                    <a:lnTo>
                      <a:pt x="3381" y="553"/>
                    </a:lnTo>
                    <a:lnTo>
                      <a:pt x="3373" y="543"/>
                    </a:lnTo>
                    <a:lnTo>
                      <a:pt x="3364" y="534"/>
                    </a:lnTo>
                    <a:lnTo>
                      <a:pt x="3355" y="523"/>
                    </a:lnTo>
                    <a:lnTo>
                      <a:pt x="3340" y="501"/>
                    </a:lnTo>
                    <a:lnTo>
                      <a:pt x="3329" y="481"/>
                    </a:lnTo>
                    <a:lnTo>
                      <a:pt x="3320" y="464"/>
                    </a:lnTo>
                    <a:lnTo>
                      <a:pt x="3309" y="448"/>
                    </a:lnTo>
                    <a:lnTo>
                      <a:pt x="3297" y="432"/>
                    </a:lnTo>
                    <a:lnTo>
                      <a:pt x="3284" y="415"/>
                    </a:lnTo>
                    <a:lnTo>
                      <a:pt x="3257" y="383"/>
                    </a:lnTo>
                    <a:lnTo>
                      <a:pt x="3231" y="354"/>
                    </a:lnTo>
                    <a:lnTo>
                      <a:pt x="3127" y="234"/>
                    </a:lnTo>
                    <a:lnTo>
                      <a:pt x="3123" y="231"/>
                    </a:lnTo>
                    <a:lnTo>
                      <a:pt x="3119" y="229"/>
                    </a:lnTo>
                    <a:lnTo>
                      <a:pt x="3115" y="227"/>
                    </a:lnTo>
                    <a:lnTo>
                      <a:pt x="3110" y="227"/>
                    </a:lnTo>
                    <a:lnTo>
                      <a:pt x="3100" y="228"/>
                    </a:lnTo>
                    <a:lnTo>
                      <a:pt x="3090" y="232"/>
                    </a:lnTo>
                    <a:lnTo>
                      <a:pt x="3069" y="243"/>
                    </a:lnTo>
                    <a:lnTo>
                      <a:pt x="3051" y="253"/>
                    </a:lnTo>
                    <a:lnTo>
                      <a:pt x="3011" y="256"/>
                    </a:lnTo>
                    <a:lnTo>
                      <a:pt x="2973" y="257"/>
                    </a:lnTo>
                    <a:lnTo>
                      <a:pt x="2955" y="257"/>
                    </a:lnTo>
                    <a:lnTo>
                      <a:pt x="2940" y="255"/>
                    </a:lnTo>
                    <a:lnTo>
                      <a:pt x="2925" y="252"/>
                    </a:lnTo>
                    <a:lnTo>
                      <a:pt x="2913" y="247"/>
                    </a:lnTo>
                    <a:lnTo>
                      <a:pt x="2907" y="245"/>
                    </a:lnTo>
                    <a:lnTo>
                      <a:pt x="2901" y="242"/>
                    </a:lnTo>
                    <a:lnTo>
                      <a:pt x="2897" y="238"/>
                    </a:lnTo>
                    <a:lnTo>
                      <a:pt x="2893" y="233"/>
                    </a:lnTo>
                    <a:lnTo>
                      <a:pt x="2888" y="229"/>
                    </a:lnTo>
                    <a:lnTo>
                      <a:pt x="2885" y="224"/>
                    </a:lnTo>
                    <a:lnTo>
                      <a:pt x="2883" y="218"/>
                    </a:lnTo>
                    <a:lnTo>
                      <a:pt x="2881" y="212"/>
                    </a:lnTo>
                    <a:lnTo>
                      <a:pt x="2878" y="204"/>
                    </a:lnTo>
                    <a:lnTo>
                      <a:pt x="2877" y="197"/>
                    </a:lnTo>
                    <a:lnTo>
                      <a:pt x="2877" y="188"/>
                    </a:lnTo>
                    <a:lnTo>
                      <a:pt x="2877" y="179"/>
                    </a:lnTo>
                    <a:lnTo>
                      <a:pt x="2877" y="170"/>
                    </a:lnTo>
                    <a:lnTo>
                      <a:pt x="2880" y="159"/>
                    </a:lnTo>
                    <a:lnTo>
                      <a:pt x="2882" y="148"/>
                    </a:lnTo>
                    <a:lnTo>
                      <a:pt x="2884" y="136"/>
                    </a:lnTo>
                    <a:lnTo>
                      <a:pt x="2886" y="129"/>
                    </a:lnTo>
                    <a:lnTo>
                      <a:pt x="2886" y="121"/>
                    </a:lnTo>
                    <a:lnTo>
                      <a:pt x="2886" y="115"/>
                    </a:lnTo>
                    <a:lnTo>
                      <a:pt x="2886" y="107"/>
                    </a:lnTo>
                    <a:lnTo>
                      <a:pt x="2885" y="99"/>
                    </a:lnTo>
                    <a:lnTo>
                      <a:pt x="2883" y="93"/>
                    </a:lnTo>
                    <a:lnTo>
                      <a:pt x="2881" y="85"/>
                    </a:lnTo>
                    <a:lnTo>
                      <a:pt x="2877" y="78"/>
                    </a:lnTo>
                    <a:lnTo>
                      <a:pt x="2870" y="65"/>
                    </a:lnTo>
                    <a:lnTo>
                      <a:pt x="2861" y="52"/>
                    </a:lnTo>
                    <a:lnTo>
                      <a:pt x="2850" y="40"/>
                    </a:lnTo>
                    <a:lnTo>
                      <a:pt x="2839" y="28"/>
                    </a:lnTo>
                    <a:lnTo>
                      <a:pt x="2826" y="20"/>
                    </a:lnTo>
                    <a:lnTo>
                      <a:pt x="2812" y="11"/>
                    </a:lnTo>
                    <a:lnTo>
                      <a:pt x="2798" y="5"/>
                    </a:lnTo>
                    <a:lnTo>
                      <a:pt x="2784" y="1"/>
                    </a:lnTo>
                    <a:lnTo>
                      <a:pt x="2778" y="0"/>
                    </a:lnTo>
                    <a:lnTo>
                      <a:pt x="2770" y="0"/>
                    </a:lnTo>
                    <a:lnTo>
                      <a:pt x="2764" y="0"/>
                    </a:lnTo>
                    <a:lnTo>
                      <a:pt x="2756" y="1"/>
                    </a:lnTo>
                    <a:lnTo>
                      <a:pt x="2750" y="2"/>
                    </a:lnTo>
                    <a:lnTo>
                      <a:pt x="2743" y="4"/>
                    </a:lnTo>
                    <a:lnTo>
                      <a:pt x="2737" y="8"/>
                    </a:lnTo>
                    <a:lnTo>
                      <a:pt x="2730" y="12"/>
                    </a:lnTo>
                    <a:lnTo>
                      <a:pt x="2719" y="18"/>
                    </a:lnTo>
                    <a:lnTo>
                      <a:pt x="2707" y="24"/>
                    </a:lnTo>
                    <a:lnTo>
                      <a:pt x="2696" y="27"/>
                    </a:lnTo>
                    <a:lnTo>
                      <a:pt x="2686" y="29"/>
                    </a:lnTo>
                    <a:lnTo>
                      <a:pt x="2663" y="34"/>
                    </a:lnTo>
                    <a:lnTo>
                      <a:pt x="2642" y="37"/>
                    </a:lnTo>
                    <a:lnTo>
                      <a:pt x="2632" y="39"/>
                    </a:lnTo>
                    <a:lnTo>
                      <a:pt x="2623" y="42"/>
                    </a:lnTo>
                    <a:lnTo>
                      <a:pt x="2615" y="47"/>
                    </a:lnTo>
                    <a:lnTo>
                      <a:pt x="2606" y="53"/>
                    </a:lnTo>
                    <a:lnTo>
                      <a:pt x="2600" y="61"/>
                    </a:lnTo>
                    <a:lnTo>
                      <a:pt x="2593" y="71"/>
                    </a:lnTo>
                    <a:lnTo>
                      <a:pt x="2588" y="83"/>
                    </a:lnTo>
                    <a:lnTo>
                      <a:pt x="2584" y="99"/>
                    </a:lnTo>
                    <a:lnTo>
                      <a:pt x="2578" y="123"/>
                    </a:lnTo>
                    <a:lnTo>
                      <a:pt x="2573" y="140"/>
                    </a:lnTo>
                    <a:lnTo>
                      <a:pt x="2567" y="155"/>
                    </a:lnTo>
                    <a:lnTo>
                      <a:pt x="2562" y="164"/>
                    </a:lnTo>
                    <a:lnTo>
                      <a:pt x="2560" y="169"/>
                    </a:lnTo>
                    <a:lnTo>
                      <a:pt x="2557" y="172"/>
                    </a:lnTo>
                    <a:lnTo>
                      <a:pt x="2553" y="174"/>
                    </a:lnTo>
                    <a:lnTo>
                      <a:pt x="2551" y="175"/>
                    </a:lnTo>
                    <a:lnTo>
                      <a:pt x="2545" y="177"/>
                    </a:lnTo>
                    <a:lnTo>
                      <a:pt x="2538" y="177"/>
                    </a:lnTo>
                    <a:lnTo>
                      <a:pt x="2522" y="175"/>
                    </a:lnTo>
                    <a:lnTo>
                      <a:pt x="2504" y="174"/>
                    </a:lnTo>
                    <a:lnTo>
                      <a:pt x="2494" y="175"/>
                    </a:lnTo>
                    <a:lnTo>
                      <a:pt x="2482" y="177"/>
                    </a:lnTo>
                    <a:lnTo>
                      <a:pt x="2469" y="183"/>
                    </a:lnTo>
                    <a:lnTo>
                      <a:pt x="2455" y="191"/>
                    </a:lnTo>
                    <a:lnTo>
                      <a:pt x="2411" y="224"/>
                    </a:lnTo>
                    <a:lnTo>
                      <a:pt x="2411" y="224"/>
                    </a:lnTo>
                    <a:lnTo>
                      <a:pt x="2414" y="243"/>
                    </a:lnTo>
                    <a:lnTo>
                      <a:pt x="2415" y="259"/>
                    </a:lnTo>
                    <a:lnTo>
                      <a:pt x="2415" y="275"/>
                    </a:lnTo>
                    <a:lnTo>
                      <a:pt x="2415" y="291"/>
                    </a:lnTo>
                    <a:lnTo>
                      <a:pt x="2412" y="321"/>
                    </a:lnTo>
                    <a:lnTo>
                      <a:pt x="2412" y="354"/>
                    </a:lnTo>
                    <a:lnTo>
                      <a:pt x="2415" y="381"/>
                    </a:lnTo>
                    <a:lnTo>
                      <a:pt x="2418" y="408"/>
                    </a:lnTo>
                    <a:lnTo>
                      <a:pt x="2419" y="422"/>
                    </a:lnTo>
                    <a:lnTo>
                      <a:pt x="2420" y="436"/>
                    </a:lnTo>
                    <a:lnTo>
                      <a:pt x="2420" y="449"/>
                    </a:lnTo>
                    <a:lnTo>
                      <a:pt x="2419" y="461"/>
                    </a:lnTo>
                    <a:lnTo>
                      <a:pt x="2422" y="607"/>
                    </a:lnTo>
                    <a:lnTo>
                      <a:pt x="2421" y="620"/>
                    </a:lnTo>
                    <a:lnTo>
                      <a:pt x="2417" y="638"/>
                    </a:lnTo>
                    <a:lnTo>
                      <a:pt x="2410" y="659"/>
                    </a:lnTo>
                    <a:lnTo>
                      <a:pt x="2402" y="680"/>
                    </a:lnTo>
                    <a:lnTo>
                      <a:pt x="2397" y="690"/>
                    </a:lnTo>
                    <a:lnTo>
                      <a:pt x="2392" y="700"/>
                    </a:lnTo>
                    <a:lnTo>
                      <a:pt x="2386" y="709"/>
                    </a:lnTo>
                    <a:lnTo>
                      <a:pt x="2381" y="716"/>
                    </a:lnTo>
                    <a:lnTo>
                      <a:pt x="2375" y="723"/>
                    </a:lnTo>
                    <a:lnTo>
                      <a:pt x="2369" y="727"/>
                    </a:lnTo>
                    <a:lnTo>
                      <a:pt x="2363" y="730"/>
                    </a:lnTo>
                    <a:lnTo>
                      <a:pt x="2357" y="730"/>
                    </a:lnTo>
                    <a:lnTo>
                      <a:pt x="2338" y="726"/>
                    </a:lnTo>
                    <a:lnTo>
                      <a:pt x="2319" y="723"/>
                    </a:lnTo>
                    <a:lnTo>
                      <a:pt x="2315" y="724"/>
                    </a:lnTo>
                    <a:lnTo>
                      <a:pt x="2312" y="725"/>
                    </a:lnTo>
                    <a:lnTo>
                      <a:pt x="2308" y="727"/>
                    </a:lnTo>
                    <a:lnTo>
                      <a:pt x="2306" y="729"/>
                    </a:lnTo>
                    <a:lnTo>
                      <a:pt x="2305" y="733"/>
                    </a:lnTo>
                    <a:lnTo>
                      <a:pt x="2304" y="739"/>
                    </a:lnTo>
                    <a:lnTo>
                      <a:pt x="2303" y="745"/>
                    </a:lnTo>
                    <a:lnTo>
                      <a:pt x="2304" y="753"/>
                    </a:lnTo>
                    <a:lnTo>
                      <a:pt x="2306" y="771"/>
                    </a:lnTo>
                    <a:lnTo>
                      <a:pt x="2308" y="786"/>
                    </a:lnTo>
                    <a:lnTo>
                      <a:pt x="2308" y="792"/>
                    </a:lnTo>
                    <a:lnTo>
                      <a:pt x="2308" y="797"/>
                    </a:lnTo>
                    <a:lnTo>
                      <a:pt x="2307" y="801"/>
                    </a:lnTo>
                    <a:lnTo>
                      <a:pt x="2306" y="806"/>
                    </a:lnTo>
                    <a:lnTo>
                      <a:pt x="2304" y="809"/>
                    </a:lnTo>
                    <a:lnTo>
                      <a:pt x="2301" y="812"/>
                    </a:lnTo>
                    <a:lnTo>
                      <a:pt x="2297" y="814"/>
                    </a:lnTo>
                    <a:lnTo>
                      <a:pt x="2291" y="815"/>
                    </a:lnTo>
                    <a:lnTo>
                      <a:pt x="2276" y="819"/>
                    </a:lnTo>
                    <a:lnTo>
                      <a:pt x="2254" y="820"/>
                    </a:lnTo>
                    <a:lnTo>
                      <a:pt x="2245" y="821"/>
                    </a:lnTo>
                    <a:lnTo>
                      <a:pt x="2237" y="823"/>
                    </a:lnTo>
                    <a:lnTo>
                      <a:pt x="2230" y="825"/>
                    </a:lnTo>
                    <a:lnTo>
                      <a:pt x="2225" y="828"/>
                    </a:lnTo>
                    <a:lnTo>
                      <a:pt x="2215" y="837"/>
                    </a:lnTo>
                    <a:lnTo>
                      <a:pt x="2202" y="847"/>
                    </a:lnTo>
                    <a:lnTo>
                      <a:pt x="2195" y="864"/>
                    </a:lnTo>
                    <a:lnTo>
                      <a:pt x="2188" y="878"/>
                    </a:lnTo>
                    <a:lnTo>
                      <a:pt x="2186" y="885"/>
                    </a:lnTo>
                    <a:lnTo>
                      <a:pt x="2184" y="890"/>
                    </a:lnTo>
                    <a:lnTo>
                      <a:pt x="2183" y="895"/>
                    </a:lnTo>
                    <a:lnTo>
                      <a:pt x="2183" y="901"/>
                    </a:lnTo>
                    <a:lnTo>
                      <a:pt x="2184" y="905"/>
                    </a:lnTo>
                    <a:lnTo>
                      <a:pt x="2185" y="909"/>
                    </a:lnTo>
                    <a:lnTo>
                      <a:pt x="2188" y="914"/>
                    </a:lnTo>
                    <a:lnTo>
                      <a:pt x="2191" y="918"/>
                    </a:lnTo>
                    <a:lnTo>
                      <a:pt x="2197" y="921"/>
                    </a:lnTo>
                    <a:lnTo>
                      <a:pt x="2203" y="926"/>
                    </a:lnTo>
                    <a:lnTo>
                      <a:pt x="2210" y="929"/>
                    </a:lnTo>
                    <a:lnTo>
                      <a:pt x="2219" y="932"/>
                    </a:lnTo>
                    <a:lnTo>
                      <a:pt x="2229" y="936"/>
                    </a:lnTo>
                    <a:lnTo>
                      <a:pt x="2237" y="942"/>
                    </a:lnTo>
                    <a:lnTo>
                      <a:pt x="2242" y="946"/>
                    </a:lnTo>
                    <a:lnTo>
                      <a:pt x="2247" y="952"/>
                    </a:lnTo>
                    <a:lnTo>
                      <a:pt x="2249" y="957"/>
                    </a:lnTo>
                    <a:lnTo>
                      <a:pt x="2250" y="963"/>
                    </a:lnTo>
                    <a:lnTo>
                      <a:pt x="2249" y="969"/>
                    </a:lnTo>
                    <a:lnTo>
                      <a:pt x="2248" y="975"/>
                    </a:lnTo>
                    <a:lnTo>
                      <a:pt x="2243" y="987"/>
                    </a:lnTo>
                    <a:lnTo>
                      <a:pt x="2239" y="1001"/>
                    </a:lnTo>
                    <a:lnTo>
                      <a:pt x="2237" y="1008"/>
                    </a:lnTo>
                    <a:lnTo>
                      <a:pt x="2236" y="1015"/>
                    </a:lnTo>
                    <a:lnTo>
                      <a:pt x="2235" y="1023"/>
                    </a:lnTo>
                    <a:lnTo>
                      <a:pt x="2235" y="1030"/>
                    </a:lnTo>
                    <a:lnTo>
                      <a:pt x="2236" y="1035"/>
                    </a:lnTo>
                    <a:lnTo>
                      <a:pt x="2238" y="1039"/>
                    </a:lnTo>
                    <a:lnTo>
                      <a:pt x="2240" y="1042"/>
                    </a:lnTo>
                    <a:lnTo>
                      <a:pt x="2243" y="1047"/>
                    </a:lnTo>
                    <a:lnTo>
                      <a:pt x="2251" y="1053"/>
                    </a:lnTo>
                    <a:lnTo>
                      <a:pt x="2260" y="1060"/>
                    </a:lnTo>
                    <a:lnTo>
                      <a:pt x="2268" y="1065"/>
                    </a:lnTo>
                    <a:lnTo>
                      <a:pt x="2275" y="1070"/>
                    </a:lnTo>
                    <a:lnTo>
                      <a:pt x="2278" y="1074"/>
                    </a:lnTo>
                    <a:lnTo>
                      <a:pt x="2279" y="1076"/>
                    </a:lnTo>
                    <a:lnTo>
                      <a:pt x="2280" y="1078"/>
                    </a:lnTo>
                    <a:lnTo>
                      <a:pt x="2280" y="1080"/>
                    </a:lnTo>
                    <a:lnTo>
                      <a:pt x="2271" y="1082"/>
                    </a:lnTo>
                    <a:lnTo>
                      <a:pt x="2261" y="1082"/>
                    </a:lnTo>
                    <a:lnTo>
                      <a:pt x="2251" y="1081"/>
                    </a:lnTo>
                    <a:lnTo>
                      <a:pt x="2241" y="1079"/>
                    </a:lnTo>
                    <a:lnTo>
                      <a:pt x="2222" y="1073"/>
                    </a:lnTo>
                    <a:lnTo>
                      <a:pt x="2202" y="1066"/>
                    </a:lnTo>
                    <a:lnTo>
                      <a:pt x="2192" y="1062"/>
                    </a:lnTo>
                    <a:lnTo>
                      <a:pt x="2183" y="1058"/>
                    </a:lnTo>
                    <a:lnTo>
                      <a:pt x="2173" y="1055"/>
                    </a:lnTo>
                    <a:lnTo>
                      <a:pt x="2162" y="1054"/>
                    </a:lnTo>
                    <a:lnTo>
                      <a:pt x="2152" y="1053"/>
                    </a:lnTo>
                    <a:lnTo>
                      <a:pt x="2142" y="1053"/>
                    </a:lnTo>
                    <a:lnTo>
                      <a:pt x="2131" y="1055"/>
                    </a:lnTo>
                    <a:lnTo>
                      <a:pt x="2120" y="1058"/>
                    </a:lnTo>
                    <a:lnTo>
                      <a:pt x="2113" y="1062"/>
                    </a:lnTo>
                    <a:lnTo>
                      <a:pt x="2108" y="1064"/>
                    </a:lnTo>
                    <a:lnTo>
                      <a:pt x="2103" y="1068"/>
                    </a:lnTo>
                    <a:lnTo>
                      <a:pt x="2098" y="1071"/>
                    </a:lnTo>
                    <a:lnTo>
                      <a:pt x="2090" y="1081"/>
                    </a:lnTo>
                    <a:lnTo>
                      <a:pt x="2082" y="1091"/>
                    </a:lnTo>
                    <a:lnTo>
                      <a:pt x="2068" y="1112"/>
                    </a:lnTo>
                    <a:lnTo>
                      <a:pt x="2057" y="1136"/>
                    </a:lnTo>
                    <a:lnTo>
                      <a:pt x="2051" y="1147"/>
                    </a:lnTo>
                    <a:lnTo>
                      <a:pt x="2045" y="1158"/>
                    </a:lnTo>
                    <a:lnTo>
                      <a:pt x="2039" y="1168"/>
                    </a:lnTo>
                    <a:lnTo>
                      <a:pt x="2031" y="1176"/>
                    </a:lnTo>
                    <a:lnTo>
                      <a:pt x="2022" y="1184"/>
                    </a:lnTo>
                    <a:lnTo>
                      <a:pt x="2013" y="1189"/>
                    </a:lnTo>
                    <a:lnTo>
                      <a:pt x="2008" y="1190"/>
                    </a:lnTo>
                    <a:lnTo>
                      <a:pt x="2002" y="1192"/>
                    </a:lnTo>
                    <a:lnTo>
                      <a:pt x="1996" y="1193"/>
                    </a:lnTo>
                    <a:lnTo>
                      <a:pt x="1990" y="1193"/>
                    </a:lnTo>
                    <a:lnTo>
                      <a:pt x="1971" y="1193"/>
                    </a:lnTo>
                    <a:lnTo>
                      <a:pt x="1957" y="1195"/>
                    </a:lnTo>
                    <a:lnTo>
                      <a:pt x="1946" y="1197"/>
                    </a:lnTo>
                    <a:lnTo>
                      <a:pt x="1936" y="1200"/>
                    </a:lnTo>
                    <a:lnTo>
                      <a:pt x="1927" y="1205"/>
                    </a:lnTo>
                    <a:lnTo>
                      <a:pt x="1918" y="1212"/>
                    </a:lnTo>
                    <a:lnTo>
                      <a:pt x="1907" y="1220"/>
                    </a:lnTo>
                    <a:lnTo>
                      <a:pt x="1894" y="1232"/>
                    </a:lnTo>
                    <a:lnTo>
                      <a:pt x="1885" y="1251"/>
                    </a:lnTo>
                    <a:lnTo>
                      <a:pt x="1873" y="1273"/>
                    </a:lnTo>
                    <a:lnTo>
                      <a:pt x="1867" y="1285"/>
                    </a:lnTo>
                    <a:lnTo>
                      <a:pt x="1863" y="1296"/>
                    </a:lnTo>
                    <a:lnTo>
                      <a:pt x="1861" y="1307"/>
                    </a:lnTo>
                    <a:lnTo>
                      <a:pt x="1860" y="1317"/>
                    </a:lnTo>
                    <a:lnTo>
                      <a:pt x="1860" y="1321"/>
                    </a:lnTo>
                    <a:lnTo>
                      <a:pt x="1861" y="1325"/>
                    </a:lnTo>
                    <a:lnTo>
                      <a:pt x="1863" y="1330"/>
                    </a:lnTo>
                    <a:lnTo>
                      <a:pt x="1865" y="1333"/>
                    </a:lnTo>
                    <a:lnTo>
                      <a:pt x="1872" y="1339"/>
                    </a:lnTo>
                    <a:lnTo>
                      <a:pt x="1879" y="1345"/>
                    </a:lnTo>
                    <a:lnTo>
                      <a:pt x="1898" y="1353"/>
                    </a:lnTo>
                    <a:lnTo>
                      <a:pt x="1913" y="1362"/>
                    </a:lnTo>
                    <a:lnTo>
                      <a:pt x="1917" y="1364"/>
                    </a:lnTo>
                    <a:lnTo>
                      <a:pt x="1919" y="1367"/>
                    </a:lnTo>
                    <a:lnTo>
                      <a:pt x="1923" y="1372"/>
                    </a:lnTo>
                    <a:lnTo>
                      <a:pt x="1925" y="1376"/>
                    </a:lnTo>
                    <a:lnTo>
                      <a:pt x="1927" y="1386"/>
                    </a:lnTo>
                    <a:lnTo>
                      <a:pt x="1928" y="1397"/>
                    </a:lnTo>
                    <a:lnTo>
                      <a:pt x="1928" y="1408"/>
                    </a:lnTo>
                    <a:lnTo>
                      <a:pt x="1926" y="1421"/>
                    </a:lnTo>
                    <a:lnTo>
                      <a:pt x="1923" y="1434"/>
                    </a:lnTo>
                    <a:lnTo>
                      <a:pt x="1918" y="1447"/>
                    </a:lnTo>
                    <a:lnTo>
                      <a:pt x="1913" y="1460"/>
                    </a:lnTo>
                    <a:lnTo>
                      <a:pt x="1906" y="1472"/>
                    </a:lnTo>
                    <a:lnTo>
                      <a:pt x="1899" y="1484"/>
                    </a:lnTo>
                    <a:lnTo>
                      <a:pt x="1891" y="1494"/>
                    </a:lnTo>
                    <a:lnTo>
                      <a:pt x="1883" y="1502"/>
                    </a:lnTo>
                    <a:lnTo>
                      <a:pt x="1874" y="1509"/>
                    </a:lnTo>
                    <a:lnTo>
                      <a:pt x="1870" y="1512"/>
                    </a:lnTo>
                    <a:lnTo>
                      <a:pt x="1864" y="1513"/>
                    </a:lnTo>
                    <a:lnTo>
                      <a:pt x="1860" y="1514"/>
                    </a:lnTo>
                    <a:lnTo>
                      <a:pt x="1855" y="1515"/>
                    </a:lnTo>
                    <a:lnTo>
                      <a:pt x="1836" y="1516"/>
                    </a:lnTo>
                    <a:lnTo>
                      <a:pt x="1822" y="1520"/>
                    </a:lnTo>
                    <a:lnTo>
                      <a:pt x="1815" y="1521"/>
                    </a:lnTo>
                    <a:lnTo>
                      <a:pt x="1811" y="1523"/>
                    </a:lnTo>
                    <a:lnTo>
                      <a:pt x="1807" y="1526"/>
                    </a:lnTo>
                    <a:lnTo>
                      <a:pt x="1802" y="1528"/>
                    </a:lnTo>
                    <a:lnTo>
                      <a:pt x="1788" y="1546"/>
                    </a:lnTo>
                    <a:lnTo>
                      <a:pt x="1768" y="1571"/>
                    </a:lnTo>
                    <a:lnTo>
                      <a:pt x="1750" y="1593"/>
                    </a:lnTo>
                    <a:lnTo>
                      <a:pt x="1731" y="1615"/>
                    </a:lnTo>
                    <a:lnTo>
                      <a:pt x="1721" y="1625"/>
                    </a:lnTo>
                    <a:lnTo>
                      <a:pt x="1710" y="1636"/>
                    </a:lnTo>
                    <a:lnTo>
                      <a:pt x="1698" y="1646"/>
                    </a:lnTo>
                    <a:lnTo>
                      <a:pt x="1686" y="1655"/>
                    </a:lnTo>
                    <a:lnTo>
                      <a:pt x="1674" y="1664"/>
                    </a:lnTo>
                    <a:lnTo>
                      <a:pt x="1661" y="1672"/>
                    </a:lnTo>
                    <a:lnTo>
                      <a:pt x="1648" y="1679"/>
                    </a:lnTo>
                    <a:lnTo>
                      <a:pt x="1635" y="1686"/>
                    </a:lnTo>
                    <a:lnTo>
                      <a:pt x="1622" y="1691"/>
                    </a:lnTo>
                    <a:lnTo>
                      <a:pt x="1608" y="1696"/>
                    </a:lnTo>
                    <a:lnTo>
                      <a:pt x="1595" y="1699"/>
                    </a:lnTo>
                    <a:lnTo>
                      <a:pt x="1581" y="1701"/>
                    </a:lnTo>
                    <a:lnTo>
                      <a:pt x="1551" y="1704"/>
                    </a:lnTo>
                    <a:lnTo>
                      <a:pt x="1520" y="1710"/>
                    </a:lnTo>
                    <a:lnTo>
                      <a:pt x="1504" y="1713"/>
                    </a:lnTo>
                    <a:lnTo>
                      <a:pt x="1489" y="1717"/>
                    </a:lnTo>
                    <a:lnTo>
                      <a:pt x="1474" y="1723"/>
                    </a:lnTo>
                    <a:lnTo>
                      <a:pt x="1460" y="1728"/>
                    </a:lnTo>
                    <a:lnTo>
                      <a:pt x="1446" y="1735"/>
                    </a:lnTo>
                    <a:lnTo>
                      <a:pt x="1432" y="1741"/>
                    </a:lnTo>
                    <a:lnTo>
                      <a:pt x="1418" y="1749"/>
                    </a:lnTo>
                    <a:lnTo>
                      <a:pt x="1405" y="1757"/>
                    </a:lnTo>
                    <a:lnTo>
                      <a:pt x="1393" y="1767"/>
                    </a:lnTo>
                    <a:lnTo>
                      <a:pt x="1380" y="1777"/>
                    </a:lnTo>
                    <a:lnTo>
                      <a:pt x="1369" y="1787"/>
                    </a:lnTo>
                    <a:lnTo>
                      <a:pt x="1358" y="1799"/>
                    </a:lnTo>
                    <a:lnTo>
                      <a:pt x="1348" y="1809"/>
                    </a:lnTo>
                    <a:lnTo>
                      <a:pt x="1340" y="1818"/>
                    </a:lnTo>
                    <a:lnTo>
                      <a:pt x="1331" y="1824"/>
                    </a:lnTo>
                    <a:lnTo>
                      <a:pt x="1322" y="1829"/>
                    </a:lnTo>
                    <a:lnTo>
                      <a:pt x="1316" y="1832"/>
                    </a:lnTo>
                    <a:lnTo>
                      <a:pt x="1308" y="1834"/>
                    </a:lnTo>
                    <a:lnTo>
                      <a:pt x="1302" y="1835"/>
                    </a:lnTo>
                    <a:lnTo>
                      <a:pt x="1294" y="1835"/>
                    </a:lnTo>
                    <a:lnTo>
                      <a:pt x="1281" y="1835"/>
                    </a:lnTo>
                    <a:lnTo>
                      <a:pt x="1268" y="1835"/>
                    </a:lnTo>
                    <a:lnTo>
                      <a:pt x="1261" y="1836"/>
                    </a:lnTo>
                    <a:lnTo>
                      <a:pt x="1253" y="1838"/>
                    </a:lnTo>
                    <a:lnTo>
                      <a:pt x="1245" y="1841"/>
                    </a:lnTo>
                    <a:lnTo>
                      <a:pt x="1237" y="1846"/>
                    </a:lnTo>
                    <a:lnTo>
                      <a:pt x="1174" y="1885"/>
                    </a:lnTo>
                    <a:lnTo>
                      <a:pt x="1158" y="1886"/>
                    </a:lnTo>
                    <a:lnTo>
                      <a:pt x="1146" y="1887"/>
                    </a:lnTo>
                    <a:lnTo>
                      <a:pt x="1135" y="1887"/>
                    </a:lnTo>
                    <a:lnTo>
                      <a:pt x="1125" y="1886"/>
                    </a:lnTo>
                    <a:lnTo>
                      <a:pt x="1116" y="1884"/>
                    </a:lnTo>
                    <a:lnTo>
                      <a:pt x="1106" y="1881"/>
                    </a:lnTo>
                    <a:lnTo>
                      <a:pt x="1095" y="1877"/>
                    </a:lnTo>
                    <a:lnTo>
                      <a:pt x="1081" y="1871"/>
                    </a:lnTo>
                    <a:lnTo>
                      <a:pt x="1070" y="1867"/>
                    </a:lnTo>
                    <a:lnTo>
                      <a:pt x="1060" y="1866"/>
                    </a:lnTo>
                    <a:lnTo>
                      <a:pt x="1056" y="1866"/>
                    </a:lnTo>
                    <a:lnTo>
                      <a:pt x="1050" y="1866"/>
                    </a:lnTo>
                    <a:lnTo>
                      <a:pt x="1047" y="1867"/>
                    </a:lnTo>
                    <a:lnTo>
                      <a:pt x="1043" y="1868"/>
                    </a:lnTo>
                    <a:lnTo>
                      <a:pt x="1038" y="1871"/>
                    </a:lnTo>
                    <a:lnTo>
                      <a:pt x="1035" y="1874"/>
                    </a:lnTo>
                    <a:lnTo>
                      <a:pt x="1033" y="1876"/>
                    </a:lnTo>
                    <a:lnTo>
                      <a:pt x="1030" y="1880"/>
                    </a:lnTo>
                    <a:lnTo>
                      <a:pt x="1028" y="1885"/>
                    </a:lnTo>
                    <a:lnTo>
                      <a:pt x="1026" y="1889"/>
                    </a:lnTo>
                    <a:lnTo>
                      <a:pt x="1025" y="1894"/>
                    </a:lnTo>
                    <a:lnTo>
                      <a:pt x="1024" y="1901"/>
                    </a:lnTo>
                    <a:lnTo>
                      <a:pt x="1025" y="1918"/>
                    </a:lnTo>
                    <a:lnTo>
                      <a:pt x="1026" y="1941"/>
                    </a:lnTo>
                    <a:lnTo>
                      <a:pt x="1026" y="1968"/>
                    </a:lnTo>
                    <a:lnTo>
                      <a:pt x="1026" y="1995"/>
                    </a:lnTo>
                    <a:lnTo>
                      <a:pt x="1025" y="2008"/>
                    </a:lnTo>
                    <a:lnTo>
                      <a:pt x="1023" y="2020"/>
                    </a:lnTo>
                    <a:lnTo>
                      <a:pt x="1020" y="2032"/>
                    </a:lnTo>
                    <a:lnTo>
                      <a:pt x="1016" y="2041"/>
                    </a:lnTo>
                    <a:lnTo>
                      <a:pt x="1012" y="2046"/>
                    </a:lnTo>
                    <a:lnTo>
                      <a:pt x="1009" y="2050"/>
                    </a:lnTo>
                    <a:lnTo>
                      <a:pt x="1006" y="2053"/>
                    </a:lnTo>
                    <a:lnTo>
                      <a:pt x="1003" y="2056"/>
                    </a:lnTo>
                    <a:lnTo>
                      <a:pt x="998" y="2060"/>
                    </a:lnTo>
                    <a:lnTo>
                      <a:pt x="994" y="2062"/>
                    </a:lnTo>
                    <a:lnTo>
                      <a:pt x="988" y="2063"/>
                    </a:lnTo>
                    <a:lnTo>
                      <a:pt x="983" y="2063"/>
                    </a:lnTo>
                    <a:lnTo>
                      <a:pt x="842" y="2073"/>
                    </a:lnTo>
                    <a:lnTo>
                      <a:pt x="824" y="2074"/>
                    </a:lnTo>
                    <a:lnTo>
                      <a:pt x="810" y="2074"/>
                    </a:lnTo>
                    <a:lnTo>
                      <a:pt x="798" y="2073"/>
                    </a:lnTo>
                    <a:lnTo>
                      <a:pt x="788" y="2072"/>
                    </a:lnTo>
                    <a:lnTo>
                      <a:pt x="780" y="2069"/>
                    </a:lnTo>
                    <a:lnTo>
                      <a:pt x="775" y="2067"/>
                    </a:lnTo>
                    <a:lnTo>
                      <a:pt x="771" y="2063"/>
                    </a:lnTo>
                    <a:lnTo>
                      <a:pt x="767" y="2060"/>
                    </a:lnTo>
                    <a:lnTo>
                      <a:pt x="761" y="2049"/>
                    </a:lnTo>
                    <a:lnTo>
                      <a:pt x="754" y="2036"/>
                    </a:lnTo>
                    <a:lnTo>
                      <a:pt x="750" y="2028"/>
                    </a:lnTo>
                    <a:lnTo>
                      <a:pt x="745" y="2021"/>
                    </a:lnTo>
                    <a:lnTo>
                      <a:pt x="737" y="2012"/>
                    </a:lnTo>
                    <a:lnTo>
                      <a:pt x="727" y="2003"/>
                    </a:lnTo>
                    <a:lnTo>
                      <a:pt x="724" y="2000"/>
                    </a:lnTo>
                    <a:lnTo>
                      <a:pt x="720" y="1999"/>
                    </a:lnTo>
                    <a:lnTo>
                      <a:pt x="716" y="1998"/>
                    </a:lnTo>
                    <a:lnTo>
                      <a:pt x="713" y="1999"/>
                    </a:lnTo>
                    <a:lnTo>
                      <a:pt x="706" y="2002"/>
                    </a:lnTo>
                    <a:lnTo>
                      <a:pt x="699" y="2009"/>
                    </a:lnTo>
                    <a:lnTo>
                      <a:pt x="692" y="2015"/>
                    </a:lnTo>
                    <a:lnTo>
                      <a:pt x="685" y="2023"/>
                    </a:lnTo>
                    <a:lnTo>
                      <a:pt x="679" y="2028"/>
                    </a:lnTo>
                    <a:lnTo>
                      <a:pt x="672" y="2032"/>
                    </a:lnTo>
                    <a:lnTo>
                      <a:pt x="667" y="2033"/>
                    </a:lnTo>
                    <a:lnTo>
                      <a:pt x="662" y="2033"/>
                    </a:lnTo>
                    <a:lnTo>
                      <a:pt x="658" y="2032"/>
                    </a:lnTo>
                    <a:lnTo>
                      <a:pt x="655" y="2030"/>
                    </a:lnTo>
                    <a:lnTo>
                      <a:pt x="649" y="2025"/>
                    </a:lnTo>
                    <a:lnTo>
                      <a:pt x="645" y="2018"/>
                    </a:lnTo>
                    <a:lnTo>
                      <a:pt x="641" y="2010"/>
                    </a:lnTo>
                    <a:lnTo>
                      <a:pt x="637" y="2002"/>
                    </a:lnTo>
                    <a:lnTo>
                      <a:pt x="635" y="2000"/>
                    </a:lnTo>
                    <a:lnTo>
                      <a:pt x="633" y="1997"/>
                    </a:lnTo>
                    <a:lnTo>
                      <a:pt x="631" y="1995"/>
                    </a:lnTo>
                    <a:lnTo>
                      <a:pt x="628" y="1994"/>
                    </a:lnTo>
                    <a:lnTo>
                      <a:pt x="628" y="1993"/>
                    </a:lnTo>
                    <a:lnTo>
                      <a:pt x="628" y="1993"/>
                    </a:lnTo>
                    <a:lnTo>
                      <a:pt x="625" y="1992"/>
                    </a:lnTo>
                    <a:lnTo>
                      <a:pt x="623" y="1991"/>
                    </a:lnTo>
                    <a:lnTo>
                      <a:pt x="577" y="1952"/>
                    </a:lnTo>
                    <a:lnTo>
                      <a:pt x="577" y="1952"/>
                    </a:lnTo>
                    <a:lnTo>
                      <a:pt x="543" y="2015"/>
                    </a:lnTo>
                    <a:lnTo>
                      <a:pt x="538" y="2034"/>
                    </a:lnTo>
                    <a:lnTo>
                      <a:pt x="533" y="2049"/>
                    </a:lnTo>
                    <a:lnTo>
                      <a:pt x="529" y="2062"/>
                    </a:lnTo>
                    <a:lnTo>
                      <a:pt x="525" y="2072"/>
                    </a:lnTo>
                    <a:lnTo>
                      <a:pt x="520" y="2077"/>
                    </a:lnTo>
                    <a:lnTo>
                      <a:pt x="517" y="2080"/>
                    </a:lnTo>
                    <a:lnTo>
                      <a:pt x="513" y="2084"/>
                    </a:lnTo>
                    <a:lnTo>
                      <a:pt x="506" y="2088"/>
                    </a:lnTo>
                    <a:lnTo>
                      <a:pt x="492" y="2095"/>
                    </a:lnTo>
                    <a:lnTo>
                      <a:pt x="472" y="2102"/>
                    </a:lnTo>
                    <a:lnTo>
                      <a:pt x="456" y="2105"/>
                    </a:lnTo>
                    <a:lnTo>
                      <a:pt x="441" y="2108"/>
                    </a:lnTo>
                    <a:lnTo>
                      <a:pt x="425" y="2109"/>
                    </a:lnTo>
                    <a:lnTo>
                      <a:pt x="409" y="2111"/>
                    </a:lnTo>
                    <a:lnTo>
                      <a:pt x="394" y="2114"/>
                    </a:lnTo>
                    <a:lnTo>
                      <a:pt x="377" y="2116"/>
                    </a:lnTo>
                    <a:lnTo>
                      <a:pt x="362" y="2120"/>
                    </a:lnTo>
                    <a:lnTo>
                      <a:pt x="348" y="2127"/>
                    </a:lnTo>
                    <a:lnTo>
                      <a:pt x="339" y="2132"/>
                    </a:lnTo>
                    <a:lnTo>
                      <a:pt x="333" y="2138"/>
                    </a:lnTo>
                    <a:lnTo>
                      <a:pt x="326" y="2145"/>
                    </a:lnTo>
                    <a:lnTo>
                      <a:pt x="321" y="2153"/>
                    </a:lnTo>
                    <a:lnTo>
                      <a:pt x="316" y="2160"/>
                    </a:lnTo>
                    <a:lnTo>
                      <a:pt x="309" y="2167"/>
                    </a:lnTo>
                    <a:lnTo>
                      <a:pt x="305" y="2169"/>
                    </a:lnTo>
                    <a:lnTo>
                      <a:pt x="300" y="2172"/>
                    </a:lnTo>
                    <a:lnTo>
                      <a:pt x="296" y="2174"/>
                    </a:lnTo>
                    <a:lnTo>
                      <a:pt x="291" y="2176"/>
                    </a:lnTo>
                    <a:lnTo>
                      <a:pt x="274" y="2180"/>
                    </a:lnTo>
                    <a:lnTo>
                      <a:pt x="258" y="2183"/>
                    </a:lnTo>
                    <a:lnTo>
                      <a:pt x="242" y="2185"/>
                    </a:lnTo>
                    <a:lnTo>
                      <a:pt x="226" y="2186"/>
                    </a:lnTo>
                    <a:lnTo>
                      <a:pt x="209" y="2188"/>
                    </a:lnTo>
                    <a:lnTo>
                      <a:pt x="193" y="2191"/>
                    </a:lnTo>
                    <a:lnTo>
                      <a:pt x="178" y="2196"/>
                    </a:lnTo>
                    <a:lnTo>
                      <a:pt x="163" y="2202"/>
                    </a:lnTo>
                    <a:lnTo>
                      <a:pt x="98" y="2259"/>
                    </a:lnTo>
                    <a:lnTo>
                      <a:pt x="98" y="2259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02" name="Freeform 17">
                <a:extLst>
                  <a:ext uri="{FF2B5EF4-FFF2-40B4-BE49-F238E27FC236}">
                    <a16:creationId xmlns:a16="http://schemas.microsoft.com/office/drawing/2014/main" id="{11EC1462-DC4D-45AF-A90E-E7359B7B55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18901" y="-163108"/>
                <a:ext cx="784224" cy="990600"/>
              </a:xfrm>
              <a:custGeom>
                <a:avLst/>
                <a:gdLst>
                  <a:gd name="T0" fmla="*/ 204 w 1973"/>
                  <a:gd name="T1" fmla="*/ 1642 h 2494"/>
                  <a:gd name="T2" fmla="*/ 249 w 1973"/>
                  <a:gd name="T3" fmla="*/ 1717 h 2494"/>
                  <a:gd name="T4" fmla="*/ 252 w 1973"/>
                  <a:gd name="T5" fmla="*/ 1805 h 2494"/>
                  <a:gd name="T6" fmla="*/ 307 w 1973"/>
                  <a:gd name="T7" fmla="*/ 1907 h 2494"/>
                  <a:gd name="T8" fmla="*/ 238 w 1973"/>
                  <a:gd name="T9" fmla="*/ 1996 h 2494"/>
                  <a:gd name="T10" fmla="*/ 127 w 1973"/>
                  <a:gd name="T11" fmla="*/ 1980 h 2494"/>
                  <a:gd name="T12" fmla="*/ 52 w 1973"/>
                  <a:gd name="T13" fmla="*/ 1989 h 2494"/>
                  <a:gd name="T14" fmla="*/ 7 w 1973"/>
                  <a:gd name="T15" fmla="*/ 2071 h 2494"/>
                  <a:gd name="T16" fmla="*/ 88 w 1973"/>
                  <a:gd name="T17" fmla="*/ 2165 h 2494"/>
                  <a:gd name="T18" fmla="*/ 174 w 1973"/>
                  <a:gd name="T19" fmla="*/ 2215 h 2494"/>
                  <a:gd name="T20" fmla="*/ 139 w 1973"/>
                  <a:gd name="T21" fmla="*/ 2351 h 2494"/>
                  <a:gd name="T22" fmla="*/ 188 w 1973"/>
                  <a:gd name="T23" fmla="*/ 2422 h 2494"/>
                  <a:gd name="T24" fmla="*/ 243 w 1973"/>
                  <a:gd name="T25" fmla="*/ 2435 h 2494"/>
                  <a:gd name="T26" fmla="*/ 305 w 1973"/>
                  <a:gd name="T27" fmla="*/ 2456 h 2494"/>
                  <a:gd name="T28" fmla="*/ 534 w 1973"/>
                  <a:gd name="T29" fmla="*/ 2483 h 2494"/>
                  <a:gd name="T30" fmla="*/ 576 w 1973"/>
                  <a:gd name="T31" fmla="*/ 2428 h 2494"/>
                  <a:gd name="T32" fmla="*/ 586 w 1973"/>
                  <a:gd name="T33" fmla="*/ 2294 h 2494"/>
                  <a:gd name="T34" fmla="*/ 667 w 1973"/>
                  <a:gd name="T35" fmla="*/ 2304 h 2494"/>
                  <a:gd name="T36" fmla="*/ 832 w 1973"/>
                  <a:gd name="T37" fmla="*/ 2255 h 2494"/>
                  <a:gd name="T38" fmla="*/ 931 w 1973"/>
                  <a:gd name="T39" fmla="*/ 2197 h 2494"/>
                  <a:gd name="T40" fmla="*/ 1102 w 1973"/>
                  <a:gd name="T41" fmla="*/ 2124 h 2494"/>
                  <a:gd name="T42" fmla="*/ 1261 w 1973"/>
                  <a:gd name="T43" fmla="*/ 2056 h 2494"/>
                  <a:gd name="T44" fmla="*/ 1387 w 1973"/>
                  <a:gd name="T45" fmla="*/ 1936 h 2494"/>
                  <a:gd name="T46" fmla="*/ 1469 w 1973"/>
                  <a:gd name="T47" fmla="*/ 1867 h 2494"/>
                  <a:gd name="T48" fmla="*/ 1449 w 1973"/>
                  <a:gd name="T49" fmla="*/ 1773 h 2494"/>
                  <a:gd name="T50" fmla="*/ 1424 w 1973"/>
                  <a:gd name="T51" fmla="*/ 1693 h 2494"/>
                  <a:gd name="T52" fmla="*/ 1547 w 1973"/>
                  <a:gd name="T53" fmla="*/ 1613 h 2494"/>
                  <a:gd name="T54" fmla="*/ 1633 w 1973"/>
                  <a:gd name="T55" fmla="*/ 1511 h 2494"/>
                  <a:gd name="T56" fmla="*/ 1724 w 1973"/>
                  <a:gd name="T57" fmla="*/ 1475 h 2494"/>
                  <a:gd name="T58" fmla="*/ 1830 w 1973"/>
                  <a:gd name="T59" fmla="*/ 1496 h 2494"/>
                  <a:gd name="T60" fmla="*/ 1786 w 1973"/>
                  <a:gd name="T61" fmla="*/ 1443 h 2494"/>
                  <a:gd name="T62" fmla="*/ 1788 w 1973"/>
                  <a:gd name="T63" fmla="*/ 1362 h 2494"/>
                  <a:gd name="T64" fmla="*/ 1734 w 1973"/>
                  <a:gd name="T65" fmla="*/ 1315 h 2494"/>
                  <a:gd name="T66" fmla="*/ 1805 w 1973"/>
                  <a:gd name="T67" fmla="*/ 1240 h 2494"/>
                  <a:gd name="T68" fmla="*/ 1857 w 1973"/>
                  <a:gd name="T69" fmla="*/ 1191 h 2494"/>
                  <a:gd name="T70" fmla="*/ 1908 w 1973"/>
                  <a:gd name="T71" fmla="*/ 1150 h 2494"/>
                  <a:gd name="T72" fmla="*/ 1972 w 1973"/>
                  <a:gd name="T73" fmla="*/ 1040 h 2494"/>
                  <a:gd name="T74" fmla="*/ 1966 w 1973"/>
                  <a:gd name="T75" fmla="*/ 695 h 2494"/>
                  <a:gd name="T76" fmla="*/ 1903 w 1973"/>
                  <a:gd name="T77" fmla="*/ 541 h 2494"/>
                  <a:gd name="T78" fmla="*/ 1909 w 1973"/>
                  <a:gd name="T79" fmla="*/ 386 h 2494"/>
                  <a:gd name="T80" fmla="*/ 1827 w 1973"/>
                  <a:gd name="T81" fmla="*/ 383 h 2494"/>
                  <a:gd name="T82" fmla="*/ 1730 w 1973"/>
                  <a:gd name="T83" fmla="*/ 334 h 2494"/>
                  <a:gd name="T84" fmla="*/ 1655 w 1973"/>
                  <a:gd name="T85" fmla="*/ 113 h 2494"/>
                  <a:gd name="T86" fmla="*/ 1580 w 1973"/>
                  <a:gd name="T87" fmla="*/ 68 h 2494"/>
                  <a:gd name="T88" fmla="*/ 1386 w 1973"/>
                  <a:gd name="T89" fmla="*/ 36 h 2494"/>
                  <a:gd name="T90" fmla="*/ 1412 w 1973"/>
                  <a:gd name="T91" fmla="*/ 165 h 2494"/>
                  <a:gd name="T92" fmla="*/ 1236 w 1973"/>
                  <a:gd name="T93" fmla="*/ 192 h 2494"/>
                  <a:gd name="T94" fmla="*/ 1146 w 1973"/>
                  <a:gd name="T95" fmla="*/ 186 h 2494"/>
                  <a:gd name="T96" fmla="*/ 1055 w 1973"/>
                  <a:gd name="T97" fmla="*/ 125 h 2494"/>
                  <a:gd name="T98" fmla="*/ 1034 w 1973"/>
                  <a:gd name="T99" fmla="*/ 28 h 2494"/>
                  <a:gd name="T100" fmla="*/ 926 w 1973"/>
                  <a:gd name="T101" fmla="*/ 9 h 2494"/>
                  <a:gd name="T102" fmla="*/ 858 w 1973"/>
                  <a:gd name="T103" fmla="*/ 131 h 2494"/>
                  <a:gd name="T104" fmla="*/ 890 w 1973"/>
                  <a:gd name="T105" fmla="*/ 214 h 2494"/>
                  <a:gd name="T106" fmla="*/ 833 w 1973"/>
                  <a:gd name="T107" fmla="*/ 296 h 2494"/>
                  <a:gd name="T108" fmla="*/ 658 w 1973"/>
                  <a:gd name="T109" fmla="*/ 305 h 2494"/>
                  <a:gd name="T110" fmla="*/ 431 w 1973"/>
                  <a:gd name="T111" fmla="*/ 394 h 2494"/>
                  <a:gd name="T112" fmla="*/ 389 w 1973"/>
                  <a:gd name="T113" fmla="*/ 598 h 2494"/>
                  <a:gd name="T114" fmla="*/ 326 w 1973"/>
                  <a:gd name="T115" fmla="*/ 630 h 2494"/>
                  <a:gd name="T116" fmla="*/ 279 w 1973"/>
                  <a:gd name="T117" fmla="*/ 809 h 2494"/>
                  <a:gd name="T118" fmla="*/ 320 w 1973"/>
                  <a:gd name="T119" fmla="*/ 987 h 2494"/>
                  <a:gd name="T120" fmla="*/ 304 w 1973"/>
                  <a:gd name="T121" fmla="*/ 1166 h 2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973" h="2494">
                    <a:moveTo>
                      <a:pt x="223" y="1351"/>
                    </a:moveTo>
                    <a:lnTo>
                      <a:pt x="220" y="1477"/>
                    </a:lnTo>
                    <a:lnTo>
                      <a:pt x="221" y="1494"/>
                    </a:lnTo>
                    <a:lnTo>
                      <a:pt x="222" y="1511"/>
                    </a:lnTo>
                    <a:lnTo>
                      <a:pt x="220" y="1527"/>
                    </a:lnTo>
                    <a:lnTo>
                      <a:pt x="218" y="1543"/>
                    </a:lnTo>
                    <a:lnTo>
                      <a:pt x="211" y="1576"/>
                    </a:lnTo>
                    <a:lnTo>
                      <a:pt x="205" y="1608"/>
                    </a:lnTo>
                    <a:lnTo>
                      <a:pt x="204" y="1621"/>
                    </a:lnTo>
                    <a:lnTo>
                      <a:pt x="204" y="1632"/>
                    </a:lnTo>
                    <a:lnTo>
                      <a:pt x="204" y="1642"/>
                    </a:lnTo>
                    <a:lnTo>
                      <a:pt x="206" y="1649"/>
                    </a:lnTo>
                    <a:lnTo>
                      <a:pt x="208" y="1657"/>
                    </a:lnTo>
                    <a:lnTo>
                      <a:pt x="211" y="1663"/>
                    </a:lnTo>
                    <a:lnTo>
                      <a:pt x="214" y="1669"/>
                    </a:lnTo>
                    <a:lnTo>
                      <a:pt x="219" y="1673"/>
                    </a:lnTo>
                    <a:lnTo>
                      <a:pt x="227" y="1683"/>
                    </a:lnTo>
                    <a:lnTo>
                      <a:pt x="236" y="1691"/>
                    </a:lnTo>
                    <a:lnTo>
                      <a:pt x="240" y="1697"/>
                    </a:lnTo>
                    <a:lnTo>
                      <a:pt x="244" y="1703"/>
                    </a:lnTo>
                    <a:lnTo>
                      <a:pt x="247" y="1710"/>
                    </a:lnTo>
                    <a:lnTo>
                      <a:pt x="249" y="1717"/>
                    </a:lnTo>
                    <a:lnTo>
                      <a:pt x="252" y="1718"/>
                    </a:lnTo>
                    <a:lnTo>
                      <a:pt x="254" y="1721"/>
                    </a:lnTo>
                    <a:lnTo>
                      <a:pt x="257" y="1726"/>
                    </a:lnTo>
                    <a:lnTo>
                      <a:pt x="257" y="1730"/>
                    </a:lnTo>
                    <a:lnTo>
                      <a:pt x="257" y="1743"/>
                    </a:lnTo>
                    <a:lnTo>
                      <a:pt x="256" y="1758"/>
                    </a:lnTo>
                    <a:lnTo>
                      <a:pt x="253" y="1773"/>
                    </a:lnTo>
                    <a:lnTo>
                      <a:pt x="252" y="1787"/>
                    </a:lnTo>
                    <a:lnTo>
                      <a:pt x="251" y="1794"/>
                    </a:lnTo>
                    <a:lnTo>
                      <a:pt x="251" y="1800"/>
                    </a:lnTo>
                    <a:lnTo>
                      <a:pt x="252" y="1805"/>
                    </a:lnTo>
                    <a:lnTo>
                      <a:pt x="253" y="1809"/>
                    </a:lnTo>
                    <a:lnTo>
                      <a:pt x="260" y="1821"/>
                    </a:lnTo>
                    <a:lnTo>
                      <a:pt x="266" y="1832"/>
                    </a:lnTo>
                    <a:lnTo>
                      <a:pt x="273" y="1840"/>
                    </a:lnTo>
                    <a:lnTo>
                      <a:pt x="279" y="1849"/>
                    </a:lnTo>
                    <a:lnTo>
                      <a:pt x="291" y="1863"/>
                    </a:lnTo>
                    <a:lnTo>
                      <a:pt x="300" y="1876"/>
                    </a:lnTo>
                    <a:lnTo>
                      <a:pt x="303" y="1882"/>
                    </a:lnTo>
                    <a:lnTo>
                      <a:pt x="305" y="1890"/>
                    </a:lnTo>
                    <a:lnTo>
                      <a:pt x="307" y="1898"/>
                    </a:lnTo>
                    <a:lnTo>
                      <a:pt x="307" y="1907"/>
                    </a:lnTo>
                    <a:lnTo>
                      <a:pt x="304" y="1917"/>
                    </a:lnTo>
                    <a:lnTo>
                      <a:pt x="301" y="1929"/>
                    </a:lnTo>
                    <a:lnTo>
                      <a:pt x="296" y="1942"/>
                    </a:lnTo>
                    <a:lnTo>
                      <a:pt x="288" y="1958"/>
                    </a:lnTo>
                    <a:lnTo>
                      <a:pt x="283" y="1966"/>
                    </a:lnTo>
                    <a:lnTo>
                      <a:pt x="277" y="1973"/>
                    </a:lnTo>
                    <a:lnTo>
                      <a:pt x="271" y="1980"/>
                    </a:lnTo>
                    <a:lnTo>
                      <a:pt x="263" y="1985"/>
                    </a:lnTo>
                    <a:lnTo>
                      <a:pt x="256" y="1989"/>
                    </a:lnTo>
                    <a:lnTo>
                      <a:pt x="247" y="1994"/>
                    </a:lnTo>
                    <a:lnTo>
                      <a:pt x="238" y="1996"/>
                    </a:lnTo>
                    <a:lnTo>
                      <a:pt x="228" y="1998"/>
                    </a:lnTo>
                    <a:lnTo>
                      <a:pt x="220" y="2000"/>
                    </a:lnTo>
                    <a:lnTo>
                      <a:pt x="210" y="2000"/>
                    </a:lnTo>
                    <a:lnTo>
                      <a:pt x="200" y="2000"/>
                    </a:lnTo>
                    <a:lnTo>
                      <a:pt x="191" y="2000"/>
                    </a:lnTo>
                    <a:lnTo>
                      <a:pt x="171" y="1997"/>
                    </a:lnTo>
                    <a:lnTo>
                      <a:pt x="153" y="1993"/>
                    </a:lnTo>
                    <a:lnTo>
                      <a:pt x="145" y="1990"/>
                    </a:lnTo>
                    <a:lnTo>
                      <a:pt x="139" y="1987"/>
                    </a:lnTo>
                    <a:lnTo>
                      <a:pt x="132" y="1983"/>
                    </a:lnTo>
                    <a:lnTo>
                      <a:pt x="127" y="1980"/>
                    </a:lnTo>
                    <a:lnTo>
                      <a:pt x="117" y="1972"/>
                    </a:lnTo>
                    <a:lnTo>
                      <a:pt x="108" y="1966"/>
                    </a:lnTo>
                    <a:lnTo>
                      <a:pt x="103" y="1963"/>
                    </a:lnTo>
                    <a:lnTo>
                      <a:pt x="98" y="1961"/>
                    </a:lnTo>
                    <a:lnTo>
                      <a:pt x="94" y="1961"/>
                    </a:lnTo>
                    <a:lnTo>
                      <a:pt x="89" y="1961"/>
                    </a:lnTo>
                    <a:lnTo>
                      <a:pt x="83" y="1963"/>
                    </a:lnTo>
                    <a:lnTo>
                      <a:pt x="78" y="1966"/>
                    </a:lnTo>
                    <a:lnTo>
                      <a:pt x="71" y="1971"/>
                    </a:lnTo>
                    <a:lnTo>
                      <a:pt x="65" y="1977"/>
                    </a:lnTo>
                    <a:lnTo>
                      <a:pt x="52" y="1989"/>
                    </a:lnTo>
                    <a:lnTo>
                      <a:pt x="37" y="2002"/>
                    </a:lnTo>
                    <a:lnTo>
                      <a:pt x="21" y="2016"/>
                    </a:lnTo>
                    <a:lnTo>
                      <a:pt x="10" y="2030"/>
                    </a:lnTo>
                    <a:lnTo>
                      <a:pt x="4" y="2037"/>
                    </a:lnTo>
                    <a:lnTo>
                      <a:pt x="1" y="2044"/>
                    </a:lnTo>
                    <a:lnTo>
                      <a:pt x="0" y="2051"/>
                    </a:lnTo>
                    <a:lnTo>
                      <a:pt x="0" y="2057"/>
                    </a:lnTo>
                    <a:lnTo>
                      <a:pt x="1" y="2062"/>
                    </a:lnTo>
                    <a:lnTo>
                      <a:pt x="2" y="2065"/>
                    </a:lnTo>
                    <a:lnTo>
                      <a:pt x="4" y="2068"/>
                    </a:lnTo>
                    <a:lnTo>
                      <a:pt x="7" y="2071"/>
                    </a:lnTo>
                    <a:lnTo>
                      <a:pt x="15" y="2077"/>
                    </a:lnTo>
                    <a:lnTo>
                      <a:pt x="26" y="2083"/>
                    </a:lnTo>
                    <a:lnTo>
                      <a:pt x="37" y="2090"/>
                    </a:lnTo>
                    <a:lnTo>
                      <a:pt x="46" y="2096"/>
                    </a:lnTo>
                    <a:lnTo>
                      <a:pt x="53" y="2103"/>
                    </a:lnTo>
                    <a:lnTo>
                      <a:pt x="59" y="2110"/>
                    </a:lnTo>
                    <a:lnTo>
                      <a:pt x="68" y="2125"/>
                    </a:lnTo>
                    <a:lnTo>
                      <a:pt x="75" y="2142"/>
                    </a:lnTo>
                    <a:lnTo>
                      <a:pt x="78" y="2149"/>
                    </a:lnTo>
                    <a:lnTo>
                      <a:pt x="82" y="2158"/>
                    </a:lnTo>
                    <a:lnTo>
                      <a:pt x="88" y="2165"/>
                    </a:lnTo>
                    <a:lnTo>
                      <a:pt x="94" y="2173"/>
                    </a:lnTo>
                    <a:lnTo>
                      <a:pt x="103" y="2180"/>
                    </a:lnTo>
                    <a:lnTo>
                      <a:pt x="113" y="2187"/>
                    </a:lnTo>
                    <a:lnTo>
                      <a:pt x="126" y="2195"/>
                    </a:lnTo>
                    <a:lnTo>
                      <a:pt x="141" y="2201"/>
                    </a:lnTo>
                    <a:lnTo>
                      <a:pt x="146" y="2201"/>
                    </a:lnTo>
                    <a:lnTo>
                      <a:pt x="153" y="2202"/>
                    </a:lnTo>
                    <a:lnTo>
                      <a:pt x="159" y="2204"/>
                    </a:lnTo>
                    <a:lnTo>
                      <a:pt x="165" y="2206"/>
                    </a:lnTo>
                    <a:lnTo>
                      <a:pt x="170" y="2211"/>
                    </a:lnTo>
                    <a:lnTo>
                      <a:pt x="174" y="2215"/>
                    </a:lnTo>
                    <a:lnTo>
                      <a:pt x="179" y="2220"/>
                    </a:lnTo>
                    <a:lnTo>
                      <a:pt x="181" y="2227"/>
                    </a:lnTo>
                    <a:lnTo>
                      <a:pt x="182" y="2233"/>
                    </a:lnTo>
                    <a:lnTo>
                      <a:pt x="182" y="2241"/>
                    </a:lnTo>
                    <a:lnTo>
                      <a:pt x="181" y="2250"/>
                    </a:lnTo>
                    <a:lnTo>
                      <a:pt x="179" y="2258"/>
                    </a:lnTo>
                    <a:lnTo>
                      <a:pt x="173" y="2276"/>
                    </a:lnTo>
                    <a:lnTo>
                      <a:pt x="168" y="2288"/>
                    </a:lnTo>
                    <a:lnTo>
                      <a:pt x="158" y="2309"/>
                    </a:lnTo>
                    <a:lnTo>
                      <a:pt x="148" y="2331"/>
                    </a:lnTo>
                    <a:lnTo>
                      <a:pt x="139" y="2351"/>
                    </a:lnTo>
                    <a:lnTo>
                      <a:pt x="128" y="2372"/>
                    </a:lnTo>
                    <a:lnTo>
                      <a:pt x="128" y="2372"/>
                    </a:lnTo>
                    <a:lnTo>
                      <a:pt x="174" y="2411"/>
                    </a:lnTo>
                    <a:lnTo>
                      <a:pt x="176" y="2412"/>
                    </a:lnTo>
                    <a:lnTo>
                      <a:pt x="179" y="2413"/>
                    </a:lnTo>
                    <a:lnTo>
                      <a:pt x="179" y="2413"/>
                    </a:lnTo>
                    <a:lnTo>
                      <a:pt x="179" y="2414"/>
                    </a:lnTo>
                    <a:lnTo>
                      <a:pt x="182" y="2415"/>
                    </a:lnTo>
                    <a:lnTo>
                      <a:pt x="184" y="2417"/>
                    </a:lnTo>
                    <a:lnTo>
                      <a:pt x="186" y="2420"/>
                    </a:lnTo>
                    <a:lnTo>
                      <a:pt x="188" y="2422"/>
                    </a:lnTo>
                    <a:lnTo>
                      <a:pt x="192" y="2430"/>
                    </a:lnTo>
                    <a:lnTo>
                      <a:pt x="196" y="2438"/>
                    </a:lnTo>
                    <a:lnTo>
                      <a:pt x="200" y="2445"/>
                    </a:lnTo>
                    <a:lnTo>
                      <a:pt x="206" y="2450"/>
                    </a:lnTo>
                    <a:lnTo>
                      <a:pt x="209" y="2452"/>
                    </a:lnTo>
                    <a:lnTo>
                      <a:pt x="213" y="2453"/>
                    </a:lnTo>
                    <a:lnTo>
                      <a:pt x="218" y="2453"/>
                    </a:lnTo>
                    <a:lnTo>
                      <a:pt x="223" y="2452"/>
                    </a:lnTo>
                    <a:lnTo>
                      <a:pt x="230" y="2448"/>
                    </a:lnTo>
                    <a:lnTo>
                      <a:pt x="236" y="2443"/>
                    </a:lnTo>
                    <a:lnTo>
                      <a:pt x="243" y="2435"/>
                    </a:lnTo>
                    <a:lnTo>
                      <a:pt x="250" y="2429"/>
                    </a:lnTo>
                    <a:lnTo>
                      <a:pt x="257" y="2422"/>
                    </a:lnTo>
                    <a:lnTo>
                      <a:pt x="264" y="2419"/>
                    </a:lnTo>
                    <a:lnTo>
                      <a:pt x="267" y="2418"/>
                    </a:lnTo>
                    <a:lnTo>
                      <a:pt x="271" y="2419"/>
                    </a:lnTo>
                    <a:lnTo>
                      <a:pt x="275" y="2420"/>
                    </a:lnTo>
                    <a:lnTo>
                      <a:pt x="278" y="2423"/>
                    </a:lnTo>
                    <a:lnTo>
                      <a:pt x="288" y="2432"/>
                    </a:lnTo>
                    <a:lnTo>
                      <a:pt x="296" y="2441"/>
                    </a:lnTo>
                    <a:lnTo>
                      <a:pt x="301" y="2448"/>
                    </a:lnTo>
                    <a:lnTo>
                      <a:pt x="305" y="2456"/>
                    </a:lnTo>
                    <a:lnTo>
                      <a:pt x="312" y="2469"/>
                    </a:lnTo>
                    <a:lnTo>
                      <a:pt x="318" y="2480"/>
                    </a:lnTo>
                    <a:lnTo>
                      <a:pt x="322" y="2483"/>
                    </a:lnTo>
                    <a:lnTo>
                      <a:pt x="326" y="2487"/>
                    </a:lnTo>
                    <a:lnTo>
                      <a:pt x="331" y="2489"/>
                    </a:lnTo>
                    <a:lnTo>
                      <a:pt x="339" y="2492"/>
                    </a:lnTo>
                    <a:lnTo>
                      <a:pt x="349" y="2493"/>
                    </a:lnTo>
                    <a:lnTo>
                      <a:pt x="361" y="2494"/>
                    </a:lnTo>
                    <a:lnTo>
                      <a:pt x="375" y="2494"/>
                    </a:lnTo>
                    <a:lnTo>
                      <a:pt x="393" y="2493"/>
                    </a:lnTo>
                    <a:lnTo>
                      <a:pt x="534" y="2483"/>
                    </a:lnTo>
                    <a:lnTo>
                      <a:pt x="539" y="2483"/>
                    </a:lnTo>
                    <a:lnTo>
                      <a:pt x="545" y="2482"/>
                    </a:lnTo>
                    <a:lnTo>
                      <a:pt x="549" y="2480"/>
                    </a:lnTo>
                    <a:lnTo>
                      <a:pt x="554" y="2476"/>
                    </a:lnTo>
                    <a:lnTo>
                      <a:pt x="557" y="2473"/>
                    </a:lnTo>
                    <a:lnTo>
                      <a:pt x="560" y="2470"/>
                    </a:lnTo>
                    <a:lnTo>
                      <a:pt x="563" y="2466"/>
                    </a:lnTo>
                    <a:lnTo>
                      <a:pt x="567" y="2461"/>
                    </a:lnTo>
                    <a:lnTo>
                      <a:pt x="571" y="2452"/>
                    </a:lnTo>
                    <a:lnTo>
                      <a:pt x="574" y="2440"/>
                    </a:lnTo>
                    <a:lnTo>
                      <a:pt x="576" y="2428"/>
                    </a:lnTo>
                    <a:lnTo>
                      <a:pt x="577" y="2415"/>
                    </a:lnTo>
                    <a:lnTo>
                      <a:pt x="577" y="2388"/>
                    </a:lnTo>
                    <a:lnTo>
                      <a:pt x="577" y="2361"/>
                    </a:lnTo>
                    <a:lnTo>
                      <a:pt x="576" y="2338"/>
                    </a:lnTo>
                    <a:lnTo>
                      <a:pt x="575" y="2321"/>
                    </a:lnTo>
                    <a:lnTo>
                      <a:pt x="576" y="2314"/>
                    </a:lnTo>
                    <a:lnTo>
                      <a:pt x="577" y="2309"/>
                    </a:lnTo>
                    <a:lnTo>
                      <a:pt x="579" y="2305"/>
                    </a:lnTo>
                    <a:lnTo>
                      <a:pt x="581" y="2300"/>
                    </a:lnTo>
                    <a:lnTo>
                      <a:pt x="584" y="2296"/>
                    </a:lnTo>
                    <a:lnTo>
                      <a:pt x="586" y="2294"/>
                    </a:lnTo>
                    <a:lnTo>
                      <a:pt x="589" y="2291"/>
                    </a:lnTo>
                    <a:lnTo>
                      <a:pt x="594" y="2288"/>
                    </a:lnTo>
                    <a:lnTo>
                      <a:pt x="598" y="2287"/>
                    </a:lnTo>
                    <a:lnTo>
                      <a:pt x="601" y="2286"/>
                    </a:lnTo>
                    <a:lnTo>
                      <a:pt x="607" y="2286"/>
                    </a:lnTo>
                    <a:lnTo>
                      <a:pt x="611" y="2286"/>
                    </a:lnTo>
                    <a:lnTo>
                      <a:pt x="621" y="2287"/>
                    </a:lnTo>
                    <a:lnTo>
                      <a:pt x="632" y="2291"/>
                    </a:lnTo>
                    <a:lnTo>
                      <a:pt x="646" y="2297"/>
                    </a:lnTo>
                    <a:lnTo>
                      <a:pt x="657" y="2301"/>
                    </a:lnTo>
                    <a:lnTo>
                      <a:pt x="667" y="2304"/>
                    </a:lnTo>
                    <a:lnTo>
                      <a:pt x="676" y="2306"/>
                    </a:lnTo>
                    <a:lnTo>
                      <a:pt x="686" y="2307"/>
                    </a:lnTo>
                    <a:lnTo>
                      <a:pt x="697" y="2307"/>
                    </a:lnTo>
                    <a:lnTo>
                      <a:pt x="709" y="2306"/>
                    </a:lnTo>
                    <a:lnTo>
                      <a:pt x="725" y="2305"/>
                    </a:lnTo>
                    <a:lnTo>
                      <a:pt x="788" y="2266"/>
                    </a:lnTo>
                    <a:lnTo>
                      <a:pt x="796" y="2261"/>
                    </a:lnTo>
                    <a:lnTo>
                      <a:pt x="804" y="2258"/>
                    </a:lnTo>
                    <a:lnTo>
                      <a:pt x="812" y="2256"/>
                    </a:lnTo>
                    <a:lnTo>
                      <a:pt x="819" y="2255"/>
                    </a:lnTo>
                    <a:lnTo>
                      <a:pt x="832" y="2255"/>
                    </a:lnTo>
                    <a:lnTo>
                      <a:pt x="845" y="2255"/>
                    </a:lnTo>
                    <a:lnTo>
                      <a:pt x="853" y="2255"/>
                    </a:lnTo>
                    <a:lnTo>
                      <a:pt x="859" y="2254"/>
                    </a:lnTo>
                    <a:lnTo>
                      <a:pt x="867" y="2252"/>
                    </a:lnTo>
                    <a:lnTo>
                      <a:pt x="873" y="2249"/>
                    </a:lnTo>
                    <a:lnTo>
                      <a:pt x="882" y="2244"/>
                    </a:lnTo>
                    <a:lnTo>
                      <a:pt x="891" y="2238"/>
                    </a:lnTo>
                    <a:lnTo>
                      <a:pt x="899" y="2229"/>
                    </a:lnTo>
                    <a:lnTo>
                      <a:pt x="909" y="2219"/>
                    </a:lnTo>
                    <a:lnTo>
                      <a:pt x="920" y="2207"/>
                    </a:lnTo>
                    <a:lnTo>
                      <a:pt x="931" y="2197"/>
                    </a:lnTo>
                    <a:lnTo>
                      <a:pt x="944" y="2187"/>
                    </a:lnTo>
                    <a:lnTo>
                      <a:pt x="956" y="2177"/>
                    </a:lnTo>
                    <a:lnTo>
                      <a:pt x="969" y="2169"/>
                    </a:lnTo>
                    <a:lnTo>
                      <a:pt x="983" y="2161"/>
                    </a:lnTo>
                    <a:lnTo>
                      <a:pt x="997" y="2155"/>
                    </a:lnTo>
                    <a:lnTo>
                      <a:pt x="1011" y="2148"/>
                    </a:lnTo>
                    <a:lnTo>
                      <a:pt x="1025" y="2143"/>
                    </a:lnTo>
                    <a:lnTo>
                      <a:pt x="1040" y="2137"/>
                    </a:lnTo>
                    <a:lnTo>
                      <a:pt x="1055" y="2133"/>
                    </a:lnTo>
                    <a:lnTo>
                      <a:pt x="1071" y="2130"/>
                    </a:lnTo>
                    <a:lnTo>
                      <a:pt x="1102" y="2124"/>
                    </a:lnTo>
                    <a:lnTo>
                      <a:pt x="1132" y="2121"/>
                    </a:lnTo>
                    <a:lnTo>
                      <a:pt x="1146" y="2119"/>
                    </a:lnTo>
                    <a:lnTo>
                      <a:pt x="1159" y="2116"/>
                    </a:lnTo>
                    <a:lnTo>
                      <a:pt x="1173" y="2111"/>
                    </a:lnTo>
                    <a:lnTo>
                      <a:pt x="1186" y="2106"/>
                    </a:lnTo>
                    <a:lnTo>
                      <a:pt x="1199" y="2099"/>
                    </a:lnTo>
                    <a:lnTo>
                      <a:pt x="1212" y="2092"/>
                    </a:lnTo>
                    <a:lnTo>
                      <a:pt x="1225" y="2084"/>
                    </a:lnTo>
                    <a:lnTo>
                      <a:pt x="1237" y="2075"/>
                    </a:lnTo>
                    <a:lnTo>
                      <a:pt x="1249" y="2066"/>
                    </a:lnTo>
                    <a:lnTo>
                      <a:pt x="1261" y="2056"/>
                    </a:lnTo>
                    <a:lnTo>
                      <a:pt x="1272" y="2045"/>
                    </a:lnTo>
                    <a:lnTo>
                      <a:pt x="1282" y="2035"/>
                    </a:lnTo>
                    <a:lnTo>
                      <a:pt x="1301" y="2013"/>
                    </a:lnTo>
                    <a:lnTo>
                      <a:pt x="1319" y="1991"/>
                    </a:lnTo>
                    <a:lnTo>
                      <a:pt x="1339" y="1966"/>
                    </a:lnTo>
                    <a:lnTo>
                      <a:pt x="1353" y="1948"/>
                    </a:lnTo>
                    <a:lnTo>
                      <a:pt x="1358" y="1946"/>
                    </a:lnTo>
                    <a:lnTo>
                      <a:pt x="1362" y="1943"/>
                    </a:lnTo>
                    <a:lnTo>
                      <a:pt x="1366" y="1941"/>
                    </a:lnTo>
                    <a:lnTo>
                      <a:pt x="1373" y="1940"/>
                    </a:lnTo>
                    <a:lnTo>
                      <a:pt x="1387" y="1936"/>
                    </a:lnTo>
                    <a:lnTo>
                      <a:pt x="1406" y="1935"/>
                    </a:lnTo>
                    <a:lnTo>
                      <a:pt x="1411" y="1934"/>
                    </a:lnTo>
                    <a:lnTo>
                      <a:pt x="1415" y="1933"/>
                    </a:lnTo>
                    <a:lnTo>
                      <a:pt x="1421" y="1932"/>
                    </a:lnTo>
                    <a:lnTo>
                      <a:pt x="1425" y="1929"/>
                    </a:lnTo>
                    <a:lnTo>
                      <a:pt x="1434" y="1922"/>
                    </a:lnTo>
                    <a:lnTo>
                      <a:pt x="1442" y="1914"/>
                    </a:lnTo>
                    <a:lnTo>
                      <a:pt x="1450" y="1904"/>
                    </a:lnTo>
                    <a:lnTo>
                      <a:pt x="1457" y="1892"/>
                    </a:lnTo>
                    <a:lnTo>
                      <a:pt x="1464" y="1880"/>
                    </a:lnTo>
                    <a:lnTo>
                      <a:pt x="1469" y="1867"/>
                    </a:lnTo>
                    <a:lnTo>
                      <a:pt x="1474" y="1854"/>
                    </a:lnTo>
                    <a:lnTo>
                      <a:pt x="1477" y="1841"/>
                    </a:lnTo>
                    <a:lnTo>
                      <a:pt x="1479" y="1828"/>
                    </a:lnTo>
                    <a:lnTo>
                      <a:pt x="1479" y="1817"/>
                    </a:lnTo>
                    <a:lnTo>
                      <a:pt x="1478" y="1806"/>
                    </a:lnTo>
                    <a:lnTo>
                      <a:pt x="1476" y="1796"/>
                    </a:lnTo>
                    <a:lnTo>
                      <a:pt x="1474" y="1792"/>
                    </a:lnTo>
                    <a:lnTo>
                      <a:pt x="1470" y="1787"/>
                    </a:lnTo>
                    <a:lnTo>
                      <a:pt x="1468" y="1784"/>
                    </a:lnTo>
                    <a:lnTo>
                      <a:pt x="1464" y="1782"/>
                    </a:lnTo>
                    <a:lnTo>
                      <a:pt x="1449" y="1773"/>
                    </a:lnTo>
                    <a:lnTo>
                      <a:pt x="1430" y="1765"/>
                    </a:lnTo>
                    <a:lnTo>
                      <a:pt x="1423" y="1759"/>
                    </a:lnTo>
                    <a:lnTo>
                      <a:pt x="1416" y="1753"/>
                    </a:lnTo>
                    <a:lnTo>
                      <a:pt x="1414" y="1750"/>
                    </a:lnTo>
                    <a:lnTo>
                      <a:pt x="1412" y="1745"/>
                    </a:lnTo>
                    <a:lnTo>
                      <a:pt x="1411" y="1741"/>
                    </a:lnTo>
                    <a:lnTo>
                      <a:pt x="1411" y="1737"/>
                    </a:lnTo>
                    <a:lnTo>
                      <a:pt x="1412" y="1727"/>
                    </a:lnTo>
                    <a:lnTo>
                      <a:pt x="1414" y="1716"/>
                    </a:lnTo>
                    <a:lnTo>
                      <a:pt x="1418" y="1705"/>
                    </a:lnTo>
                    <a:lnTo>
                      <a:pt x="1424" y="1693"/>
                    </a:lnTo>
                    <a:lnTo>
                      <a:pt x="1436" y="1671"/>
                    </a:lnTo>
                    <a:lnTo>
                      <a:pt x="1445" y="1652"/>
                    </a:lnTo>
                    <a:lnTo>
                      <a:pt x="1458" y="1640"/>
                    </a:lnTo>
                    <a:lnTo>
                      <a:pt x="1469" y="1632"/>
                    </a:lnTo>
                    <a:lnTo>
                      <a:pt x="1478" y="1625"/>
                    </a:lnTo>
                    <a:lnTo>
                      <a:pt x="1487" y="1620"/>
                    </a:lnTo>
                    <a:lnTo>
                      <a:pt x="1497" y="1617"/>
                    </a:lnTo>
                    <a:lnTo>
                      <a:pt x="1508" y="1615"/>
                    </a:lnTo>
                    <a:lnTo>
                      <a:pt x="1522" y="1613"/>
                    </a:lnTo>
                    <a:lnTo>
                      <a:pt x="1541" y="1613"/>
                    </a:lnTo>
                    <a:lnTo>
                      <a:pt x="1547" y="1613"/>
                    </a:lnTo>
                    <a:lnTo>
                      <a:pt x="1553" y="1612"/>
                    </a:lnTo>
                    <a:lnTo>
                      <a:pt x="1559" y="1610"/>
                    </a:lnTo>
                    <a:lnTo>
                      <a:pt x="1564" y="1609"/>
                    </a:lnTo>
                    <a:lnTo>
                      <a:pt x="1573" y="1604"/>
                    </a:lnTo>
                    <a:lnTo>
                      <a:pt x="1582" y="1596"/>
                    </a:lnTo>
                    <a:lnTo>
                      <a:pt x="1590" y="1588"/>
                    </a:lnTo>
                    <a:lnTo>
                      <a:pt x="1596" y="1578"/>
                    </a:lnTo>
                    <a:lnTo>
                      <a:pt x="1602" y="1567"/>
                    </a:lnTo>
                    <a:lnTo>
                      <a:pt x="1608" y="1556"/>
                    </a:lnTo>
                    <a:lnTo>
                      <a:pt x="1619" y="1532"/>
                    </a:lnTo>
                    <a:lnTo>
                      <a:pt x="1633" y="1511"/>
                    </a:lnTo>
                    <a:lnTo>
                      <a:pt x="1641" y="1501"/>
                    </a:lnTo>
                    <a:lnTo>
                      <a:pt x="1649" y="1491"/>
                    </a:lnTo>
                    <a:lnTo>
                      <a:pt x="1654" y="1488"/>
                    </a:lnTo>
                    <a:lnTo>
                      <a:pt x="1659" y="1484"/>
                    </a:lnTo>
                    <a:lnTo>
                      <a:pt x="1664" y="1482"/>
                    </a:lnTo>
                    <a:lnTo>
                      <a:pt x="1671" y="1478"/>
                    </a:lnTo>
                    <a:lnTo>
                      <a:pt x="1682" y="1475"/>
                    </a:lnTo>
                    <a:lnTo>
                      <a:pt x="1693" y="1473"/>
                    </a:lnTo>
                    <a:lnTo>
                      <a:pt x="1703" y="1473"/>
                    </a:lnTo>
                    <a:lnTo>
                      <a:pt x="1713" y="1474"/>
                    </a:lnTo>
                    <a:lnTo>
                      <a:pt x="1724" y="1475"/>
                    </a:lnTo>
                    <a:lnTo>
                      <a:pt x="1734" y="1478"/>
                    </a:lnTo>
                    <a:lnTo>
                      <a:pt x="1743" y="1482"/>
                    </a:lnTo>
                    <a:lnTo>
                      <a:pt x="1753" y="1486"/>
                    </a:lnTo>
                    <a:lnTo>
                      <a:pt x="1773" y="1493"/>
                    </a:lnTo>
                    <a:lnTo>
                      <a:pt x="1792" y="1499"/>
                    </a:lnTo>
                    <a:lnTo>
                      <a:pt x="1802" y="1501"/>
                    </a:lnTo>
                    <a:lnTo>
                      <a:pt x="1812" y="1502"/>
                    </a:lnTo>
                    <a:lnTo>
                      <a:pt x="1822" y="1502"/>
                    </a:lnTo>
                    <a:lnTo>
                      <a:pt x="1831" y="1500"/>
                    </a:lnTo>
                    <a:lnTo>
                      <a:pt x="1831" y="1498"/>
                    </a:lnTo>
                    <a:lnTo>
                      <a:pt x="1830" y="1496"/>
                    </a:lnTo>
                    <a:lnTo>
                      <a:pt x="1829" y="1494"/>
                    </a:lnTo>
                    <a:lnTo>
                      <a:pt x="1826" y="1490"/>
                    </a:lnTo>
                    <a:lnTo>
                      <a:pt x="1819" y="1485"/>
                    </a:lnTo>
                    <a:lnTo>
                      <a:pt x="1811" y="1480"/>
                    </a:lnTo>
                    <a:lnTo>
                      <a:pt x="1802" y="1473"/>
                    </a:lnTo>
                    <a:lnTo>
                      <a:pt x="1794" y="1467"/>
                    </a:lnTo>
                    <a:lnTo>
                      <a:pt x="1791" y="1462"/>
                    </a:lnTo>
                    <a:lnTo>
                      <a:pt x="1789" y="1459"/>
                    </a:lnTo>
                    <a:lnTo>
                      <a:pt x="1787" y="1455"/>
                    </a:lnTo>
                    <a:lnTo>
                      <a:pt x="1786" y="1450"/>
                    </a:lnTo>
                    <a:lnTo>
                      <a:pt x="1786" y="1443"/>
                    </a:lnTo>
                    <a:lnTo>
                      <a:pt x="1787" y="1435"/>
                    </a:lnTo>
                    <a:lnTo>
                      <a:pt x="1788" y="1428"/>
                    </a:lnTo>
                    <a:lnTo>
                      <a:pt x="1790" y="1421"/>
                    </a:lnTo>
                    <a:lnTo>
                      <a:pt x="1794" y="1407"/>
                    </a:lnTo>
                    <a:lnTo>
                      <a:pt x="1799" y="1395"/>
                    </a:lnTo>
                    <a:lnTo>
                      <a:pt x="1800" y="1389"/>
                    </a:lnTo>
                    <a:lnTo>
                      <a:pt x="1801" y="1383"/>
                    </a:lnTo>
                    <a:lnTo>
                      <a:pt x="1800" y="1377"/>
                    </a:lnTo>
                    <a:lnTo>
                      <a:pt x="1798" y="1372"/>
                    </a:lnTo>
                    <a:lnTo>
                      <a:pt x="1793" y="1366"/>
                    </a:lnTo>
                    <a:lnTo>
                      <a:pt x="1788" y="1362"/>
                    </a:lnTo>
                    <a:lnTo>
                      <a:pt x="1780" y="1356"/>
                    </a:lnTo>
                    <a:lnTo>
                      <a:pt x="1770" y="1352"/>
                    </a:lnTo>
                    <a:lnTo>
                      <a:pt x="1761" y="1349"/>
                    </a:lnTo>
                    <a:lnTo>
                      <a:pt x="1754" y="1346"/>
                    </a:lnTo>
                    <a:lnTo>
                      <a:pt x="1748" y="1341"/>
                    </a:lnTo>
                    <a:lnTo>
                      <a:pt x="1742" y="1338"/>
                    </a:lnTo>
                    <a:lnTo>
                      <a:pt x="1739" y="1334"/>
                    </a:lnTo>
                    <a:lnTo>
                      <a:pt x="1736" y="1329"/>
                    </a:lnTo>
                    <a:lnTo>
                      <a:pt x="1735" y="1325"/>
                    </a:lnTo>
                    <a:lnTo>
                      <a:pt x="1734" y="1321"/>
                    </a:lnTo>
                    <a:lnTo>
                      <a:pt x="1734" y="1315"/>
                    </a:lnTo>
                    <a:lnTo>
                      <a:pt x="1735" y="1310"/>
                    </a:lnTo>
                    <a:lnTo>
                      <a:pt x="1737" y="1305"/>
                    </a:lnTo>
                    <a:lnTo>
                      <a:pt x="1739" y="1298"/>
                    </a:lnTo>
                    <a:lnTo>
                      <a:pt x="1746" y="1284"/>
                    </a:lnTo>
                    <a:lnTo>
                      <a:pt x="1753" y="1267"/>
                    </a:lnTo>
                    <a:lnTo>
                      <a:pt x="1766" y="1257"/>
                    </a:lnTo>
                    <a:lnTo>
                      <a:pt x="1776" y="1248"/>
                    </a:lnTo>
                    <a:lnTo>
                      <a:pt x="1781" y="1245"/>
                    </a:lnTo>
                    <a:lnTo>
                      <a:pt x="1788" y="1243"/>
                    </a:lnTo>
                    <a:lnTo>
                      <a:pt x="1796" y="1241"/>
                    </a:lnTo>
                    <a:lnTo>
                      <a:pt x="1805" y="1240"/>
                    </a:lnTo>
                    <a:lnTo>
                      <a:pt x="1827" y="1239"/>
                    </a:lnTo>
                    <a:lnTo>
                      <a:pt x="1842" y="1235"/>
                    </a:lnTo>
                    <a:lnTo>
                      <a:pt x="1848" y="1234"/>
                    </a:lnTo>
                    <a:lnTo>
                      <a:pt x="1852" y="1232"/>
                    </a:lnTo>
                    <a:lnTo>
                      <a:pt x="1855" y="1229"/>
                    </a:lnTo>
                    <a:lnTo>
                      <a:pt x="1857" y="1226"/>
                    </a:lnTo>
                    <a:lnTo>
                      <a:pt x="1858" y="1221"/>
                    </a:lnTo>
                    <a:lnTo>
                      <a:pt x="1859" y="1217"/>
                    </a:lnTo>
                    <a:lnTo>
                      <a:pt x="1859" y="1212"/>
                    </a:lnTo>
                    <a:lnTo>
                      <a:pt x="1859" y="1206"/>
                    </a:lnTo>
                    <a:lnTo>
                      <a:pt x="1857" y="1191"/>
                    </a:lnTo>
                    <a:lnTo>
                      <a:pt x="1855" y="1173"/>
                    </a:lnTo>
                    <a:lnTo>
                      <a:pt x="1854" y="1165"/>
                    </a:lnTo>
                    <a:lnTo>
                      <a:pt x="1855" y="1159"/>
                    </a:lnTo>
                    <a:lnTo>
                      <a:pt x="1856" y="1153"/>
                    </a:lnTo>
                    <a:lnTo>
                      <a:pt x="1857" y="1149"/>
                    </a:lnTo>
                    <a:lnTo>
                      <a:pt x="1859" y="1147"/>
                    </a:lnTo>
                    <a:lnTo>
                      <a:pt x="1863" y="1145"/>
                    </a:lnTo>
                    <a:lnTo>
                      <a:pt x="1866" y="1144"/>
                    </a:lnTo>
                    <a:lnTo>
                      <a:pt x="1870" y="1143"/>
                    </a:lnTo>
                    <a:lnTo>
                      <a:pt x="1889" y="1146"/>
                    </a:lnTo>
                    <a:lnTo>
                      <a:pt x="1908" y="1150"/>
                    </a:lnTo>
                    <a:lnTo>
                      <a:pt x="1914" y="1150"/>
                    </a:lnTo>
                    <a:lnTo>
                      <a:pt x="1920" y="1147"/>
                    </a:lnTo>
                    <a:lnTo>
                      <a:pt x="1926" y="1143"/>
                    </a:lnTo>
                    <a:lnTo>
                      <a:pt x="1932" y="1136"/>
                    </a:lnTo>
                    <a:lnTo>
                      <a:pt x="1937" y="1129"/>
                    </a:lnTo>
                    <a:lnTo>
                      <a:pt x="1943" y="1120"/>
                    </a:lnTo>
                    <a:lnTo>
                      <a:pt x="1948" y="1110"/>
                    </a:lnTo>
                    <a:lnTo>
                      <a:pt x="1953" y="1100"/>
                    </a:lnTo>
                    <a:lnTo>
                      <a:pt x="1961" y="1079"/>
                    </a:lnTo>
                    <a:lnTo>
                      <a:pt x="1968" y="1058"/>
                    </a:lnTo>
                    <a:lnTo>
                      <a:pt x="1972" y="1040"/>
                    </a:lnTo>
                    <a:lnTo>
                      <a:pt x="1973" y="1027"/>
                    </a:lnTo>
                    <a:lnTo>
                      <a:pt x="1970" y="881"/>
                    </a:lnTo>
                    <a:lnTo>
                      <a:pt x="1971" y="869"/>
                    </a:lnTo>
                    <a:lnTo>
                      <a:pt x="1971" y="856"/>
                    </a:lnTo>
                    <a:lnTo>
                      <a:pt x="1970" y="842"/>
                    </a:lnTo>
                    <a:lnTo>
                      <a:pt x="1969" y="828"/>
                    </a:lnTo>
                    <a:lnTo>
                      <a:pt x="1966" y="801"/>
                    </a:lnTo>
                    <a:lnTo>
                      <a:pt x="1963" y="774"/>
                    </a:lnTo>
                    <a:lnTo>
                      <a:pt x="1963" y="741"/>
                    </a:lnTo>
                    <a:lnTo>
                      <a:pt x="1966" y="711"/>
                    </a:lnTo>
                    <a:lnTo>
                      <a:pt x="1966" y="695"/>
                    </a:lnTo>
                    <a:lnTo>
                      <a:pt x="1966" y="679"/>
                    </a:lnTo>
                    <a:lnTo>
                      <a:pt x="1965" y="663"/>
                    </a:lnTo>
                    <a:lnTo>
                      <a:pt x="1962" y="644"/>
                    </a:lnTo>
                    <a:lnTo>
                      <a:pt x="1962" y="644"/>
                    </a:lnTo>
                    <a:lnTo>
                      <a:pt x="1958" y="632"/>
                    </a:lnTo>
                    <a:lnTo>
                      <a:pt x="1953" y="621"/>
                    </a:lnTo>
                    <a:lnTo>
                      <a:pt x="1946" y="609"/>
                    </a:lnTo>
                    <a:lnTo>
                      <a:pt x="1939" y="598"/>
                    </a:lnTo>
                    <a:lnTo>
                      <a:pt x="1923" y="576"/>
                    </a:lnTo>
                    <a:lnTo>
                      <a:pt x="1909" y="553"/>
                    </a:lnTo>
                    <a:lnTo>
                      <a:pt x="1903" y="541"/>
                    </a:lnTo>
                    <a:lnTo>
                      <a:pt x="1896" y="528"/>
                    </a:lnTo>
                    <a:lnTo>
                      <a:pt x="1892" y="515"/>
                    </a:lnTo>
                    <a:lnTo>
                      <a:pt x="1888" y="502"/>
                    </a:lnTo>
                    <a:lnTo>
                      <a:pt x="1885" y="488"/>
                    </a:lnTo>
                    <a:lnTo>
                      <a:pt x="1884" y="473"/>
                    </a:lnTo>
                    <a:lnTo>
                      <a:pt x="1887" y="458"/>
                    </a:lnTo>
                    <a:lnTo>
                      <a:pt x="1890" y="441"/>
                    </a:lnTo>
                    <a:lnTo>
                      <a:pt x="1895" y="425"/>
                    </a:lnTo>
                    <a:lnTo>
                      <a:pt x="1903" y="404"/>
                    </a:lnTo>
                    <a:lnTo>
                      <a:pt x="1906" y="394"/>
                    </a:lnTo>
                    <a:lnTo>
                      <a:pt x="1909" y="386"/>
                    </a:lnTo>
                    <a:lnTo>
                      <a:pt x="1910" y="379"/>
                    </a:lnTo>
                    <a:lnTo>
                      <a:pt x="1909" y="377"/>
                    </a:lnTo>
                    <a:lnTo>
                      <a:pt x="1909" y="375"/>
                    </a:lnTo>
                    <a:lnTo>
                      <a:pt x="1908" y="373"/>
                    </a:lnTo>
                    <a:lnTo>
                      <a:pt x="1906" y="371"/>
                    </a:lnTo>
                    <a:lnTo>
                      <a:pt x="1904" y="370"/>
                    </a:lnTo>
                    <a:lnTo>
                      <a:pt x="1898" y="369"/>
                    </a:lnTo>
                    <a:lnTo>
                      <a:pt x="1891" y="369"/>
                    </a:lnTo>
                    <a:lnTo>
                      <a:pt x="1872" y="373"/>
                    </a:lnTo>
                    <a:lnTo>
                      <a:pt x="1850" y="377"/>
                    </a:lnTo>
                    <a:lnTo>
                      <a:pt x="1827" y="383"/>
                    </a:lnTo>
                    <a:lnTo>
                      <a:pt x="1804" y="389"/>
                    </a:lnTo>
                    <a:lnTo>
                      <a:pt x="1794" y="391"/>
                    </a:lnTo>
                    <a:lnTo>
                      <a:pt x="1786" y="392"/>
                    </a:lnTo>
                    <a:lnTo>
                      <a:pt x="1778" y="392"/>
                    </a:lnTo>
                    <a:lnTo>
                      <a:pt x="1773" y="391"/>
                    </a:lnTo>
                    <a:lnTo>
                      <a:pt x="1767" y="389"/>
                    </a:lnTo>
                    <a:lnTo>
                      <a:pt x="1763" y="384"/>
                    </a:lnTo>
                    <a:lnTo>
                      <a:pt x="1756" y="378"/>
                    </a:lnTo>
                    <a:lnTo>
                      <a:pt x="1751" y="370"/>
                    </a:lnTo>
                    <a:lnTo>
                      <a:pt x="1740" y="353"/>
                    </a:lnTo>
                    <a:lnTo>
                      <a:pt x="1730" y="334"/>
                    </a:lnTo>
                    <a:lnTo>
                      <a:pt x="1712" y="293"/>
                    </a:lnTo>
                    <a:lnTo>
                      <a:pt x="1700" y="262"/>
                    </a:lnTo>
                    <a:lnTo>
                      <a:pt x="1694" y="244"/>
                    </a:lnTo>
                    <a:lnTo>
                      <a:pt x="1688" y="225"/>
                    </a:lnTo>
                    <a:lnTo>
                      <a:pt x="1684" y="206"/>
                    </a:lnTo>
                    <a:lnTo>
                      <a:pt x="1680" y="188"/>
                    </a:lnTo>
                    <a:lnTo>
                      <a:pt x="1675" y="170"/>
                    </a:lnTo>
                    <a:lnTo>
                      <a:pt x="1670" y="152"/>
                    </a:lnTo>
                    <a:lnTo>
                      <a:pt x="1664" y="136"/>
                    </a:lnTo>
                    <a:lnTo>
                      <a:pt x="1658" y="121"/>
                    </a:lnTo>
                    <a:lnTo>
                      <a:pt x="1655" y="113"/>
                    </a:lnTo>
                    <a:lnTo>
                      <a:pt x="1650" y="107"/>
                    </a:lnTo>
                    <a:lnTo>
                      <a:pt x="1646" y="100"/>
                    </a:lnTo>
                    <a:lnTo>
                      <a:pt x="1641" y="95"/>
                    </a:lnTo>
                    <a:lnTo>
                      <a:pt x="1635" y="90"/>
                    </a:lnTo>
                    <a:lnTo>
                      <a:pt x="1630" y="85"/>
                    </a:lnTo>
                    <a:lnTo>
                      <a:pt x="1623" y="81"/>
                    </a:lnTo>
                    <a:lnTo>
                      <a:pt x="1616" y="77"/>
                    </a:lnTo>
                    <a:lnTo>
                      <a:pt x="1608" y="73"/>
                    </a:lnTo>
                    <a:lnTo>
                      <a:pt x="1599" y="71"/>
                    </a:lnTo>
                    <a:lnTo>
                      <a:pt x="1590" y="69"/>
                    </a:lnTo>
                    <a:lnTo>
                      <a:pt x="1580" y="68"/>
                    </a:lnTo>
                    <a:lnTo>
                      <a:pt x="1569" y="68"/>
                    </a:lnTo>
                    <a:lnTo>
                      <a:pt x="1557" y="68"/>
                    </a:lnTo>
                    <a:lnTo>
                      <a:pt x="1544" y="69"/>
                    </a:lnTo>
                    <a:lnTo>
                      <a:pt x="1531" y="71"/>
                    </a:lnTo>
                    <a:lnTo>
                      <a:pt x="1402" y="6"/>
                    </a:lnTo>
                    <a:lnTo>
                      <a:pt x="1402" y="6"/>
                    </a:lnTo>
                    <a:lnTo>
                      <a:pt x="1398" y="11"/>
                    </a:lnTo>
                    <a:lnTo>
                      <a:pt x="1393" y="15"/>
                    </a:lnTo>
                    <a:lnTo>
                      <a:pt x="1391" y="20"/>
                    </a:lnTo>
                    <a:lnTo>
                      <a:pt x="1389" y="26"/>
                    </a:lnTo>
                    <a:lnTo>
                      <a:pt x="1386" y="36"/>
                    </a:lnTo>
                    <a:lnTo>
                      <a:pt x="1386" y="46"/>
                    </a:lnTo>
                    <a:lnTo>
                      <a:pt x="1386" y="56"/>
                    </a:lnTo>
                    <a:lnTo>
                      <a:pt x="1389" y="67"/>
                    </a:lnTo>
                    <a:lnTo>
                      <a:pt x="1392" y="78"/>
                    </a:lnTo>
                    <a:lnTo>
                      <a:pt x="1396" y="89"/>
                    </a:lnTo>
                    <a:lnTo>
                      <a:pt x="1405" y="109"/>
                    </a:lnTo>
                    <a:lnTo>
                      <a:pt x="1412" y="130"/>
                    </a:lnTo>
                    <a:lnTo>
                      <a:pt x="1415" y="139"/>
                    </a:lnTo>
                    <a:lnTo>
                      <a:pt x="1415" y="148"/>
                    </a:lnTo>
                    <a:lnTo>
                      <a:pt x="1415" y="157"/>
                    </a:lnTo>
                    <a:lnTo>
                      <a:pt x="1412" y="165"/>
                    </a:lnTo>
                    <a:lnTo>
                      <a:pt x="1411" y="167"/>
                    </a:lnTo>
                    <a:lnTo>
                      <a:pt x="1408" y="170"/>
                    </a:lnTo>
                    <a:lnTo>
                      <a:pt x="1404" y="172"/>
                    </a:lnTo>
                    <a:lnTo>
                      <a:pt x="1401" y="174"/>
                    </a:lnTo>
                    <a:lnTo>
                      <a:pt x="1391" y="177"/>
                    </a:lnTo>
                    <a:lnTo>
                      <a:pt x="1379" y="180"/>
                    </a:lnTo>
                    <a:lnTo>
                      <a:pt x="1350" y="184"/>
                    </a:lnTo>
                    <a:lnTo>
                      <a:pt x="1318" y="187"/>
                    </a:lnTo>
                    <a:lnTo>
                      <a:pt x="1283" y="189"/>
                    </a:lnTo>
                    <a:lnTo>
                      <a:pt x="1250" y="190"/>
                    </a:lnTo>
                    <a:lnTo>
                      <a:pt x="1236" y="192"/>
                    </a:lnTo>
                    <a:lnTo>
                      <a:pt x="1223" y="193"/>
                    </a:lnTo>
                    <a:lnTo>
                      <a:pt x="1211" y="195"/>
                    </a:lnTo>
                    <a:lnTo>
                      <a:pt x="1203" y="198"/>
                    </a:lnTo>
                    <a:lnTo>
                      <a:pt x="1192" y="202"/>
                    </a:lnTo>
                    <a:lnTo>
                      <a:pt x="1182" y="204"/>
                    </a:lnTo>
                    <a:lnTo>
                      <a:pt x="1173" y="204"/>
                    </a:lnTo>
                    <a:lnTo>
                      <a:pt x="1166" y="203"/>
                    </a:lnTo>
                    <a:lnTo>
                      <a:pt x="1160" y="200"/>
                    </a:lnTo>
                    <a:lnTo>
                      <a:pt x="1155" y="197"/>
                    </a:lnTo>
                    <a:lnTo>
                      <a:pt x="1151" y="191"/>
                    </a:lnTo>
                    <a:lnTo>
                      <a:pt x="1146" y="186"/>
                    </a:lnTo>
                    <a:lnTo>
                      <a:pt x="1138" y="174"/>
                    </a:lnTo>
                    <a:lnTo>
                      <a:pt x="1130" y="160"/>
                    </a:lnTo>
                    <a:lnTo>
                      <a:pt x="1126" y="153"/>
                    </a:lnTo>
                    <a:lnTo>
                      <a:pt x="1120" y="148"/>
                    </a:lnTo>
                    <a:lnTo>
                      <a:pt x="1115" y="141"/>
                    </a:lnTo>
                    <a:lnTo>
                      <a:pt x="1107" y="137"/>
                    </a:lnTo>
                    <a:lnTo>
                      <a:pt x="1099" y="133"/>
                    </a:lnTo>
                    <a:lnTo>
                      <a:pt x="1089" y="130"/>
                    </a:lnTo>
                    <a:lnTo>
                      <a:pt x="1080" y="127"/>
                    </a:lnTo>
                    <a:lnTo>
                      <a:pt x="1072" y="126"/>
                    </a:lnTo>
                    <a:lnTo>
                      <a:pt x="1055" y="125"/>
                    </a:lnTo>
                    <a:lnTo>
                      <a:pt x="1042" y="123"/>
                    </a:lnTo>
                    <a:lnTo>
                      <a:pt x="1038" y="120"/>
                    </a:lnTo>
                    <a:lnTo>
                      <a:pt x="1035" y="116"/>
                    </a:lnTo>
                    <a:lnTo>
                      <a:pt x="1033" y="110"/>
                    </a:lnTo>
                    <a:lnTo>
                      <a:pt x="1033" y="101"/>
                    </a:lnTo>
                    <a:lnTo>
                      <a:pt x="1035" y="92"/>
                    </a:lnTo>
                    <a:lnTo>
                      <a:pt x="1038" y="78"/>
                    </a:lnTo>
                    <a:lnTo>
                      <a:pt x="1045" y="60"/>
                    </a:lnTo>
                    <a:lnTo>
                      <a:pt x="1053" y="40"/>
                    </a:lnTo>
                    <a:lnTo>
                      <a:pt x="1048" y="37"/>
                    </a:lnTo>
                    <a:lnTo>
                      <a:pt x="1034" y="28"/>
                    </a:lnTo>
                    <a:lnTo>
                      <a:pt x="1025" y="23"/>
                    </a:lnTo>
                    <a:lnTo>
                      <a:pt x="1014" y="17"/>
                    </a:lnTo>
                    <a:lnTo>
                      <a:pt x="1002" y="12"/>
                    </a:lnTo>
                    <a:lnTo>
                      <a:pt x="990" y="6"/>
                    </a:lnTo>
                    <a:lnTo>
                      <a:pt x="977" y="3"/>
                    </a:lnTo>
                    <a:lnTo>
                      <a:pt x="965" y="1"/>
                    </a:lnTo>
                    <a:lnTo>
                      <a:pt x="952" y="0"/>
                    </a:lnTo>
                    <a:lnTo>
                      <a:pt x="942" y="2"/>
                    </a:lnTo>
                    <a:lnTo>
                      <a:pt x="936" y="3"/>
                    </a:lnTo>
                    <a:lnTo>
                      <a:pt x="931" y="5"/>
                    </a:lnTo>
                    <a:lnTo>
                      <a:pt x="926" y="9"/>
                    </a:lnTo>
                    <a:lnTo>
                      <a:pt x="922" y="13"/>
                    </a:lnTo>
                    <a:lnTo>
                      <a:pt x="918" y="17"/>
                    </a:lnTo>
                    <a:lnTo>
                      <a:pt x="914" y="23"/>
                    </a:lnTo>
                    <a:lnTo>
                      <a:pt x="911" y="29"/>
                    </a:lnTo>
                    <a:lnTo>
                      <a:pt x="909" y="37"/>
                    </a:lnTo>
                    <a:lnTo>
                      <a:pt x="903" y="53"/>
                    </a:lnTo>
                    <a:lnTo>
                      <a:pt x="895" y="69"/>
                    </a:lnTo>
                    <a:lnTo>
                      <a:pt x="886" y="85"/>
                    </a:lnTo>
                    <a:lnTo>
                      <a:pt x="878" y="100"/>
                    </a:lnTo>
                    <a:lnTo>
                      <a:pt x="868" y="116"/>
                    </a:lnTo>
                    <a:lnTo>
                      <a:pt x="858" y="131"/>
                    </a:lnTo>
                    <a:lnTo>
                      <a:pt x="851" y="147"/>
                    </a:lnTo>
                    <a:lnTo>
                      <a:pt x="843" y="163"/>
                    </a:lnTo>
                    <a:lnTo>
                      <a:pt x="842" y="172"/>
                    </a:lnTo>
                    <a:lnTo>
                      <a:pt x="842" y="178"/>
                    </a:lnTo>
                    <a:lnTo>
                      <a:pt x="844" y="185"/>
                    </a:lnTo>
                    <a:lnTo>
                      <a:pt x="847" y="190"/>
                    </a:lnTo>
                    <a:lnTo>
                      <a:pt x="853" y="194"/>
                    </a:lnTo>
                    <a:lnTo>
                      <a:pt x="859" y="199"/>
                    </a:lnTo>
                    <a:lnTo>
                      <a:pt x="867" y="203"/>
                    </a:lnTo>
                    <a:lnTo>
                      <a:pt x="874" y="206"/>
                    </a:lnTo>
                    <a:lnTo>
                      <a:pt x="890" y="214"/>
                    </a:lnTo>
                    <a:lnTo>
                      <a:pt x="904" y="221"/>
                    </a:lnTo>
                    <a:lnTo>
                      <a:pt x="910" y="227"/>
                    </a:lnTo>
                    <a:lnTo>
                      <a:pt x="914" y="232"/>
                    </a:lnTo>
                    <a:lnTo>
                      <a:pt x="918" y="239"/>
                    </a:lnTo>
                    <a:lnTo>
                      <a:pt x="918" y="246"/>
                    </a:lnTo>
                    <a:lnTo>
                      <a:pt x="910" y="248"/>
                    </a:lnTo>
                    <a:lnTo>
                      <a:pt x="901" y="253"/>
                    </a:lnTo>
                    <a:lnTo>
                      <a:pt x="891" y="258"/>
                    </a:lnTo>
                    <a:lnTo>
                      <a:pt x="880" y="263"/>
                    </a:lnTo>
                    <a:lnTo>
                      <a:pt x="857" y="279"/>
                    </a:lnTo>
                    <a:lnTo>
                      <a:pt x="833" y="296"/>
                    </a:lnTo>
                    <a:lnTo>
                      <a:pt x="809" y="314"/>
                    </a:lnTo>
                    <a:lnTo>
                      <a:pt x="785" y="330"/>
                    </a:lnTo>
                    <a:lnTo>
                      <a:pt x="765" y="346"/>
                    </a:lnTo>
                    <a:lnTo>
                      <a:pt x="748" y="357"/>
                    </a:lnTo>
                    <a:lnTo>
                      <a:pt x="744" y="359"/>
                    </a:lnTo>
                    <a:lnTo>
                      <a:pt x="738" y="357"/>
                    </a:lnTo>
                    <a:lnTo>
                      <a:pt x="731" y="354"/>
                    </a:lnTo>
                    <a:lnTo>
                      <a:pt x="723" y="350"/>
                    </a:lnTo>
                    <a:lnTo>
                      <a:pt x="703" y="337"/>
                    </a:lnTo>
                    <a:lnTo>
                      <a:pt x="681" y="322"/>
                    </a:lnTo>
                    <a:lnTo>
                      <a:pt x="658" y="305"/>
                    </a:lnTo>
                    <a:lnTo>
                      <a:pt x="636" y="289"/>
                    </a:lnTo>
                    <a:lnTo>
                      <a:pt x="626" y="283"/>
                    </a:lnTo>
                    <a:lnTo>
                      <a:pt x="616" y="276"/>
                    </a:lnTo>
                    <a:lnTo>
                      <a:pt x="609" y="272"/>
                    </a:lnTo>
                    <a:lnTo>
                      <a:pt x="602" y="270"/>
                    </a:lnTo>
                    <a:lnTo>
                      <a:pt x="454" y="256"/>
                    </a:lnTo>
                    <a:lnTo>
                      <a:pt x="454" y="256"/>
                    </a:lnTo>
                    <a:lnTo>
                      <a:pt x="424" y="354"/>
                    </a:lnTo>
                    <a:lnTo>
                      <a:pt x="427" y="364"/>
                    </a:lnTo>
                    <a:lnTo>
                      <a:pt x="429" y="377"/>
                    </a:lnTo>
                    <a:lnTo>
                      <a:pt x="431" y="394"/>
                    </a:lnTo>
                    <a:lnTo>
                      <a:pt x="431" y="414"/>
                    </a:lnTo>
                    <a:lnTo>
                      <a:pt x="430" y="434"/>
                    </a:lnTo>
                    <a:lnTo>
                      <a:pt x="429" y="457"/>
                    </a:lnTo>
                    <a:lnTo>
                      <a:pt x="426" y="479"/>
                    </a:lnTo>
                    <a:lnTo>
                      <a:pt x="422" y="503"/>
                    </a:lnTo>
                    <a:lnTo>
                      <a:pt x="417" y="526"/>
                    </a:lnTo>
                    <a:lnTo>
                      <a:pt x="412" y="548"/>
                    </a:lnTo>
                    <a:lnTo>
                      <a:pt x="405" y="567"/>
                    </a:lnTo>
                    <a:lnTo>
                      <a:pt x="398" y="584"/>
                    </a:lnTo>
                    <a:lnTo>
                      <a:pt x="393" y="592"/>
                    </a:lnTo>
                    <a:lnTo>
                      <a:pt x="389" y="598"/>
                    </a:lnTo>
                    <a:lnTo>
                      <a:pt x="385" y="604"/>
                    </a:lnTo>
                    <a:lnTo>
                      <a:pt x="380" y="609"/>
                    </a:lnTo>
                    <a:lnTo>
                      <a:pt x="375" y="612"/>
                    </a:lnTo>
                    <a:lnTo>
                      <a:pt x="369" y="614"/>
                    </a:lnTo>
                    <a:lnTo>
                      <a:pt x="364" y="617"/>
                    </a:lnTo>
                    <a:lnTo>
                      <a:pt x="359" y="617"/>
                    </a:lnTo>
                    <a:lnTo>
                      <a:pt x="351" y="617"/>
                    </a:lnTo>
                    <a:lnTo>
                      <a:pt x="343" y="618"/>
                    </a:lnTo>
                    <a:lnTo>
                      <a:pt x="337" y="621"/>
                    </a:lnTo>
                    <a:lnTo>
                      <a:pt x="330" y="624"/>
                    </a:lnTo>
                    <a:lnTo>
                      <a:pt x="326" y="630"/>
                    </a:lnTo>
                    <a:lnTo>
                      <a:pt x="321" y="636"/>
                    </a:lnTo>
                    <a:lnTo>
                      <a:pt x="317" y="643"/>
                    </a:lnTo>
                    <a:lnTo>
                      <a:pt x="314" y="650"/>
                    </a:lnTo>
                    <a:lnTo>
                      <a:pt x="309" y="666"/>
                    </a:lnTo>
                    <a:lnTo>
                      <a:pt x="304" y="683"/>
                    </a:lnTo>
                    <a:lnTo>
                      <a:pt x="302" y="700"/>
                    </a:lnTo>
                    <a:lnTo>
                      <a:pt x="300" y="714"/>
                    </a:lnTo>
                    <a:lnTo>
                      <a:pt x="297" y="737"/>
                    </a:lnTo>
                    <a:lnTo>
                      <a:pt x="292" y="760"/>
                    </a:lnTo>
                    <a:lnTo>
                      <a:pt x="286" y="784"/>
                    </a:lnTo>
                    <a:lnTo>
                      <a:pt x="279" y="809"/>
                    </a:lnTo>
                    <a:lnTo>
                      <a:pt x="273" y="833"/>
                    </a:lnTo>
                    <a:lnTo>
                      <a:pt x="267" y="856"/>
                    </a:lnTo>
                    <a:lnTo>
                      <a:pt x="264" y="880"/>
                    </a:lnTo>
                    <a:lnTo>
                      <a:pt x="263" y="902"/>
                    </a:lnTo>
                    <a:lnTo>
                      <a:pt x="274" y="914"/>
                    </a:lnTo>
                    <a:lnTo>
                      <a:pt x="284" y="926"/>
                    </a:lnTo>
                    <a:lnTo>
                      <a:pt x="292" y="937"/>
                    </a:lnTo>
                    <a:lnTo>
                      <a:pt x="301" y="949"/>
                    </a:lnTo>
                    <a:lnTo>
                      <a:pt x="308" y="962"/>
                    </a:lnTo>
                    <a:lnTo>
                      <a:pt x="314" y="974"/>
                    </a:lnTo>
                    <a:lnTo>
                      <a:pt x="320" y="987"/>
                    </a:lnTo>
                    <a:lnTo>
                      <a:pt x="324" y="1000"/>
                    </a:lnTo>
                    <a:lnTo>
                      <a:pt x="327" y="1014"/>
                    </a:lnTo>
                    <a:lnTo>
                      <a:pt x="329" y="1027"/>
                    </a:lnTo>
                    <a:lnTo>
                      <a:pt x="330" y="1041"/>
                    </a:lnTo>
                    <a:lnTo>
                      <a:pt x="330" y="1055"/>
                    </a:lnTo>
                    <a:lnTo>
                      <a:pt x="330" y="1070"/>
                    </a:lnTo>
                    <a:lnTo>
                      <a:pt x="328" y="1084"/>
                    </a:lnTo>
                    <a:lnTo>
                      <a:pt x="325" y="1100"/>
                    </a:lnTo>
                    <a:lnTo>
                      <a:pt x="321" y="1116"/>
                    </a:lnTo>
                    <a:lnTo>
                      <a:pt x="312" y="1142"/>
                    </a:lnTo>
                    <a:lnTo>
                      <a:pt x="304" y="1166"/>
                    </a:lnTo>
                    <a:lnTo>
                      <a:pt x="296" y="1189"/>
                    </a:lnTo>
                    <a:lnTo>
                      <a:pt x="288" y="1212"/>
                    </a:lnTo>
                    <a:lnTo>
                      <a:pt x="279" y="1233"/>
                    </a:lnTo>
                    <a:lnTo>
                      <a:pt x="270" y="1256"/>
                    </a:lnTo>
                    <a:lnTo>
                      <a:pt x="259" y="1279"/>
                    </a:lnTo>
                    <a:lnTo>
                      <a:pt x="248" y="1302"/>
                    </a:lnTo>
                    <a:lnTo>
                      <a:pt x="223" y="1351"/>
                    </a:lnTo>
                    <a:lnTo>
                      <a:pt x="223" y="1351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03" name="Freeform 18">
                <a:extLst>
                  <a:ext uri="{FF2B5EF4-FFF2-40B4-BE49-F238E27FC236}">
                    <a16:creationId xmlns:a16="http://schemas.microsoft.com/office/drawing/2014/main" id="{E8F6D5AF-47CD-4DC3-BADD-7DE72D17CF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18901" y="-163108"/>
                <a:ext cx="784224" cy="990600"/>
              </a:xfrm>
              <a:custGeom>
                <a:avLst/>
                <a:gdLst>
                  <a:gd name="T0" fmla="*/ 204 w 1973"/>
                  <a:gd name="T1" fmla="*/ 1642 h 2494"/>
                  <a:gd name="T2" fmla="*/ 249 w 1973"/>
                  <a:gd name="T3" fmla="*/ 1717 h 2494"/>
                  <a:gd name="T4" fmla="*/ 252 w 1973"/>
                  <a:gd name="T5" fmla="*/ 1805 h 2494"/>
                  <a:gd name="T6" fmla="*/ 307 w 1973"/>
                  <a:gd name="T7" fmla="*/ 1907 h 2494"/>
                  <a:gd name="T8" fmla="*/ 238 w 1973"/>
                  <a:gd name="T9" fmla="*/ 1996 h 2494"/>
                  <a:gd name="T10" fmla="*/ 127 w 1973"/>
                  <a:gd name="T11" fmla="*/ 1980 h 2494"/>
                  <a:gd name="T12" fmla="*/ 52 w 1973"/>
                  <a:gd name="T13" fmla="*/ 1989 h 2494"/>
                  <a:gd name="T14" fmla="*/ 7 w 1973"/>
                  <a:gd name="T15" fmla="*/ 2071 h 2494"/>
                  <a:gd name="T16" fmla="*/ 88 w 1973"/>
                  <a:gd name="T17" fmla="*/ 2165 h 2494"/>
                  <a:gd name="T18" fmla="*/ 174 w 1973"/>
                  <a:gd name="T19" fmla="*/ 2215 h 2494"/>
                  <a:gd name="T20" fmla="*/ 139 w 1973"/>
                  <a:gd name="T21" fmla="*/ 2351 h 2494"/>
                  <a:gd name="T22" fmla="*/ 188 w 1973"/>
                  <a:gd name="T23" fmla="*/ 2422 h 2494"/>
                  <a:gd name="T24" fmla="*/ 243 w 1973"/>
                  <a:gd name="T25" fmla="*/ 2435 h 2494"/>
                  <a:gd name="T26" fmla="*/ 305 w 1973"/>
                  <a:gd name="T27" fmla="*/ 2456 h 2494"/>
                  <a:gd name="T28" fmla="*/ 534 w 1973"/>
                  <a:gd name="T29" fmla="*/ 2483 h 2494"/>
                  <a:gd name="T30" fmla="*/ 576 w 1973"/>
                  <a:gd name="T31" fmla="*/ 2428 h 2494"/>
                  <a:gd name="T32" fmla="*/ 586 w 1973"/>
                  <a:gd name="T33" fmla="*/ 2294 h 2494"/>
                  <a:gd name="T34" fmla="*/ 667 w 1973"/>
                  <a:gd name="T35" fmla="*/ 2304 h 2494"/>
                  <a:gd name="T36" fmla="*/ 832 w 1973"/>
                  <a:gd name="T37" fmla="*/ 2255 h 2494"/>
                  <a:gd name="T38" fmla="*/ 931 w 1973"/>
                  <a:gd name="T39" fmla="*/ 2197 h 2494"/>
                  <a:gd name="T40" fmla="*/ 1102 w 1973"/>
                  <a:gd name="T41" fmla="*/ 2124 h 2494"/>
                  <a:gd name="T42" fmla="*/ 1261 w 1973"/>
                  <a:gd name="T43" fmla="*/ 2056 h 2494"/>
                  <a:gd name="T44" fmla="*/ 1387 w 1973"/>
                  <a:gd name="T45" fmla="*/ 1936 h 2494"/>
                  <a:gd name="T46" fmla="*/ 1469 w 1973"/>
                  <a:gd name="T47" fmla="*/ 1867 h 2494"/>
                  <a:gd name="T48" fmla="*/ 1449 w 1973"/>
                  <a:gd name="T49" fmla="*/ 1773 h 2494"/>
                  <a:gd name="T50" fmla="*/ 1424 w 1973"/>
                  <a:gd name="T51" fmla="*/ 1693 h 2494"/>
                  <a:gd name="T52" fmla="*/ 1547 w 1973"/>
                  <a:gd name="T53" fmla="*/ 1613 h 2494"/>
                  <a:gd name="T54" fmla="*/ 1633 w 1973"/>
                  <a:gd name="T55" fmla="*/ 1511 h 2494"/>
                  <a:gd name="T56" fmla="*/ 1724 w 1973"/>
                  <a:gd name="T57" fmla="*/ 1475 h 2494"/>
                  <a:gd name="T58" fmla="*/ 1830 w 1973"/>
                  <a:gd name="T59" fmla="*/ 1496 h 2494"/>
                  <a:gd name="T60" fmla="*/ 1786 w 1973"/>
                  <a:gd name="T61" fmla="*/ 1443 h 2494"/>
                  <a:gd name="T62" fmla="*/ 1788 w 1973"/>
                  <a:gd name="T63" fmla="*/ 1362 h 2494"/>
                  <a:gd name="T64" fmla="*/ 1734 w 1973"/>
                  <a:gd name="T65" fmla="*/ 1315 h 2494"/>
                  <a:gd name="T66" fmla="*/ 1805 w 1973"/>
                  <a:gd name="T67" fmla="*/ 1240 h 2494"/>
                  <a:gd name="T68" fmla="*/ 1857 w 1973"/>
                  <a:gd name="T69" fmla="*/ 1191 h 2494"/>
                  <a:gd name="T70" fmla="*/ 1908 w 1973"/>
                  <a:gd name="T71" fmla="*/ 1150 h 2494"/>
                  <a:gd name="T72" fmla="*/ 1972 w 1973"/>
                  <a:gd name="T73" fmla="*/ 1040 h 2494"/>
                  <a:gd name="T74" fmla="*/ 1966 w 1973"/>
                  <a:gd name="T75" fmla="*/ 695 h 2494"/>
                  <a:gd name="T76" fmla="*/ 1903 w 1973"/>
                  <a:gd name="T77" fmla="*/ 541 h 2494"/>
                  <a:gd name="T78" fmla="*/ 1909 w 1973"/>
                  <a:gd name="T79" fmla="*/ 386 h 2494"/>
                  <a:gd name="T80" fmla="*/ 1827 w 1973"/>
                  <a:gd name="T81" fmla="*/ 383 h 2494"/>
                  <a:gd name="T82" fmla="*/ 1730 w 1973"/>
                  <a:gd name="T83" fmla="*/ 334 h 2494"/>
                  <a:gd name="T84" fmla="*/ 1655 w 1973"/>
                  <a:gd name="T85" fmla="*/ 113 h 2494"/>
                  <a:gd name="T86" fmla="*/ 1580 w 1973"/>
                  <a:gd name="T87" fmla="*/ 68 h 2494"/>
                  <a:gd name="T88" fmla="*/ 1386 w 1973"/>
                  <a:gd name="T89" fmla="*/ 36 h 2494"/>
                  <a:gd name="T90" fmla="*/ 1412 w 1973"/>
                  <a:gd name="T91" fmla="*/ 165 h 2494"/>
                  <a:gd name="T92" fmla="*/ 1236 w 1973"/>
                  <a:gd name="T93" fmla="*/ 192 h 2494"/>
                  <a:gd name="T94" fmla="*/ 1146 w 1973"/>
                  <a:gd name="T95" fmla="*/ 186 h 2494"/>
                  <a:gd name="T96" fmla="*/ 1055 w 1973"/>
                  <a:gd name="T97" fmla="*/ 125 h 2494"/>
                  <a:gd name="T98" fmla="*/ 1034 w 1973"/>
                  <a:gd name="T99" fmla="*/ 28 h 2494"/>
                  <a:gd name="T100" fmla="*/ 926 w 1973"/>
                  <a:gd name="T101" fmla="*/ 9 h 2494"/>
                  <a:gd name="T102" fmla="*/ 858 w 1973"/>
                  <a:gd name="T103" fmla="*/ 131 h 2494"/>
                  <a:gd name="T104" fmla="*/ 890 w 1973"/>
                  <a:gd name="T105" fmla="*/ 214 h 2494"/>
                  <a:gd name="T106" fmla="*/ 833 w 1973"/>
                  <a:gd name="T107" fmla="*/ 296 h 2494"/>
                  <a:gd name="T108" fmla="*/ 658 w 1973"/>
                  <a:gd name="T109" fmla="*/ 305 h 2494"/>
                  <a:gd name="T110" fmla="*/ 431 w 1973"/>
                  <a:gd name="T111" fmla="*/ 394 h 2494"/>
                  <a:gd name="T112" fmla="*/ 389 w 1973"/>
                  <a:gd name="T113" fmla="*/ 598 h 2494"/>
                  <a:gd name="T114" fmla="*/ 326 w 1973"/>
                  <a:gd name="T115" fmla="*/ 630 h 2494"/>
                  <a:gd name="T116" fmla="*/ 279 w 1973"/>
                  <a:gd name="T117" fmla="*/ 809 h 2494"/>
                  <a:gd name="T118" fmla="*/ 320 w 1973"/>
                  <a:gd name="T119" fmla="*/ 987 h 2494"/>
                  <a:gd name="T120" fmla="*/ 304 w 1973"/>
                  <a:gd name="T121" fmla="*/ 1166 h 2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973" h="2494">
                    <a:moveTo>
                      <a:pt x="223" y="1351"/>
                    </a:moveTo>
                    <a:lnTo>
                      <a:pt x="220" y="1477"/>
                    </a:lnTo>
                    <a:lnTo>
                      <a:pt x="221" y="1494"/>
                    </a:lnTo>
                    <a:lnTo>
                      <a:pt x="222" y="1511"/>
                    </a:lnTo>
                    <a:lnTo>
                      <a:pt x="220" y="1527"/>
                    </a:lnTo>
                    <a:lnTo>
                      <a:pt x="218" y="1543"/>
                    </a:lnTo>
                    <a:lnTo>
                      <a:pt x="211" y="1576"/>
                    </a:lnTo>
                    <a:lnTo>
                      <a:pt x="205" y="1608"/>
                    </a:lnTo>
                    <a:lnTo>
                      <a:pt x="204" y="1621"/>
                    </a:lnTo>
                    <a:lnTo>
                      <a:pt x="204" y="1632"/>
                    </a:lnTo>
                    <a:lnTo>
                      <a:pt x="204" y="1642"/>
                    </a:lnTo>
                    <a:lnTo>
                      <a:pt x="206" y="1649"/>
                    </a:lnTo>
                    <a:lnTo>
                      <a:pt x="208" y="1657"/>
                    </a:lnTo>
                    <a:lnTo>
                      <a:pt x="211" y="1663"/>
                    </a:lnTo>
                    <a:lnTo>
                      <a:pt x="214" y="1669"/>
                    </a:lnTo>
                    <a:lnTo>
                      <a:pt x="219" y="1673"/>
                    </a:lnTo>
                    <a:lnTo>
                      <a:pt x="227" y="1683"/>
                    </a:lnTo>
                    <a:lnTo>
                      <a:pt x="236" y="1691"/>
                    </a:lnTo>
                    <a:lnTo>
                      <a:pt x="240" y="1697"/>
                    </a:lnTo>
                    <a:lnTo>
                      <a:pt x="244" y="1703"/>
                    </a:lnTo>
                    <a:lnTo>
                      <a:pt x="247" y="1710"/>
                    </a:lnTo>
                    <a:lnTo>
                      <a:pt x="249" y="1717"/>
                    </a:lnTo>
                    <a:lnTo>
                      <a:pt x="252" y="1718"/>
                    </a:lnTo>
                    <a:lnTo>
                      <a:pt x="254" y="1721"/>
                    </a:lnTo>
                    <a:lnTo>
                      <a:pt x="257" y="1726"/>
                    </a:lnTo>
                    <a:lnTo>
                      <a:pt x="257" y="1730"/>
                    </a:lnTo>
                    <a:lnTo>
                      <a:pt x="257" y="1743"/>
                    </a:lnTo>
                    <a:lnTo>
                      <a:pt x="256" y="1758"/>
                    </a:lnTo>
                    <a:lnTo>
                      <a:pt x="253" y="1773"/>
                    </a:lnTo>
                    <a:lnTo>
                      <a:pt x="252" y="1787"/>
                    </a:lnTo>
                    <a:lnTo>
                      <a:pt x="251" y="1794"/>
                    </a:lnTo>
                    <a:lnTo>
                      <a:pt x="251" y="1800"/>
                    </a:lnTo>
                    <a:lnTo>
                      <a:pt x="252" y="1805"/>
                    </a:lnTo>
                    <a:lnTo>
                      <a:pt x="253" y="1809"/>
                    </a:lnTo>
                    <a:lnTo>
                      <a:pt x="260" y="1821"/>
                    </a:lnTo>
                    <a:lnTo>
                      <a:pt x="266" y="1832"/>
                    </a:lnTo>
                    <a:lnTo>
                      <a:pt x="273" y="1840"/>
                    </a:lnTo>
                    <a:lnTo>
                      <a:pt x="279" y="1849"/>
                    </a:lnTo>
                    <a:lnTo>
                      <a:pt x="291" y="1863"/>
                    </a:lnTo>
                    <a:lnTo>
                      <a:pt x="300" y="1876"/>
                    </a:lnTo>
                    <a:lnTo>
                      <a:pt x="303" y="1882"/>
                    </a:lnTo>
                    <a:lnTo>
                      <a:pt x="305" y="1890"/>
                    </a:lnTo>
                    <a:lnTo>
                      <a:pt x="307" y="1898"/>
                    </a:lnTo>
                    <a:lnTo>
                      <a:pt x="307" y="1907"/>
                    </a:lnTo>
                    <a:lnTo>
                      <a:pt x="304" y="1917"/>
                    </a:lnTo>
                    <a:lnTo>
                      <a:pt x="301" y="1929"/>
                    </a:lnTo>
                    <a:lnTo>
                      <a:pt x="296" y="1942"/>
                    </a:lnTo>
                    <a:lnTo>
                      <a:pt x="288" y="1958"/>
                    </a:lnTo>
                    <a:lnTo>
                      <a:pt x="283" y="1966"/>
                    </a:lnTo>
                    <a:lnTo>
                      <a:pt x="277" y="1973"/>
                    </a:lnTo>
                    <a:lnTo>
                      <a:pt x="271" y="1980"/>
                    </a:lnTo>
                    <a:lnTo>
                      <a:pt x="263" y="1985"/>
                    </a:lnTo>
                    <a:lnTo>
                      <a:pt x="256" y="1989"/>
                    </a:lnTo>
                    <a:lnTo>
                      <a:pt x="247" y="1994"/>
                    </a:lnTo>
                    <a:lnTo>
                      <a:pt x="238" y="1996"/>
                    </a:lnTo>
                    <a:lnTo>
                      <a:pt x="228" y="1998"/>
                    </a:lnTo>
                    <a:lnTo>
                      <a:pt x="220" y="2000"/>
                    </a:lnTo>
                    <a:lnTo>
                      <a:pt x="210" y="2000"/>
                    </a:lnTo>
                    <a:lnTo>
                      <a:pt x="200" y="2000"/>
                    </a:lnTo>
                    <a:lnTo>
                      <a:pt x="191" y="2000"/>
                    </a:lnTo>
                    <a:lnTo>
                      <a:pt x="171" y="1997"/>
                    </a:lnTo>
                    <a:lnTo>
                      <a:pt x="153" y="1993"/>
                    </a:lnTo>
                    <a:lnTo>
                      <a:pt x="145" y="1990"/>
                    </a:lnTo>
                    <a:lnTo>
                      <a:pt x="139" y="1987"/>
                    </a:lnTo>
                    <a:lnTo>
                      <a:pt x="132" y="1983"/>
                    </a:lnTo>
                    <a:lnTo>
                      <a:pt x="127" y="1980"/>
                    </a:lnTo>
                    <a:lnTo>
                      <a:pt x="117" y="1972"/>
                    </a:lnTo>
                    <a:lnTo>
                      <a:pt x="108" y="1966"/>
                    </a:lnTo>
                    <a:lnTo>
                      <a:pt x="103" y="1963"/>
                    </a:lnTo>
                    <a:lnTo>
                      <a:pt x="98" y="1961"/>
                    </a:lnTo>
                    <a:lnTo>
                      <a:pt x="94" y="1961"/>
                    </a:lnTo>
                    <a:lnTo>
                      <a:pt x="89" y="1961"/>
                    </a:lnTo>
                    <a:lnTo>
                      <a:pt x="83" y="1963"/>
                    </a:lnTo>
                    <a:lnTo>
                      <a:pt x="78" y="1966"/>
                    </a:lnTo>
                    <a:lnTo>
                      <a:pt x="71" y="1971"/>
                    </a:lnTo>
                    <a:lnTo>
                      <a:pt x="65" y="1977"/>
                    </a:lnTo>
                    <a:lnTo>
                      <a:pt x="52" y="1989"/>
                    </a:lnTo>
                    <a:lnTo>
                      <a:pt x="37" y="2002"/>
                    </a:lnTo>
                    <a:lnTo>
                      <a:pt x="21" y="2016"/>
                    </a:lnTo>
                    <a:lnTo>
                      <a:pt x="10" y="2030"/>
                    </a:lnTo>
                    <a:lnTo>
                      <a:pt x="4" y="2037"/>
                    </a:lnTo>
                    <a:lnTo>
                      <a:pt x="1" y="2044"/>
                    </a:lnTo>
                    <a:lnTo>
                      <a:pt x="0" y="2051"/>
                    </a:lnTo>
                    <a:lnTo>
                      <a:pt x="0" y="2057"/>
                    </a:lnTo>
                    <a:lnTo>
                      <a:pt x="1" y="2062"/>
                    </a:lnTo>
                    <a:lnTo>
                      <a:pt x="2" y="2065"/>
                    </a:lnTo>
                    <a:lnTo>
                      <a:pt x="4" y="2068"/>
                    </a:lnTo>
                    <a:lnTo>
                      <a:pt x="7" y="2071"/>
                    </a:lnTo>
                    <a:lnTo>
                      <a:pt x="15" y="2077"/>
                    </a:lnTo>
                    <a:lnTo>
                      <a:pt x="26" y="2083"/>
                    </a:lnTo>
                    <a:lnTo>
                      <a:pt x="37" y="2090"/>
                    </a:lnTo>
                    <a:lnTo>
                      <a:pt x="46" y="2096"/>
                    </a:lnTo>
                    <a:lnTo>
                      <a:pt x="53" y="2103"/>
                    </a:lnTo>
                    <a:lnTo>
                      <a:pt x="59" y="2110"/>
                    </a:lnTo>
                    <a:lnTo>
                      <a:pt x="68" y="2125"/>
                    </a:lnTo>
                    <a:lnTo>
                      <a:pt x="75" y="2142"/>
                    </a:lnTo>
                    <a:lnTo>
                      <a:pt x="78" y="2149"/>
                    </a:lnTo>
                    <a:lnTo>
                      <a:pt x="82" y="2158"/>
                    </a:lnTo>
                    <a:lnTo>
                      <a:pt x="88" y="2165"/>
                    </a:lnTo>
                    <a:lnTo>
                      <a:pt x="94" y="2173"/>
                    </a:lnTo>
                    <a:lnTo>
                      <a:pt x="103" y="2180"/>
                    </a:lnTo>
                    <a:lnTo>
                      <a:pt x="113" y="2187"/>
                    </a:lnTo>
                    <a:lnTo>
                      <a:pt x="126" y="2195"/>
                    </a:lnTo>
                    <a:lnTo>
                      <a:pt x="141" y="2201"/>
                    </a:lnTo>
                    <a:lnTo>
                      <a:pt x="146" y="2201"/>
                    </a:lnTo>
                    <a:lnTo>
                      <a:pt x="153" y="2202"/>
                    </a:lnTo>
                    <a:lnTo>
                      <a:pt x="159" y="2204"/>
                    </a:lnTo>
                    <a:lnTo>
                      <a:pt x="165" y="2206"/>
                    </a:lnTo>
                    <a:lnTo>
                      <a:pt x="170" y="2211"/>
                    </a:lnTo>
                    <a:lnTo>
                      <a:pt x="174" y="2215"/>
                    </a:lnTo>
                    <a:lnTo>
                      <a:pt x="179" y="2220"/>
                    </a:lnTo>
                    <a:lnTo>
                      <a:pt x="181" y="2227"/>
                    </a:lnTo>
                    <a:lnTo>
                      <a:pt x="182" y="2233"/>
                    </a:lnTo>
                    <a:lnTo>
                      <a:pt x="182" y="2241"/>
                    </a:lnTo>
                    <a:lnTo>
                      <a:pt x="181" y="2250"/>
                    </a:lnTo>
                    <a:lnTo>
                      <a:pt x="179" y="2258"/>
                    </a:lnTo>
                    <a:lnTo>
                      <a:pt x="173" y="2276"/>
                    </a:lnTo>
                    <a:lnTo>
                      <a:pt x="168" y="2288"/>
                    </a:lnTo>
                    <a:lnTo>
                      <a:pt x="158" y="2309"/>
                    </a:lnTo>
                    <a:lnTo>
                      <a:pt x="148" y="2331"/>
                    </a:lnTo>
                    <a:lnTo>
                      <a:pt x="139" y="2351"/>
                    </a:lnTo>
                    <a:lnTo>
                      <a:pt x="128" y="2372"/>
                    </a:lnTo>
                    <a:lnTo>
                      <a:pt x="128" y="2372"/>
                    </a:lnTo>
                    <a:lnTo>
                      <a:pt x="174" y="2411"/>
                    </a:lnTo>
                    <a:lnTo>
                      <a:pt x="176" y="2412"/>
                    </a:lnTo>
                    <a:lnTo>
                      <a:pt x="179" y="2413"/>
                    </a:lnTo>
                    <a:lnTo>
                      <a:pt x="179" y="2413"/>
                    </a:lnTo>
                    <a:lnTo>
                      <a:pt x="179" y="2414"/>
                    </a:lnTo>
                    <a:lnTo>
                      <a:pt x="182" y="2415"/>
                    </a:lnTo>
                    <a:lnTo>
                      <a:pt x="184" y="2417"/>
                    </a:lnTo>
                    <a:lnTo>
                      <a:pt x="186" y="2420"/>
                    </a:lnTo>
                    <a:lnTo>
                      <a:pt x="188" y="2422"/>
                    </a:lnTo>
                    <a:lnTo>
                      <a:pt x="192" y="2430"/>
                    </a:lnTo>
                    <a:lnTo>
                      <a:pt x="196" y="2438"/>
                    </a:lnTo>
                    <a:lnTo>
                      <a:pt x="200" y="2445"/>
                    </a:lnTo>
                    <a:lnTo>
                      <a:pt x="206" y="2450"/>
                    </a:lnTo>
                    <a:lnTo>
                      <a:pt x="209" y="2452"/>
                    </a:lnTo>
                    <a:lnTo>
                      <a:pt x="213" y="2453"/>
                    </a:lnTo>
                    <a:lnTo>
                      <a:pt x="218" y="2453"/>
                    </a:lnTo>
                    <a:lnTo>
                      <a:pt x="223" y="2452"/>
                    </a:lnTo>
                    <a:lnTo>
                      <a:pt x="230" y="2448"/>
                    </a:lnTo>
                    <a:lnTo>
                      <a:pt x="236" y="2443"/>
                    </a:lnTo>
                    <a:lnTo>
                      <a:pt x="243" y="2435"/>
                    </a:lnTo>
                    <a:lnTo>
                      <a:pt x="250" y="2429"/>
                    </a:lnTo>
                    <a:lnTo>
                      <a:pt x="257" y="2422"/>
                    </a:lnTo>
                    <a:lnTo>
                      <a:pt x="264" y="2419"/>
                    </a:lnTo>
                    <a:lnTo>
                      <a:pt x="267" y="2418"/>
                    </a:lnTo>
                    <a:lnTo>
                      <a:pt x="271" y="2419"/>
                    </a:lnTo>
                    <a:lnTo>
                      <a:pt x="275" y="2420"/>
                    </a:lnTo>
                    <a:lnTo>
                      <a:pt x="278" y="2423"/>
                    </a:lnTo>
                    <a:lnTo>
                      <a:pt x="288" y="2432"/>
                    </a:lnTo>
                    <a:lnTo>
                      <a:pt x="296" y="2441"/>
                    </a:lnTo>
                    <a:lnTo>
                      <a:pt x="301" y="2448"/>
                    </a:lnTo>
                    <a:lnTo>
                      <a:pt x="305" y="2456"/>
                    </a:lnTo>
                    <a:lnTo>
                      <a:pt x="312" y="2469"/>
                    </a:lnTo>
                    <a:lnTo>
                      <a:pt x="318" y="2480"/>
                    </a:lnTo>
                    <a:lnTo>
                      <a:pt x="322" y="2483"/>
                    </a:lnTo>
                    <a:lnTo>
                      <a:pt x="326" y="2487"/>
                    </a:lnTo>
                    <a:lnTo>
                      <a:pt x="331" y="2489"/>
                    </a:lnTo>
                    <a:lnTo>
                      <a:pt x="339" y="2492"/>
                    </a:lnTo>
                    <a:lnTo>
                      <a:pt x="349" y="2493"/>
                    </a:lnTo>
                    <a:lnTo>
                      <a:pt x="361" y="2494"/>
                    </a:lnTo>
                    <a:lnTo>
                      <a:pt x="375" y="2494"/>
                    </a:lnTo>
                    <a:lnTo>
                      <a:pt x="393" y="2493"/>
                    </a:lnTo>
                    <a:lnTo>
                      <a:pt x="534" y="2483"/>
                    </a:lnTo>
                    <a:lnTo>
                      <a:pt x="539" y="2483"/>
                    </a:lnTo>
                    <a:lnTo>
                      <a:pt x="545" y="2482"/>
                    </a:lnTo>
                    <a:lnTo>
                      <a:pt x="549" y="2480"/>
                    </a:lnTo>
                    <a:lnTo>
                      <a:pt x="554" y="2476"/>
                    </a:lnTo>
                    <a:lnTo>
                      <a:pt x="557" y="2473"/>
                    </a:lnTo>
                    <a:lnTo>
                      <a:pt x="560" y="2470"/>
                    </a:lnTo>
                    <a:lnTo>
                      <a:pt x="563" y="2466"/>
                    </a:lnTo>
                    <a:lnTo>
                      <a:pt x="567" y="2461"/>
                    </a:lnTo>
                    <a:lnTo>
                      <a:pt x="571" y="2452"/>
                    </a:lnTo>
                    <a:lnTo>
                      <a:pt x="574" y="2440"/>
                    </a:lnTo>
                    <a:lnTo>
                      <a:pt x="576" y="2428"/>
                    </a:lnTo>
                    <a:lnTo>
                      <a:pt x="577" y="2415"/>
                    </a:lnTo>
                    <a:lnTo>
                      <a:pt x="577" y="2388"/>
                    </a:lnTo>
                    <a:lnTo>
                      <a:pt x="577" y="2361"/>
                    </a:lnTo>
                    <a:lnTo>
                      <a:pt x="576" y="2338"/>
                    </a:lnTo>
                    <a:lnTo>
                      <a:pt x="575" y="2321"/>
                    </a:lnTo>
                    <a:lnTo>
                      <a:pt x="576" y="2314"/>
                    </a:lnTo>
                    <a:lnTo>
                      <a:pt x="577" y="2309"/>
                    </a:lnTo>
                    <a:lnTo>
                      <a:pt x="579" y="2305"/>
                    </a:lnTo>
                    <a:lnTo>
                      <a:pt x="581" y="2300"/>
                    </a:lnTo>
                    <a:lnTo>
                      <a:pt x="584" y="2296"/>
                    </a:lnTo>
                    <a:lnTo>
                      <a:pt x="586" y="2294"/>
                    </a:lnTo>
                    <a:lnTo>
                      <a:pt x="589" y="2291"/>
                    </a:lnTo>
                    <a:lnTo>
                      <a:pt x="594" y="2288"/>
                    </a:lnTo>
                    <a:lnTo>
                      <a:pt x="598" y="2287"/>
                    </a:lnTo>
                    <a:lnTo>
                      <a:pt x="601" y="2286"/>
                    </a:lnTo>
                    <a:lnTo>
                      <a:pt x="607" y="2286"/>
                    </a:lnTo>
                    <a:lnTo>
                      <a:pt x="611" y="2286"/>
                    </a:lnTo>
                    <a:lnTo>
                      <a:pt x="621" y="2287"/>
                    </a:lnTo>
                    <a:lnTo>
                      <a:pt x="632" y="2291"/>
                    </a:lnTo>
                    <a:lnTo>
                      <a:pt x="646" y="2297"/>
                    </a:lnTo>
                    <a:lnTo>
                      <a:pt x="657" y="2301"/>
                    </a:lnTo>
                    <a:lnTo>
                      <a:pt x="667" y="2304"/>
                    </a:lnTo>
                    <a:lnTo>
                      <a:pt x="676" y="2306"/>
                    </a:lnTo>
                    <a:lnTo>
                      <a:pt x="686" y="2307"/>
                    </a:lnTo>
                    <a:lnTo>
                      <a:pt x="697" y="2307"/>
                    </a:lnTo>
                    <a:lnTo>
                      <a:pt x="709" y="2306"/>
                    </a:lnTo>
                    <a:lnTo>
                      <a:pt x="725" y="2305"/>
                    </a:lnTo>
                    <a:lnTo>
                      <a:pt x="788" y="2266"/>
                    </a:lnTo>
                    <a:lnTo>
                      <a:pt x="796" y="2261"/>
                    </a:lnTo>
                    <a:lnTo>
                      <a:pt x="804" y="2258"/>
                    </a:lnTo>
                    <a:lnTo>
                      <a:pt x="812" y="2256"/>
                    </a:lnTo>
                    <a:lnTo>
                      <a:pt x="819" y="2255"/>
                    </a:lnTo>
                    <a:lnTo>
                      <a:pt x="832" y="2255"/>
                    </a:lnTo>
                    <a:lnTo>
                      <a:pt x="845" y="2255"/>
                    </a:lnTo>
                    <a:lnTo>
                      <a:pt x="853" y="2255"/>
                    </a:lnTo>
                    <a:lnTo>
                      <a:pt x="859" y="2254"/>
                    </a:lnTo>
                    <a:lnTo>
                      <a:pt x="867" y="2252"/>
                    </a:lnTo>
                    <a:lnTo>
                      <a:pt x="873" y="2249"/>
                    </a:lnTo>
                    <a:lnTo>
                      <a:pt x="882" y="2244"/>
                    </a:lnTo>
                    <a:lnTo>
                      <a:pt x="891" y="2238"/>
                    </a:lnTo>
                    <a:lnTo>
                      <a:pt x="899" y="2229"/>
                    </a:lnTo>
                    <a:lnTo>
                      <a:pt x="909" y="2219"/>
                    </a:lnTo>
                    <a:lnTo>
                      <a:pt x="920" y="2207"/>
                    </a:lnTo>
                    <a:lnTo>
                      <a:pt x="931" y="2197"/>
                    </a:lnTo>
                    <a:lnTo>
                      <a:pt x="944" y="2187"/>
                    </a:lnTo>
                    <a:lnTo>
                      <a:pt x="956" y="2177"/>
                    </a:lnTo>
                    <a:lnTo>
                      <a:pt x="969" y="2169"/>
                    </a:lnTo>
                    <a:lnTo>
                      <a:pt x="983" y="2161"/>
                    </a:lnTo>
                    <a:lnTo>
                      <a:pt x="997" y="2155"/>
                    </a:lnTo>
                    <a:lnTo>
                      <a:pt x="1011" y="2148"/>
                    </a:lnTo>
                    <a:lnTo>
                      <a:pt x="1025" y="2143"/>
                    </a:lnTo>
                    <a:lnTo>
                      <a:pt x="1040" y="2137"/>
                    </a:lnTo>
                    <a:lnTo>
                      <a:pt x="1055" y="2133"/>
                    </a:lnTo>
                    <a:lnTo>
                      <a:pt x="1071" y="2130"/>
                    </a:lnTo>
                    <a:lnTo>
                      <a:pt x="1102" y="2124"/>
                    </a:lnTo>
                    <a:lnTo>
                      <a:pt x="1132" y="2121"/>
                    </a:lnTo>
                    <a:lnTo>
                      <a:pt x="1146" y="2119"/>
                    </a:lnTo>
                    <a:lnTo>
                      <a:pt x="1159" y="2116"/>
                    </a:lnTo>
                    <a:lnTo>
                      <a:pt x="1173" y="2111"/>
                    </a:lnTo>
                    <a:lnTo>
                      <a:pt x="1186" y="2106"/>
                    </a:lnTo>
                    <a:lnTo>
                      <a:pt x="1199" y="2099"/>
                    </a:lnTo>
                    <a:lnTo>
                      <a:pt x="1212" y="2092"/>
                    </a:lnTo>
                    <a:lnTo>
                      <a:pt x="1225" y="2084"/>
                    </a:lnTo>
                    <a:lnTo>
                      <a:pt x="1237" y="2075"/>
                    </a:lnTo>
                    <a:lnTo>
                      <a:pt x="1249" y="2066"/>
                    </a:lnTo>
                    <a:lnTo>
                      <a:pt x="1261" y="2056"/>
                    </a:lnTo>
                    <a:lnTo>
                      <a:pt x="1272" y="2045"/>
                    </a:lnTo>
                    <a:lnTo>
                      <a:pt x="1282" y="2035"/>
                    </a:lnTo>
                    <a:lnTo>
                      <a:pt x="1301" y="2013"/>
                    </a:lnTo>
                    <a:lnTo>
                      <a:pt x="1319" y="1991"/>
                    </a:lnTo>
                    <a:lnTo>
                      <a:pt x="1339" y="1966"/>
                    </a:lnTo>
                    <a:lnTo>
                      <a:pt x="1353" y="1948"/>
                    </a:lnTo>
                    <a:lnTo>
                      <a:pt x="1358" y="1946"/>
                    </a:lnTo>
                    <a:lnTo>
                      <a:pt x="1362" y="1943"/>
                    </a:lnTo>
                    <a:lnTo>
                      <a:pt x="1366" y="1941"/>
                    </a:lnTo>
                    <a:lnTo>
                      <a:pt x="1373" y="1940"/>
                    </a:lnTo>
                    <a:lnTo>
                      <a:pt x="1387" y="1936"/>
                    </a:lnTo>
                    <a:lnTo>
                      <a:pt x="1406" y="1935"/>
                    </a:lnTo>
                    <a:lnTo>
                      <a:pt x="1411" y="1934"/>
                    </a:lnTo>
                    <a:lnTo>
                      <a:pt x="1415" y="1933"/>
                    </a:lnTo>
                    <a:lnTo>
                      <a:pt x="1421" y="1932"/>
                    </a:lnTo>
                    <a:lnTo>
                      <a:pt x="1425" y="1929"/>
                    </a:lnTo>
                    <a:lnTo>
                      <a:pt x="1434" y="1922"/>
                    </a:lnTo>
                    <a:lnTo>
                      <a:pt x="1442" y="1914"/>
                    </a:lnTo>
                    <a:lnTo>
                      <a:pt x="1450" y="1904"/>
                    </a:lnTo>
                    <a:lnTo>
                      <a:pt x="1457" y="1892"/>
                    </a:lnTo>
                    <a:lnTo>
                      <a:pt x="1464" y="1880"/>
                    </a:lnTo>
                    <a:lnTo>
                      <a:pt x="1469" y="1867"/>
                    </a:lnTo>
                    <a:lnTo>
                      <a:pt x="1474" y="1854"/>
                    </a:lnTo>
                    <a:lnTo>
                      <a:pt x="1477" y="1841"/>
                    </a:lnTo>
                    <a:lnTo>
                      <a:pt x="1479" y="1828"/>
                    </a:lnTo>
                    <a:lnTo>
                      <a:pt x="1479" y="1817"/>
                    </a:lnTo>
                    <a:lnTo>
                      <a:pt x="1478" y="1806"/>
                    </a:lnTo>
                    <a:lnTo>
                      <a:pt x="1476" y="1796"/>
                    </a:lnTo>
                    <a:lnTo>
                      <a:pt x="1474" y="1792"/>
                    </a:lnTo>
                    <a:lnTo>
                      <a:pt x="1470" y="1787"/>
                    </a:lnTo>
                    <a:lnTo>
                      <a:pt x="1468" y="1784"/>
                    </a:lnTo>
                    <a:lnTo>
                      <a:pt x="1464" y="1782"/>
                    </a:lnTo>
                    <a:lnTo>
                      <a:pt x="1449" y="1773"/>
                    </a:lnTo>
                    <a:lnTo>
                      <a:pt x="1430" y="1765"/>
                    </a:lnTo>
                    <a:lnTo>
                      <a:pt x="1423" y="1759"/>
                    </a:lnTo>
                    <a:lnTo>
                      <a:pt x="1416" y="1753"/>
                    </a:lnTo>
                    <a:lnTo>
                      <a:pt x="1414" y="1750"/>
                    </a:lnTo>
                    <a:lnTo>
                      <a:pt x="1412" y="1745"/>
                    </a:lnTo>
                    <a:lnTo>
                      <a:pt x="1411" y="1741"/>
                    </a:lnTo>
                    <a:lnTo>
                      <a:pt x="1411" y="1737"/>
                    </a:lnTo>
                    <a:lnTo>
                      <a:pt x="1412" y="1727"/>
                    </a:lnTo>
                    <a:lnTo>
                      <a:pt x="1414" y="1716"/>
                    </a:lnTo>
                    <a:lnTo>
                      <a:pt x="1418" y="1705"/>
                    </a:lnTo>
                    <a:lnTo>
                      <a:pt x="1424" y="1693"/>
                    </a:lnTo>
                    <a:lnTo>
                      <a:pt x="1436" y="1671"/>
                    </a:lnTo>
                    <a:lnTo>
                      <a:pt x="1445" y="1652"/>
                    </a:lnTo>
                    <a:lnTo>
                      <a:pt x="1458" y="1640"/>
                    </a:lnTo>
                    <a:lnTo>
                      <a:pt x="1469" y="1632"/>
                    </a:lnTo>
                    <a:lnTo>
                      <a:pt x="1478" y="1625"/>
                    </a:lnTo>
                    <a:lnTo>
                      <a:pt x="1487" y="1620"/>
                    </a:lnTo>
                    <a:lnTo>
                      <a:pt x="1497" y="1617"/>
                    </a:lnTo>
                    <a:lnTo>
                      <a:pt x="1508" y="1615"/>
                    </a:lnTo>
                    <a:lnTo>
                      <a:pt x="1522" y="1613"/>
                    </a:lnTo>
                    <a:lnTo>
                      <a:pt x="1541" y="1613"/>
                    </a:lnTo>
                    <a:lnTo>
                      <a:pt x="1547" y="1613"/>
                    </a:lnTo>
                    <a:lnTo>
                      <a:pt x="1553" y="1612"/>
                    </a:lnTo>
                    <a:lnTo>
                      <a:pt x="1559" y="1610"/>
                    </a:lnTo>
                    <a:lnTo>
                      <a:pt x="1564" y="1609"/>
                    </a:lnTo>
                    <a:lnTo>
                      <a:pt x="1573" y="1604"/>
                    </a:lnTo>
                    <a:lnTo>
                      <a:pt x="1582" y="1596"/>
                    </a:lnTo>
                    <a:lnTo>
                      <a:pt x="1590" y="1588"/>
                    </a:lnTo>
                    <a:lnTo>
                      <a:pt x="1596" y="1578"/>
                    </a:lnTo>
                    <a:lnTo>
                      <a:pt x="1602" y="1567"/>
                    </a:lnTo>
                    <a:lnTo>
                      <a:pt x="1608" y="1556"/>
                    </a:lnTo>
                    <a:lnTo>
                      <a:pt x="1619" y="1532"/>
                    </a:lnTo>
                    <a:lnTo>
                      <a:pt x="1633" y="1511"/>
                    </a:lnTo>
                    <a:lnTo>
                      <a:pt x="1641" y="1501"/>
                    </a:lnTo>
                    <a:lnTo>
                      <a:pt x="1649" y="1491"/>
                    </a:lnTo>
                    <a:lnTo>
                      <a:pt x="1654" y="1488"/>
                    </a:lnTo>
                    <a:lnTo>
                      <a:pt x="1659" y="1484"/>
                    </a:lnTo>
                    <a:lnTo>
                      <a:pt x="1664" y="1482"/>
                    </a:lnTo>
                    <a:lnTo>
                      <a:pt x="1671" y="1478"/>
                    </a:lnTo>
                    <a:lnTo>
                      <a:pt x="1682" y="1475"/>
                    </a:lnTo>
                    <a:lnTo>
                      <a:pt x="1693" y="1473"/>
                    </a:lnTo>
                    <a:lnTo>
                      <a:pt x="1703" y="1473"/>
                    </a:lnTo>
                    <a:lnTo>
                      <a:pt x="1713" y="1474"/>
                    </a:lnTo>
                    <a:lnTo>
                      <a:pt x="1724" y="1475"/>
                    </a:lnTo>
                    <a:lnTo>
                      <a:pt x="1734" y="1478"/>
                    </a:lnTo>
                    <a:lnTo>
                      <a:pt x="1743" y="1482"/>
                    </a:lnTo>
                    <a:lnTo>
                      <a:pt x="1753" y="1486"/>
                    </a:lnTo>
                    <a:lnTo>
                      <a:pt x="1773" y="1493"/>
                    </a:lnTo>
                    <a:lnTo>
                      <a:pt x="1792" y="1499"/>
                    </a:lnTo>
                    <a:lnTo>
                      <a:pt x="1802" y="1501"/>
                    </a:lnTo>
                    <a:lnTo>
                      <a:pt x="1812" y="1502"/>
                    </a:lnTo>
                    <a:lnTo>
                      <a:pt x="1822" y="1502"/>
                    </a:lnTo>
                    <a:lnTo>
                      <a:pt x="1831" y="1500"/>
                    </a:lnTo>
                    <a:lnTo>
                      <a:pt x="1831" y="1498"/>
                    </a:lnTo>
                    <a:lnTo>
                      <a:pt x="1830" y="1496"/>
                    </a:lnTo>
                    <a:lnTo>
                      <a:pt x="1829" y="1494"/>
                    </a:lnTo>
                    <a:lnTo>
                      <a:pt x="1826" y="1490"/>
                    </a:lnTo>
                    <a:lnTo>
                      <a:pt x="1819" y="1485"/>
                    </a:lnTo>
                    <a:lnTo>
                      <a:pt x="1811" y="1480"/>
                    </a:lnTo>
                    <a:lnTo>
                      <a:pt x="1802" y="1473"/>
                    </a:lnTo>
                    <a:lnTo>
                      <a:pt x="1794" y="1467"/>
                    </a:lnTo>
                    <a:lnTo>
                      <a:pt x="1791" y="1462"/>
                    </a:lnTo>
                    <a:lnTo>
                      <a:pt x="1789" y="1459"/>
                    </a:lnTo>
                    <a:lnTo>
                      <a:pt x="1787" y="1455"/>
                    </a:lnTo>
                    <a:lnTo>
                      <a:pt x="1786" y="1450"/>
                    </a:lnTo>
                    <a:lnTo>
                      <a:pt x="1786" y="1443"/>
                    </a:lnTo>
                    <a:lnTo>
                      <a:pt x="1787" y="1435"/>
                    </a:lnTo>
                    <a:lnTo>
                      <a:pt x="1788" y="1428"/>
                    </a:lnTo>
                    <a:lnTo>
                      <a:pt x="1790" y="1421"/>
                    </a:lnTo>
                    <a:lnTo>
                      <a:pt x="1794" y="1407"/>
                    </a:lnTo>
                    <a:lnTo>
                      <a:pt x="1799" y="1395"/>
                    </a:lnTo>
                    <a:lnTo>
                      <a:pt x="1800" y="1389"/>
                    </a:lnTo>
                    <a:lnTo>
                      <a:pt x="1801" y="1383"/>
                    </a:lnTo>
                    <a:lnTo>
                      <a:pt x="1800" y="1377"/>
                    </a:lnTo>
                    <a:lnTo>
                      <a:pt x="1798" y="1372"/>
                    </a:lnTo>
                    <a:lnTo>
                      <a:pt x="1793" y="1366"/>
                    </a:lnTo>
                    <a:lnTo>
                      <a:pt x="1788" y="1362"/>
                    </a:lnTo>
                    <a:lnTo>
                      <a:pt x="1780" y="1356"/>
                    </a:lnTo>
                    <a:lnTo>
                      <a:pt x="1770" y="1352"/>
                    </a:lnTo>
                    <a:lnTo>
                      <a:pt x="1761" y="1349"/>
                    </a:lnTo>
                    <a:lnTo>
                      <a:pt x="1754" y="1346"/>
                    </a:lnTo>
                    <a:lnTo>
                      <a:pt x="1748" y="1341"/>
                    </a:lnTo>
                    <a:lnTo>
                      <a:pt x="1742" y="1338"/>
                    </a:lnTo>
                    <a:lnTo>
                      <a:pt x="1739" y="1334"/>
                    </a:lnTo>
                    <a:lnTo>
                      <a:pt x="1736" y="1329"/>
                    </a:lnTo>
                    <a:lnTo>
                      <a:pt x="1735" y="1325"/>
                    </a:lnTo>
                    <a:lnTo>
                      <a:pt x="1734" y="1321"/>
                    </a:lnTo>
                    <a:lnTo>
                      <a:pt x="1734" y="1315"/>
                    </a:lnTo>
                    <a:lnTo>
                      <a:pt x="1735" y="1310"/>
                    </a:lnTo>
                    <a:lnTo>
                      <a:pt x="1737" y="1305"/>
                    </a:lnTo>
                    <a:lnTo>
                      <a:pt x="1739" y="1298"/>
                    </a:lnTo>
                    <a:lnTo>
                      <a:pt x="1746" y="1284"/>
                    </a:lnTo>
                    <a:lnTo>
                      <a:pt x="1753" y="1267"/>
                    </a:lnTo>
                    <a:lnTo>
                      <a:pt x="1766" y="1257"/>
                    </a:lnTo>
                    <a:lnTo>
                      <a:pt x="1776" y="1248"/>
                    </a:lnTo>
                    <a:lnTo>
                      <a:pt x="1781" y="1245"/>
                    </a:lnTo>
                    <a:lnTo>
                      <a:pt x="1788" y="1243"/>
                    </a:lnTo>
                    <a:lnTo>
                      <a:pt x="1796" y="1241"/>
                    </a:lnTo>
                    <a:lnTo>
                      <a:pt x="1805" y="1240"/>
                    </a:lnTo>
                    <a:lnTo>
                      <a:pt x="1827" y="1239"/>
                    </a:lnTo>
                    <a:lnTo>
                      <a:pt x="1842" y="1235"/>
                    </a:lnTo>
                    <a:lnTo>
                      <a:pt x="1848" y="1234"/>
                    </a:lnTo>
                    <a:lnTo>
                      <a:pt x="1852" y="1232"/>
                    </a:lnTo>
                    <a:lnTo>
                      <a:pt x="1855" y="1229"/>
                    </a:lnTo>
                    <a:lnTo>
                      <a:pt x="1857" y="1226"/>
                    </a:lnTo>
                    <a:lnTo>
                      <a:pt x="1858" y="1221"/>
                    </a:lnTo>
                    <a:lnTo>
                      <a:pt x="1859" y="1217"/>
                    </a:lnTo>
                    <a:lnTo>
                      <a:pt x="1859" y="1212"/>
                    </a:lnTo>
                    <a:lnTo>
                      <a:pt x="1859" y="1206"/>
                    </a:lnTo>
                    <a:lnTo>
                      <a:pt x="1857" y="1191"/>
                    </a:lnTo>
                    <a:lnTo>
                      <a:pt x="1855" y="1173"/>
                    </a:lnTo>
                    <a:lnTo>
                      <a:pt x="1854" y="1165"/>
                    </a:lnTo>
                    <a:lnTo>
                      <a:pt x="1855" y="1159"/>
                    </a:lnTo>
                    <a:lnTo>
                      <a:pt x="1856" y="1153"/>
                    </a:lnTo>
                    <a:lnTo>
                      <a:pt x="1857" y="1149"/>
                    </a:lnTo>
                    <a:lnTo>
                      <a:pt x="1859" y="1147"/>
                    </a:lnTo>
                    <a:lnTo>
                      <a:pt x="1863" y="1145"/>
                    </a:lnTo>
                    <a:lnTo>
                      <a:pt x="1866" y="1144"/>
                    </a:lnTo>
                    <a:lnTo>
                      <a:pt x="1870" y="1143"/>
                    </a:lnTo>
                    <a:lnTo>
                      <a:pt x="1889" y="1146"/>
                    </a:lnTo>
                    <a:lnTo>
                      <a:pt x="1908" y="1150"/>
                    </a:lnTo>
                    <a:lnTo>
                      <a:pt x="1914" y="1150"/>
                    </a:lnTo>
                    <a:lnTo>
                      <a:pt x="1920" y="1147"/>
                    </a:lnTo>
                    <a:lnTo>
                      <a:pt x="1926" y="1143"/>
                    </a:lnTo>
                    <a:lnTo>
                      <a:pt x="1932" y="1136"/>
                    </a:lnTo>
                    <a:lnTo>
                      <a:pt x="1937" y="1129"/>
                    </a:lnTo>
                    <a:lnTo>
                      <a:pt x="1943" y="1120"/>
                    </a:lnTo>
                    <a:lnTo>
                      <a:pt x="1948" y="1110"/>
                    </a:lnTo>
                    <a:lnTo>
                      <a:pt x="1953" y="1100"/>
                    </a:lnTo>
                    <a:lnTo>
                      <a:pt x="1961" y="1079"/>
                    </a:lnTo>
                    <a:lnTo>
                      <a:pt x="1968" y="1058"/>
                    </a:lnTo>
                    <a:lnTo>
                      <a:pt x="1972" y="1040"/>
                    </a:lnTo>
                    <a:lnTo>
                      <a:pt x="1973" y="1027"/>
                    </a:lnTo>
                    <a:lnTo>
                      <a:pt x="1970" y="881"/>
                    </a:lnTo>
                    <a:lnTo>
                      <a:pt x="1971" y="869"/>
                    </a:lnTo>
                    <a:lnTo>
                      <a:pt x="1971" y="856"/>
                    </a:lnTo>
                    <a:lnTo>
                      <a:pt x="1970" y="842"/>
                    </a:lnTo>
                    <a:lnTo>
                      <a:pt x="1969" y="828"/>
                    </a:lnTo>
                    <a:lnTo>
                      <a:pt x="1966" y="801"/>
                    </a:lnTo>
                    <a:lnTo>
                      <a:pt x="1963" y="774"/>
                    </a:lnTo>
                    <a:lnTo>
                      <a:pt x="1963" y="741"/>
                    </a:lnTo>
                    <a:lnTo>
                      <a:pt x="1966" y="711"/>
                    </a:lnTo>
                    <a:lnTo>
                      <a:pt x="1966" y="695"/>
                    </a:lnTo>
                    <a:lnTo>
                      <a:pt x="1966" y="679"/>
                    </a:lnTo>
                    <a:lnTo>
                      <a:pt x="1965" y="663"/>
                    </a:lnTo>
                    <a:lnTo>
                      <a:pt x="1962" y="644"/>
                    </a:lnTo>
                    <a:lnTo>
                      <a:pt x="1962" y="644"/>
                    </a:lnTo>
                    <a:lnTo>
                      <a:pt x="1958" y="632"/>
                    </a:lnTo>
                    <a:lnTo>
                      <a:pt x="1953" y="621"/>
                    </a:lnTo>
                    <a:lnTo>
                      <a:pt x="1946" y="609"/>
                    </a:lnTo>
                    <a:lnTo>
                      <a:pt x="1939" y="598"/>
                    </a:lnTo>
                    <a:lnTo>
                      <a:pt x="1923" y="576"/>
                    </a:lnTo>
                    <a:lnTo>
                      <a:pt x="1909" y="553"/>
                    </a:lnTo>
                    <a:lnTo>
                      <a:pt x="1903" y="541"/>
                    </a:lnTo>
                    <a:lnTo>
                      <a:pt x="1896" y="528"/>
                    </a:lnTo>
                    <a:lnTo>
                      <a:pt x="1892" y="515"/>
                    </a:lnTo>
                    <a:lnTo>
                      <a:pt x="1888" y="502"/>
                    </a:lnTo>
                    <a:lnTo>
                      <a:pt x="1885" y="488"/>
                    </a:lnTo>
                    <a:lnTo>
                      <a:pt x="1884" y="473"/>
                    </a:lnTo>
                    <a:lnTo>
                      <a:pt x="1887" y="458"/>
                    </a:lnTo>
                    <a:lnTo>
                      <a:pt x="1890" y="441"/>
                    </a:lnTo>
                    <a:lnTo>
                      <a:pt x="1895" y="425"/>
                    </a:lnTo>
                    <a:lnTo>
                      <a:pt x="1903" y="404"/>
                    </a:lnTo>
                    <a:lnTo>
                      <a:pt x="1906" y="394"/>
                    </a:lnTo>
                    <a:lnTo>
                      <a:pt x="1909" y="386"/>
                    </a:lnTo>
                    <a:lnTo>
                      <a:pt x="1910" y="379"/>
                    </a:lnTo>
                    <a:lnTo>
                      <a:pt x="1909" y="377"/>
                    </a:lnTo>
                    <a:lnTo>
                      <a:pt x="1909" y="375"/>
                    </a:lnTo>
                    <a:lnTo>
                      <a:pt x="1908" y="373"/>
                    </a:lnTo>
                    <a:lnTo>
                      <a:pt x="1906" y="371"/>
                    </a:lnTo>
                    <a:lnTo>
                      <a:pt x="1904" y="370"/>
                    </a:lnTo>
                    <a:lnTo>
                      <a:pt x="1898" y="369"/>
                    </a:lnTo>
                    <a:lnTo>
                      <a:pt x="1891" y="369"/>
                    </a:lnTo>
                    <a:lnTo>
                      <a:pt x="1872" y="373"/>
                    </a:lnTo>
                    <a:lnTo>
                      <a:pt x="1850" y="377"/>
                    </a:lnTo>
                    <a:lnTo>
                      <a:pt x="1827" y="383"/>
                    </a:lnTo>
                    <a:lnTo>
                      <a:pt x="1804" y="389"/>
                    </a:lnTo>
                    <a:lnTo>
                      <a:pt x="1794" y="391"/>
                    </a:lnTo>
                    <a:lnTo>
                      <a:pt x="1786" y="392"/>
                    </a:lnTo>
                    <a:lnTo>
                      <a:pt x="1778" y="392"/>
                    </a:lnTo>
                    <a:lnTo>
                      <a:pt x="1773" y="391"/>
                    </a:lnTo>
                    <a:lnTo>
                      <a:pt x="1767" y="389"/>
                    </a:lnTo>
                    <a:lnTo>
                      <a:pt x="1763" y="384"/>
                    </a:lnTo>
                    <a:lnTo>
                      <a:pt x="1756" y="378"/>
                    </a:lnTo>
                    <a:lnTo>
                      <a:pt x="1751" y="370"/>
                    </a:lnTo>
                    <a:lnTo>
                      <a:pt x="1740" y="353"/>
                    </a:lnTo>
                    <a:lnTo>
                      <a:pt x="1730" y="334"/>
                    </a:lnTo>
                    <a:lnTo>
                      <a:pt x="1712" y="293"/>
                    </a:lnTo>
                    <a:lnTo>
                      <a:pt x="1700" y="262"/>
                    </a:lnTo>
                    <a:lnTo>
                      <a:pt x="1694" y="244"/>
                    </a:lnTo>
                    <a:lnTo>
                      <a:pt x="1688" y="225"/>
                    </a:lnTo>
                    <a:lnTo>
                      <a:pt x="1684" y="206"/>
                    </a:lnTo>
                    <a:lnTo>
                      <a:pt x="1680" y="188"/>
                    </a:lnTo>
                    <a:lnTo>
                      <a:pt x="1675" y="170"/>
                    </a:lnTo>
                    <a:lnTo>
                      <a:pt x="1670" y="152"/>
                    </a:lnTo>
                    <a:lnTo>
                      <a:pt x="1664" y="136"/>
                    </a:lnTo>
                    <a:lnTo>
                      <a:pt x="1658" y="121"/>
                    </a:lnTo>
                    <a:lnTo>
                      <a:pt x="1655" y="113"/>
                    </a:lnTo>
                    <a:lnTo>
                      <a:pt x="1650" y="107"/>
                    </a:lnTo>
                    <a:lnTo>
                      <a:pt x="1646" y="100"/>
                    </a:lnTo>
                    <a:lnTo>
                      <a:pt x="1641" y="95"/>
                    </a:lnTo>
                    <a:lnTo>
                      <a:pt x="1635" y="90"/>
                    </a:lnTo>
                    <a:lnTo>
                      <a:pt x="1630" y="85"/>
                    </a:lnTo>
                    <a:lnTo>
                      <a:pt x="1623" y="81"/>
                    </a:lnTo>
                    <a:lnTo>
                      <a:pt x="1616" y="77"/>
                    </a:lnTo>
                    <a:lnTo>
                      <a:pt x="1608" y="73"/>
                    </a:lnTo>
                    <a:lnTo>
                      <a:pt x="1599" y="71"/>
                    </a:lnTo>
                    <a:lnTo>
                      <a:pt x="1590" y="69"/>
                    </a:lnTo>
                    <a:lnTo>
                      <a:pt x="1580" y="68"/>
                    </a:lnTo>
                    <a:lnTo>
                      <a:pt x="1569" y="68"/>
                    </a:lnTo>
                    <a:lnTo>
                      <a:pt x="1557" y="68"/>
                    </a:lnTo>
                    <a:lnTo>
                      <a:pt x="1544" y="69"/>
                    </a:lnTo>
                    <a:lnTo>
                      <a:pt x="1531" y="71"/>
                    </a:lnTo>
                    <a:lnTo>
                      <a:pt x="1402" y="6"/>
                    </a:lnTo>
                    <a:lnTo>
                      <a:pt x="1402" y="6"/>
                    </a:lnTo>
                    <a:lnTo>
                      <a:pt x="1398" y="11"/>
                    </a:lnTo>
                    <a:lnTo>
                      <a:pt x="1393" y="15"/>
                    </a:lnTo>
                    <a:lnTo>
                      <a:pt x="1391" y="20"/>
                    </a:lnTo>
                    <a:lnTo>
                      <a:pt x="1389" y="26"/>
                    </a:lnTo>
                    <a:lnTo>
                      <a:pt x="1386" y="36"/>
                    </a:lnTo>
                    <a:lnTo>
                      <a:pt x="1386" y="46"/>
                    </a:lnTo>
                    <a:lnTo>
                      <a:pt x="1386" y="56"/>
                    </a:lnTo>
                    <a:lnTo>
                      <a:pt x="1389" y="67"/>
                    </a:lnTo>
                    <a:lnTo>
                      <a:pt x="1392" y="78"/>
                    </a:lnTo>
                    <a:lnTo>
                      <a:pt x="1396" y="89"/>
                    </a:lnTo>
                    <a:lnTo>
                      <a:pt x="1405" y="109"/>
                    </a:lnTo>
                    <a:lnTo>
                      <a:pt x="1412" y="130"/>
                    </a:lnTo>
                    <a:lnTo>
                      <a:pt x="1415" y="139"/>
                    </a:lnTo>
                    <a:lnTo>
                      <a:pt x="1415" y="148"/>
                    </a:lnTo>
                    <a:lnTo>
                      <a:pt x="1415" y="157"/>
                    </a:lnTo>
                    <a:lnTo>
                      <a:pt x="1412" y="165"/>
                    </a:lnTo>
                    <a:lnTo>
                      <a:pt x="1411" y="167"/>
                    </a:lnTo>
                    <a:lnTo>
                      <a:pt x="1408" y="170"/>
                    </a:lnTo>
                    <a:lnTo>
                      <a:pt x="1404" y="172"/>
                    </a:lnTo>
                    <a:lnTo>
                      <a:pt x="1401" y="174"/>
                    </a:lnTo>
                    <a:lnTo>
                      <a:pt x="1391" y="177"/>
                    </a:lnTo>
                    <a:lnTo>
                      <a:pt x="1379" y="180"/>
                    </a:lnTo>
                    <a:lnTo>
                      <a:pt x="1350" y="184"/>
                    </a:lnTo>
                    <a:lnTo>
                      <a:pt x="1318" y="187"/>
                    </a:lnTo>
                    <a:lnTo>
                      <a:pt x="1283" y="189"/>
                    </a:lnTo>
                    <a:lnTo>
                      <a:pt x="1250" y="190"/>
                    </a:lnTo>
                    <a:lnTo>
                      <a:pt x="1236" y="192"/>
                    </a:lnTo>
                    <a:lnTo>
                      <a:pt x="1223" y="193"/>
                    </a:lnTo>
                    <a:lnTo>
                      <a:pt x="1211" y="195"/>
                    </a:lnTo>
                    <a:lnTo>
                      <a:pt x="1203" y="198"/>
                    </a:lnTo>
                    <a:lnTo>
                      <a:pt x="1192" y="202"/>
                    </a:lnTo>
                    <a:lnTo>
                      <a:pt x="1182" y="204"/>
                    </a:lnTo>
                    <a:lnTo>
                      <a:pt x="1173" y="204"/>
                    </a:lnTo>
                    <a:lnTo>
                      <a:pt x="1166" y="203"/>
                    </a:lnTo>
                    <a:lnTo>
                      <a:pt x="1160" y="200"/>
                    </a:lnTo>
                    <a:lnTo>
                      <a:pt x="1155" y="197"/>
                    </a:lnTo>
                    <a:lnTo>
                      <a:pt x="1151" y="191"/>
                    </a:lnTo>
                    <a:lnTo>
                      <a:pt x="1146" y="186"/>
                    </a:lnTo>
                    <a:lnTo>
                      <a:pt x="1138" y="174"/>
                    </a:lnTo>
                    <a:lnTo>
                      <a:pt x="1130" y="160"/>
                    </a:lnTo>
                    <a:lnTo>
                      <a:pt x="1126" y="153"/>
                    </a:lnTo>
                    <a:lnTo>
                      <a:pt x="1120" y="148"/>
                    </a:lnTo>
                    <a:lnTo>
                      <a:pt x="1115" y="141"/>
                    </a:lnTo>
                    <a:lnTo>
                      <a:pt x="1107" y="137"/>
                    </a:lnTo>
                    <a:lnTo>
                      <a:pt x="1099" y="133"/>
                    </a:lnTo>
                    <a:lnTo>
                      <a:pt x="1089" y="130"/>
                    </a:lnTo>
                    <a:lnTo>
                      <a:pt x="1080" y="127"/>
                    </a:lnTo>
                    <a:lnTo>
                      <a:pt x="1072" y="126"/>
                    </a:lnTo>
                    <a:lnTo>
                      <a:pt x="1055" y="125"/>
                    </a:lnTo>
                    <a:lnTo>
                      <a:pt x="1042" y="123"/>
                    </a:lnTo>
                    <a:lnTo>
                      <a:pt x="1038" y="120"/>
                    </a:lnTo>
                    <a:lnTo>
                      <a:pt x="1035" y="116"/>
                    </a:lnTo>
                    <a:lnTo>
                      <a:pt x="1033" y="110"/>
                    </a:lnTo>
                    <a:lnTo>
                      <a:pt x="1033" y="101"/>
                    </a:lnTo>
                    <a:lnTo>
                      <a:pt x="1035" y="92"/>
                    </a:lnTo>
                    <a:lnTo>
                      <a:pt x="1038" y="78"/>
                    </a:lnTo>
                    <a:lnTo>
                      <a:pt x="1045" y="60"/>
                    </a:lnTo>
                    <a:lnTo>
                      <a:pt x="1053" y="40"/>
                    </a:lnTo>
                    <a:lnTo>
                      <a:pt x="1048" y="37"/>
                    </a:lnTo>
                    <a:lnTo>
                      <a:pt x="1034" y="28"/>
                    </a:lnTo>
                    <a:lnTo>
                      <a:pt x="1025" y="23"/>
                    </a:lnTo>
                    <a:lnTo>
                      <a:pt x="1014" y="17"/>
                    </a:lnTo>
                    <a:lnTo>
                      <a:pt x="1002" y="12"/>
                    </a:lnTo>
                    <a:lnTo>
                      <a:pt x="990" y="6"/>
                    </a:lnTo>
                    <a:lnTo>
                      <a:pt x="977" y="3"/>
                    </a:lnTo>
                    <a:lnTo>
                      <a:pt x="965" y="1"/>
                    </a:lnTo>
                    <a:lnTo>
                      <a:pt x="952" y="0"/>
                    </a:lnTo>
                    <a:lnTo>
                      <a:pt x="942" y="2"/>
                    </a:lnTo>
                    <a:lnTo>
                      <a:pt x="936" y="3"/>
                    </a:lnTo>
                    <a:lnTo>
                      <a:pt x="931" y="5"/>
                    </a:lnTo>
                    <a:lnTo>
                      <a:pt x="926" y="9"/>
                    </a:lnTo>
                    <a:lnTo>
                      <a:pt x="922" y="13"/>
                    </a:lnTo>
                    <a:lnTo>
                      <a:pt x="918" y="17"/>
                    </a:lnTo>
                    <a:lnTo>
                      <a:pt x="914" y="23"/>
                    </a:lnTo>
                    <a:lnTo>
                      <a:pt x="911" y="29"/>
                    </a:lnTo>
                    <a:lnTo>
                      <a:pt x="909" y="37"/>
                    </a:lnTo>
                    <a:lnTo>
                      <a:pt x="903" y="53"/>
                    </a:lnTo>
                    <a:lnTo>
                      <a:pt x="895" y="69"/>
                    </a:lnTo>
                    <a:lnTo>
                      <a:pt x="886" y="85"/>
                    </a:lnTo>
                    <a:lnTo>
                      <a:pt x="878" y="100"/>
                    </a:lnTo>
                    <a:lnTo>
                      <a:pt x="868" y="116"/>
                    </a:lnTo>
                    <a:lnTo>
                      <a:pt x="858" y="131"/>
                    </a:lnTo>
                    <a:lnTo>
                      <a:pt x="851" y="147"/>
                    </a:lnTo>
                    <a:lnTo>
                      <a:pt x="843" y="163"/>
                    </a:lnTo>
                    <a:lnTo>
                      <a:pt x="842" y="172"/>
                    </a:lnTo>
                    <a:lnTo>
                      <a:pt x="842" y="178"/>
                    </a:lnTo>
                    <a:lnTo>
                      <a:pt x="844" y="185"/>
                    </a:lnTo>
                    <a:lnTo>
                      <a:pt x="847" y="190"/>
                    </a:lnTo>
                    <a:lnTo>
                      <a:pt x="853" y="194"/>
                    </a:lnTo>
                    <a:lnTo>
                      <a:pt x="859" y="199"/>
                    </a:lnTo>
                    <a:lnTo>
                      <a:pt x="867" y="203"/>
                    </a:lnTo>
                    <a:lnTo>
                      <a:pt x="874" y="206"/>
                    </a:lnTo>
                    <a:lnTo>
                      <a:pt x="890" y="214"/>
                    </a:lnTo>
                    <a:lnTo>
                      <a:pt x="904" y="221"/>
                    </a:lnTo>
                    <a:lnTo>
                      <a:pt x="910" y="227"/>
                    </a:lnTo>
                    <a:lnTo>
                      <a:pt x="914" y="232"/>
                    </a:lnTo>
                    <a:lnTo>
                      <a:pt x="918" y="239"/>
                    </a:lnTo>
                    <a:lnTo>
                      <a:pt x="918" y="246"/>
                    </a:lnTo>
                    <a:lnTo>
                      <a:pt x="910" y="248"/>
                    </a:lnTo>
                    <a:lnTo>
                      <a:pt x="901" y="253"/>
                    </a:lnTo>
                    <a:lnTo>
                      <a:pt x="891" y="258"/>
                    </a:lnTo>
                    <a:lnTo>
                      <a:pt x="880" y="263"/>
                    </a:lnTo>
                    <a:lnTo>
                      <a:pt x="857" y="279"/>
                    </a:lnTo>
                    <a:lnTo>
                      <a:pt x="833" y="296"/>
                    </a:lnTo>
                    <a:lnTo>
                      <a:pt x="809" y="314"/>
                    </a:lnTo>
                    <a:lnTo>
                      <a:pt x="785" y="330"/>
                    </a:lnTo>
                    <a:lnTo>
                      <a:pt x="765" y="346"/>
                    </a:lnTo>
                    <a:lnTo>
                      <a:pt x="748" y="357"/>
                    </a:lnTo>
                    <a:lnTo>
                      <a:pt x="744" y="359"/>
                    </a:lnTo>
                    <a:lnTo>
                      <a:pt x="738" y="357"/>
                    </a:lnTo>
                    <a:lnTo>
                      <a:pt x="731" y="354"/>
                    </a:lnTo>
                    <a:lnTo>
                      <a:pt x="723" y="350"/>
                    </a:lnTo>
                    <a:lnTo>
                      <a:pt x="703" y="337"/>
                    </a:lnTo>
                    <a:lnTo>
                      <a:pt x="681" y="322"/>
                    </a:lnTo>
                    <a:lnTo>
                      <a:pt x="658" y="305"/>
                    </a:lnTo>
                    <a:lnTo>
                      <a:pt x="636" y="289"/>
                    </a:lnTo>
                    <a:lnTo>
                      <a:pt x="626" y="283"/>
                    </a:lnTo>
                    <a:lnTo>
                      <a:pt x="616" y="276"/>
                    </a:lnTo>
                    <a:lnTo>
                      <a:pt x="609" y="272"/>
                    </a:lnTo>
                    <a:lnTo>
                      <a:pt x="602" y="270"/>
                    </a:lnTo>
                    <a:lnTo>
                      <a:pt x="454" y="256"/>
                    </a:lnTo>
                    <a:lnTo>
                      <a:pt x="454" y="256"/>
                    </a:lnTo>
                    <a:lnTo>
                      <a:pt x="424" y="354"/>
                    </a:lnTo>
                    <a:lnTo>
                      <a:pt x="427" y="364"/>
                    </a:lnTo>
                    <a:lnTo>
                      <a:pt x="429" y="377"/>
                    </a:lnTo>
                    <a:lnTo>
                      <a:pt x="431" y="394"/>
                    </a:lnTo>
                    <a:lnTo>
                      <a:pt x="431" y="414"/>
                    </a:lnTo>
                    <a:lnTo>
                      <a:pt x="430" y="434"/>
                    </a:lnTo>
                    <a:lnTo>
                      <a:pt x="429" y="457"/>
                    </a:lnTo>
                    <a:lnTo>
                      <a:pt x="426" y="479"/>
                    </a:lnTo>
                    <a:lnTo>
                      <a:pt x="422" y="503"/>
                    </a:lnTo>
                    <a:lnTo>
                      <a:pt x="417" y="526"/>
                    </a:lnTo>
                    <a:lnTo>
                      <a:pt x="412" y="548"/>
                    </a:lnTo>
                    <a:lnTo>
                      <a:pt x="405" y="567"/>
                    </a:lnTo>
                    <a:lnTo>
                      <a:pt x="398" y="584"/>
                    </a:lnTo>
                    <a:lnTo>
                      <a:pt x="393" y="592"/>
                    </a:lnTo>
                    <a:lnTo>
                      <a:pt x="389" y="598"/>
                    </a:lnTo>
                    <a:lnTo>
                      <a:pt x="385" y="604"/>
                    </a:lnTo>
                    <a:lnTo>
                      <a:pt x="380" y="609"/>
                    </a:lnTo>
                    <a:lnTo>
                      <a:pt x="375" y="612"/>
                    </a:lnTo>
                    <a:lnTo>
                      <a:pt x="369" y="614"/>
                    </a:lnTo>
                    <a:lnTo>
                      <a:pt x="364" y="617"/>
                    </a:lnTo>
                    <a:lnTo>
                      <a:pt x="359" y="617"/>
                    </a:lnTo>
                    <a:lnTo>
                      <a:pt x="351" y="617"/>
                    </a:lnTo>
                    <a:lnTo>
                      <a:pt x="343" y="618"/>
                    </a:lnTo>
                    <a:lnTo>
                      <a:pt x="337" y="621"/>
                    </a:lnTo>
                    <a:lnTo>
                      <a:pt x="330" y="624"/>
                    </a:lnTo>
                    <a:lnTo>
                      <a:pt x="326" y="630"/>
                    </a:lnTo>
                    <a:lnTo>
                      <a:pt x="321" y="636"/>
                    </a:lnTo>
                    <a:lnTo>
                      <a:pt x="317" y="643"/>
                    </a:lnTo>
                    <a:lnTo>
                      <a:pt x="314" y="650"/>
                    </a:lnTo>
                    <a:lnTo>
                      <a:pt x="309" y="666"/>
                    </a:lnTo>
                    <a:lnTo>
                      <a:pt x="304" y="683"/>
                    </a:lnTo>
                    <a:lnTo>
                      <a:pt x="302" y="700"/>
                    </a:lnTo>
                    <a:lnTo>
                      <a:pt x="300" y="714"/>
                    </a:lnTo>
                    <a:lnTo>
                      <a:pt x="297" y="737"/>
                    </a:lnTo>
                    <a:lnTo>
                      <a:pt x="292" y="760"/>
                    </a:lnTo>
                    <a:lnTo>
                      <a:pt x="286" y="784"/>
                    </a:lnTo>
                    <a:lnTo>
                      <a:pt x="279" y="809"/>
                    </a:lnTo>
                    <a:lnTo>
                      <a:pt x="273" y="833"/>
                    </a:lnTo>
                    <a:lnTo>
                      <a:pt x="267" y="856"/>
                    </a:lnTo>
                    <a:lnTo>
                      <a:pt x="264" y="880"/>
                    </a:lnTo>
                    <a:lnTo>
                      <a:pt x="263" y="902"/>
                    </a:lnTo>
                    <a:lnTo>
                      <a:pt x="274" y="914"/>
                    </a:lnTo>
                    <a:lnTo>
                      <a:pt x="284" y="926"/>
                    </a:lnTo>
                    <a:lnTo>
                      <a:pt x="292" y="937"/>
                    </a:lnTo>
                    <a:lnTo>
                      <a:pt x="301" y="949"/>
                    </a:lnTo>
                    <a:lnTo>
                      <a:pt x="308" y="962"/>
                    </a:lnTo>
                    <a:lnTo>
                      <a:pt x="314" y="974"/>
                    </a:lnTo>
                    <a:lnTo>
                      <a:pt x="320" y="987"/>
                    </a:lnTo>
                    <a:lnTo>
                      <a:pt x="324" y="1000"/>
                    </a:lnTo>
                    <a:lnTo>
                      <a:pt x="327" y="1014"/>
                    </a:lnTo>
                    <a:lnTo>
                      <a:pt x="329" y="1027"/>
                    </a:lnTo>
                    <a:lnTo>
                      <a:pt x="330" y="1041"/>
                    </a:lnTo>
                    <a:lnTo>
                      <a:pt x="330" y="1055"/>
                    </a:lnTo>
                    <a:lnTo>
                      <a:pt x="330" y="1070"/>
                    </a:lnTo>
                    <a:lnTo>
                      <a:pt x="328" y="1084"/>
                    </a:lnTo>
                    <a:lnTo>
                      <a:pt x="325" y="1100"/>
                    </a:lnTo>
                    <a:lnTo>
                      <a:pt x="321" y="1116"/>
                    </a:lnTo>
                    <a:lnTo>
                      <a:pt x="312" y="1142"/>
                    </a:lnTo>
                    <a:lnTo>
                      <a:pt x="304" y="1166"/>
                    </a:lnTo>
                    <a:lnTo>
                      <a:pt x="296" y="1189"/>
                    </a:lnTo>
                    <a:lnTo>
                      <a:pt x="288" y="1212"/>
                    </a:lnTo>
                    <a:lnTo>
                      <a:pt x="279" y="1233"/>
                    </a:lnTo>
                    <a:lnTo>
                      <a:pt x="270" y="1256"/>
                    </a:lnTo>
                    <a:lnTo>
                      <a:pt x="259" y="1279"/>
                    </a:lnTo>
                    <a:lnTo>
                      <a:pt x="248" y="1302"/>
                    </a:lnTo>
                    <a:lnTo>
                      <a:pt x="223" y="1351"/>
                    </a:lnTo>
                    <a:lnTo>
                      <a:pt x="223" y="1351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04" name="Freeform 19">
                <a:extLst>
                  <a:ext uri="{FF2B5EF4-FFF2-40B4-BE49-F238E27FC236}">
                    <a16:creationId xmlns:a16="http://schemas.microsoft.com/office/drawing/2014/main" id="{A1A3A42C-F7C9-45A0-A0EE-8BF13623C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45763" y="128993"/>
                <a:ext cx="1095375" cy="922338"/>
              </a:xfrm>
              <a:custGeom>
                <a:avLst/>
                <a:gdLst>
                  <a:gd name="T0" fmla="*/ 2662 w 2761"/>
                  <a:gd name="T1" fmla="*/ 925 h 2327"/>
                  <a:gd name="T2" fmla="*/ 2711 w 2761"/>
                  <a:gd name="T3" fmla="*/ 998 h 2327"/>
                  <a:gd name="T4" fmla="*/ 2745 w 2761"/>
                  <a:gd name="T5" fmla="*/ 1131 h 2327"/>
                  <a:gd name="T6" fmla="*/ 2717 w 2761"/>
                  <a:gd name="T7" fmla="*/ 1253 h 2327"/>
                  <a:gd name="T8" fmla="*/ 2586 w 2761"/>
                  <a:gd name="T9" fmla="*/ 1251 h 2327"/>
                  <a:gd name="T10" fmla="*/ 2491 w 2761"/>
                  <a:gd name="T11" fmla="*/ 1270 h 2327"/>
                  <a:gd name="T12" fmla="*/ 2491 w 2761"/>
                  <a:gd name="T13" fmla="*/ 1358 h 2327"/>
                  <a:gd name="T14" fmla="*/ 2595 w 2761"/>
                  <a:gd name="T15" fmla="*/ 1469 h 2327"/>
                  <a:gd name="T16" fmla="*/ 2627 w 2761"/>
                  <a:gd name="T17" fmla="*/ 1544 h 2327"/>
                  <a:gd name="T18" fmla="*/ 2522 w 2761"/>
                  <a:gd name="T19" fmla="*/ 1768 h 2327"/>
                  <a:gd name="T20" fmla="*/ 2344 w 2761"/>
                  <a:gd name="T21" fmla="*/ 1820 h 2327"/>
                  <a:gd name="T22" fmla="*/ 2231 w 2761"/>
                  <a:gd name="T23" fmla="*/ 1874 h 2327"/>
                  <a:gd name="T24" fmla="*/ 2024 w 2761"/>
                  <a:gd name="T25" fmla="*/ 1947 h 2327"/>
                  <a:gd name="T26" fmla="*/ 1874 w 2761"/>
                  <a:gd name="T27" fmla="*/ 2064 h 2327"/>
                  <a:gd name="T28" fmla="*/ 1832 w 2761"/>
                  <a:gd name="T29" fmla="*/ 2202 h 2327"/>
                  <a:gd name="T30" fmla="*/ 1740 w 2761"/>
                  <a:gd name="T31" fmla="*/ 2227 h 2327"/>
                  <a:gd name="T32" fmla="*/ 1602 w 2761"/>
                  <a:gd name="T33" fmla="*/ 2182 h 2327"/>
                  <a:gd name="T34" fmla="*/ 1416 w 2761"/>
                  <a:gd name="T35" fmla="*/ 2265 h 2327"/>
                  <a:gd name="T36" fmla="*/ 1214 w 2761"/>
                  <a:gd name="T37" fmla="*/ 2233 h 2327"/>
                  <a:gd name="T38" fmla="*/ 1066 w 2761"/>
                  <a:gd name="T39" fmla="*/ 2294 h 2327"/>
                  <a:gd name="T40" fmla="*/ 1007 w 2761"/>
                  <a:gd name="T41" fmla="*/ 2116 h 2327"/>
                  <a:gd name="T42" fmla="*/ 848 w 2761"/>
                  <a:gd name="T43" fmla="*/ 2226 h 2327"/>
                  <a:gd name="T44" fmla="*/ 798 w 2761"/>
                  <a:gd name="T45" fmla="*/ 2307 h 2327"/>
                  <a:gd name="T46" fmla="*/ 639 w 2761"/>
                  <a:gd name="T47" fmla="*/ 2289 h 2327"/>
                  <a:gd name="T48" fmla="*/ 565 w 2761"/>
                  <a:gd name="T49" fmla="*/ 2298 h 2327"/>
                  <a:gd name="T50" fmla="*/ 485 w 2761"/>
                  <a:gd name="T51" fmla="*/ 2202 h 2327"/>
                  <a:gd name="T52" fmla="*/ 345 w 2761"/>
                  <a:gd name="T53" fmla="*/ 2276 h 2327"/>
                  <a:gd name="T54" fmla="*/ 296 w 2761"/>
                  <a:gd name="T55" fmla="*/ 2199 h 2327"/>
                  <a:gd name="T56" fmla="*/ 167 w 2761"/>
                  <a:gd name="T57" fmla="*/ 2310 h 2327"/>
                  <a:gd name="T58" fmla="*/ 31 w 2761"/>
                  <a:gd name="T59" fmla="*/ 2162 h 2327"/>
                  <a:gd name="T60" fmla="*/ 1 w 2761"/>
                  <a:gd name="T61" fmla="*/ 1967 h 2327"/>
                  <a:gd name="T62" fmla="*/ 45 w 2761"/>
                  <a:gd name="T63" fmla="*/ 1751 h 2327"/>
                  <a:gd name="T64" fmla="*/ 25 w 2761"/>
                  <a:gd name="T65" fmla="*/ 1647 h 2327"/>
                  <a:gd name="T66" fmla="*/ 97 w 2761"/>
                  <a:gd name="T67" fmla="*/ 1499 h 2327"/>
                  <a:gd name="T68" fmla="*/ 211 w 2761"/>
                  <a:gd name="T69" fmla="*/ 1290 h 2327"/>
                  <a:gd name="T70" fmla="*/ 372 w 2761"/>
                  <a:gd name="T71" fmla="*/ 1099 h 2327"/>
                  <a:gd name="T72" fmla="*/ 483 w 2761"/>
                  <a:gd name="T73" fmla="*/ 905 h 2327"/>
                  <a:gd name="T74" fmla="*/ 556 w 2761"/>
                  <a:gd name="T75" fmla="*/ 783 h 2327"/>
                  <a:gd name="T76" fmla="*/ 526 w 2761"/>
                  <a:gd name="T77" fmla="*/ 580 h 2327"/>
                  <a:gd name="T78" fmla="*/ 570 w 2761"/>
                  <a:gd name="T79" fmla="*/ 486 h 2327"/>
                  <a:gd name="T80" fmla="*/ 574 w 2761"/>
                  <a:gd name="T81" fmla="*/ 353 h 2327"/>
                  <a:gd name="T82" fmla="*/ 759 w 2761"/>
                  <a:gd name="T83" fmla="*/ 163 h 2327"/>
                  <a:gd name="T84" fmla="*/ 827 w 2761"/>
                  <a:gd name="T85" fmla="*/ 218 h 2327"/>
                  <a:gd name="T86" fmla="*/ 894 w 2761"/>
                  <a:gd name="T87" fmla="*/ 324 h 2327"/>
                  <a:gd name="T88" fmla="*/ 1070 w 2761"/>
                  <a:gd name="T89" fmla="*/ 367 h 2327"/>
                  <a:gd name="T90" fmla="*/ 1215 w 2761"/>
                  <a:gd name="T91" fmla="*/ 406 h 2327"/>
                  <a:gd name="T92" fmla="*/ 1293 w 2761"/>
                  <a:gd name="T93" fmla="*/ 610 h 2327"/>
                  <a:gd name="T94" fmla="*/ 1455 w 2761"/>
                  <a:gd name="T95" fmla="*/ 565 h 2327"/>
                  <a:gd name="T96" fmla="*/ 1502 w 2761"/>
                  <a:gd name="T97" fmla="*/ 483 h 2327"/>
                  <a:gd name="T98" fmla="*/ 1761 w 2761"/>
                  <a:gd name="T99" fmla="*/ 309 h 2327"/>
                  <a:gd name="T100" fmla="*/ 1706 w 2761"/>
                  <a:gd name="T101" fmla="*/ 237 h 2327"/>
                  <a:gd name="T102" fmla="*/ 1742 w 2761"/>
                  <a:gd name="T103" fmla="*/ 170 h 2327"/>
                  <a:gd name="T104" fmla="*/ 1770 w 2761"/>
                  <a:gd name="T105" fmla="*/ 34 h 2327"/>
                  <a:gd name="T106" fmla="*/ 1825 w 2761"/>
                  <a:gd name="T107" fmla="*/ 24 h 2327"/>
                  <a:gd name="T108" fmla="*/ 1943 w 2761"/>
                  <a:gd name="T109" fmla="*/ 215 h 2327"/>
                  <a:gd name="T110" fmla="*/ 2097 w 2761"/>
                  <a:gd name="T111" fmla="*/ 292 h 2327"/>
                  <a:gd name="T112" fmla="*/ 2207 w 2761"/>
                  <a:gd name="T113" fmla="*/ 467 h 2327"/>
                  <a:gd name="T114" fmla="*/ 2355 w 2761"/>
                  <a:gd name="T115" fmla="*/ 442 h 2327"/>
                  <a:gd name="T116" fmla="*/ 2479 w 2761"/>
                  <a:gd name="T117" fmla="*/ 556 h 2327"/>
                  <a:gd name="T118" fmla="*/ 2665 w 2761"/>
                  <a:gd name="T119" fmla="*/ 616 h 2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761" h="2327">
                    <a:moveTo>
                      <a:pt x="2677" y="619"/>
                    </a:moveTo>
                    <a:lnTo>
                      <a:pt x="2674" y="745"/>
                    </a:lnTo>
                    <a:lnTo>
                      <a:pt x="2675" y="762"/>
                    </a:lnTo>
                    <a:lnTo>
                      <a:pt x="2676" y="779"/>
                    </a:lnTo>
                    <a:lnTo>
                      <a:pt x="2674" y="795"/>
                    </a:lnTo>
                    <a:lnTo>
                      <a:pt x="2672" y="811"/>
                    </a:lnTo>
                    <a:lnTo>
                      <a:pt x="2665" y="844"/>
                    </a:lnTo>
                    <a:lnTo>
                      <a:pt x="2659" y="876"/>
                    </a:lnTo>
                    <a:lnTo>
                      <a:pt x="2658" y="889"/>
                    </a:lnTo>
                    <a:lnTo>
                      <a:pt x="2658" y="900"/>
                    </a:lnTo>
                    <a:lnTo>
                      <a:pt x="2658" y="910"/>
                    </a:lnTo>
                    <a:lnTo>
                      <a:pt x="2660" y="917"/>
                    </a:lnTo>
                    <a:lnTo>
                      <a:pt x="2662" y="925"/>
                    </a:lnTo>
                    <a:lnTo>
                      <a:pt x="2665" y="931"/>
                    </a:lnTo>
                    <a:lnTo>
                      <a:pt x="2668" y="937"/>
                    </a:lnTo>
                    <a:lnTo>
                      <a:pt x="2673" y="941"/>
                    </a:lnTo>
                    <a:lnTo>
                      <a:pt x="2681" y="951"/>
                    </a:lnTo>
                    <a:lnTo>
                      <a:pt x="2690" y="959"/>
                    </a:lnTo>
                    <a:lnTo>
                      <a:pt x="2694" y="965"/>
                    </a:lnTo>
                    <a:lnTo>
                      <a:pt x="2698" y="971"/>
                    </a:lnTo>
                    <a:lnTo>
                      <a:pt x="2701" y="978"/>
                    </a:lnTo>
                    <a:lnTo>
                      <a:pt x="2703" y="985"/>
                    </a:lnTo>
                    <a:lnTo>
                      <a:pt x="2706" y="986"/>
                    </a:lnTo>
                    <a:lnTo>
                      <a:pt x="2708" y="989"/>
                    </a:lnTo>
                    <a:lnTo>
                      <a:pt x="2711" y="994"/>
                    </a:lnTo>
                    <a:lnTo>
                      <a:pt x="2711" y="998"/>
                    </a:lnTo>
                    <a:lnTo>
                      <a:pt x="2711" y="1011"/>
                    </a:lnTo>
                    <a:lnTo>
                      <a:pt x="2710" y="1026"/>
                    </a:lnTo>
                    <a:lnTo>
                      <a:pt x="2707" y="1041"/>
                    </a:lnTo>
                    <a:lnTo>
                      <a:pt x="2706" y="1055"/>
                    </a:lnTo>
                    <a:lnTo>
                      <a:pt x="2705" y="1062"/>
                    </a:lnTo>
                    <a:lnTo>
                      <a:pt x="2705" y="1068"/>
                    </a:lnTo>
                    <a:lnTo>
                      <a:pt x="2706" y="1073"/>
                    </a:lnTo>
                    <a:lnTo>
                      <a:pt x="2707" y="1077"/>
                    </a:lnTo>
                    <a:lnTo>
                      <a:pt x="2714" y="1089"/>
                    </a:lnTo>
                    <a:lnTo>
                      <a:pt x="2720" y="1100"/>
                    </a:lnTo>
                    <a:lnTo>
                      <a:pt x="2727" y="1108"/>
                    </a:lnTo>
                    <a:lnTo>
                      <a:pt x="2733" y="1117"/>
                    </a:lnTo>
                    <a:lnTo>
                      <a:pt x="2745" y="1131"/>
                    </a:lnTo>
                    <a:lnTo>
                      <a:pt x="2754" y="1144"/>
                    </a:lnTo>
                    <a:lnTo>
                      <a:pt x="2757" y="1150"/>
                    </a:lnTo>
                    <a:lnTo>
                      <a:pt x="2759" y="1158"/>
                    </a:lnTo>
                    <a:lnTo>
                      <a:pt x="2761" y="1166"/>
                    </a:lnTo>
                    <a:lnTo>
                      <a:pt x="2761" y="1175"/>
                    </a:lnTo>
                    <a:lnTo>
                      <a:pt x="2758" y="1185"/>
                    </a:lnTo>
                    <a:lnTo>
                      <a:pt x="2755" y="1197"/>
                    </a:lnTo>
                    <a:lnTo>
                      <a:pt x="2750" y="1210"/>
                    </a:lnTo>
                    <a:lnTo>
                      <a:pt x="2742" y="1226"/>
                    </a:lnTo>
                    <a:lnTo>
                      <a:pt x="2737" y="1234"/>
                    </a:lnTo>
                    <a:lnTo>
                      <a:pt x="2731" y="1241"/>
                    </a:lnTo>
                    <a:lnTo>
                      <a:pt x="2725" y="1248"/>
                    </a:lnTo>
                    <a:lnTo>
                      <a:pt x="2717" y="1253"/>
                    </a:lnTo>
                    <a:lnTo>
                      <a:pt x="2710" y="1257"/>
                    </a:lnTo>
                    <a:lnTo>
                      <a:pt x="2701" y="1262"/>
                    </a:lnTo>
                    <a:lnTo>
                      <a:pt x="2692" y="1264"/>
                    </a:lnTo>
                    <a:lnTo>
                      <a:pt x="2682" y="1266"/>
                    </a:lnTo>
                    <a:lnTo>
                      <a:pt x="2674" y="1268"/>
                    </a:lnTo>
                    <a:lnTo>
                      <a:pt x="2664" y="1268"/>
                    </a:lnTo>
                    <a:lnTo>
                      <a:pt x="2654" y="1268"/>
                    </a:lnTo>
                    <a:lnTo>
                      <a:pt x="2645" y="1268"/>
                    </a:lnTo>
                    <a:lnTo>
                      <a:pt x="2625" y="1265"/>
                    </a:lnTo>
                    <a:lnTo>
                      <a:pt x="2607" y="1261"/>
                    </a:lnTo>
                    <a:lnTo>
                      <a:pt x="2599" y="1258"/>
                    </a:lnTo>
                    <a:lnTo>
                      <a:pt x="2593" y="1255"/>
                    </a:lnTo>
                    <a:lnTo>
                      <a:pt x="2586" y="1251"/>
                    </a:lnTo>
                    <a:lnTo>
                      <a:pt x="2581" y="1248"/>
                    </a:lnTo>
                    <a:lnTo>
                      <a:pt x="2571" y="1240"/>
                    </a:lnTo>
                    <a:lnTo>
                      <a:pt x="2562" y="1234"/>
                    </a:lnTo>
                    <a:lnTo>
                      <a:pt x="2557" y="1231"/>
                    </a:lnTo>
                    <a:lnTo>
                      <a:pt x="2552" y="1229"/>
                    </a:lnTo>
                    <a:lnTo>
                      <a:pt x="2548" y="1229"/>
                    </a:lnTo>
                    <a:lnTo>
                      <a:pt x="2543" y="1229"/>
                    </a:lnTo>
                    <a:lnTo>
                      <a:pt x="2537" y="1231"/>
                    </a:lnTo>
                    <a:lnTo>
                      <a:pt x="2532" y="1234"/>
                    </a:lnTo>
                    <a:lnTo>
                      <a:pt x="2525" y="1239"/>
                    </a:lnTo>
                    <a:lnTo>
                      <a:pt x="2519" y="1245"/>
                    </a:lnTo>
                    <a:lnTo>
                      <a:pt x="2506" y="1257"/>
                    </a:lnTo>
                    <a:lnTo>
                      <a:pt x="2491" y="1270"/>
                    </a:lnTo>
                    <a:lnTo>
                      <a:pt x="2475" y="1284"/>
                    </a:lnTo>
                    <a:lnTo>
                      <a:pt x="2464" y="1298"/>
                    </a:lnTo>
                    <a:lnTo>
                      <a:pt x="2458" y="1305"/>
                    </a:lnTo>
                    <a:lnTo>
                      <a:pt x="2455" y="1312"/>
                    </a:lnTo>
                    <a:lnTo>
                      <a:pt x="2454" y="1319"/>
                    </a:lnTo>
                    <a:lnTo>
                      <a:pt x="2454" y="1325"/>
                    </a:lnTo>
                    <a:lnTo>
                      <a:pt x="2455" y="1330"/>
                    </a:lnTo>
                    <a:lnTo>
                      <a:pt x="2456" y="1333"/>
                    </a:lnTo>
                    <a:lnTo>
                      <a:pt x="2458" y="1336"/>
                    </a:lnTo>
                    <a:lnTo>
                      <a:pt x="2461" y="1339"/>
                    </a:lnTo>
                    <a:lnTo>
                      <a:pt x="2469" y="1345"/>
                    </a:lnTo>
                    <a:lnTo>
                      <a:pt x="2480" y="1351"/>
                    </a:lnTo>
                    <a:lnTo>
                      <a:pt x="2491" y="1358"/>
                    </a:lnTo>
                    <a:lnTo>
                      <a:pt x="2500" y="1364"/>
                    </a:lnTo>
                    <a:lnTo>
                      <a:pt x="2507" y="1371"/>
                    </a:lnTo>
                    <a:lnTo>
                      <a:pt x="2513" y="1378"/>
                    </a:lnTo>
                    <a:lnTo>
                      <a:pt x="2522" y="1393"/>
                    </a:lnTo>
                    <a:lnTo>
                      <a:pt x="2529" y="1410"/>
                    </a:lnTo>
                    <a:lnTo>
                      <a:pt x="2532" y="1417"/>
                    </a:lnTo>
                    <a:lnTo>
                      <a:pt x="2536" y="1426"/>
                    </a:lnTo>
                    <a:lnTo>
                      <a:pt x="2542" y="1433"/>
                    </a:lnTo>
                    <a:lnTo>
                      <a:pt x="2548" y="1441"/>
                    </a:lnTo>
                    <a:lnTo>
                      <a:pt x="2557" y="1448"/>
                    </a:lnTo>
                    <a:lnTo>
                      <a:pt x="2567" y="1455"/>
                    </a:lnTo>
                    <a:lnTo>
                      <a:pt x="2580" y="1463"/>
                    </a:lnTo>
                    <a:lnTo>
                      <a:pt x="2595" y="1469"/>
                    </a:lnTo>
                    <a:lnTo>
                      <a:pt x="2600" y="1469"/>
                    </a:lnTo>
                    <a:lnTo>
                      <a:pt x="2607" y="1470"/>
                    </a:lnTo>
                    <a:lnTo>
                      <a:pt x="2613" y="1472"/>
                    </a:lnTo>
                    <a:lnTo>
                      <a:pt x="2619" y="1474"/>
                    </a:lnTo>
                    <a:lnTo>
                      <a:pt x="2624" y="1479"/>
                    </a:lnTo>
                    <a:lnTo>
                      <a:pt x="2628" y="1483"/>
                    </a:lnTo>
                    <a:lnTo>
                      <a:pt x="2633" y="1488"/>
                    </a:lnTo>
                    <a:lnTo>
                      <a:pt x="2635" y="1495"/>
                    </a:lnTo>
                    <a:lnTo>
                      <a:pt x="2636" y="1501"/>
                    </a:lnTo>
                    <a:lnTo>
                      <a:pt x="2636" y="1509"/>
                    </a:lnTo>
                    <a:lnTo>
                      <a:pt x="2635" y="1518"/>
                    </a:lnTo>
                    <a:lnTo>
                      <a:pt x="2633" y="1526"/>
                    </a:lnTo>
                    <a:lnTo>
                      <a:pt x="2627" y="1544"/>
                    </a:lnTo>
                    <a:lnTo>
                      <a:pt x="2622" y="1556"/>
                    </a:lnTo>
                    <a:lnTo>
                      <a:pt x="2612" y="1577"/>
                    </a:lnTo>
                    <a:lnTo>
                      <a:pt x="2602" y="1599"/>
                    </a:lnTo>
                    <a:lnTo>
                      <a:pt x="2593" y="1619"/>
                    </a:lnTo>
                    <a:lnTo>
                      <a:pt x="2582" y="1640"/>
                    </a:lnTo>
                    <a:lnTo>
                      <a:pt x="2582" y="1640"/>
                    </a:lnTo>
                    <a:lnTo>
                      <a:pt x="2548" y="1703"/>
                    </a:lnTo>
                    <a:lnTo>
                      <a:pt x="2543" y="1722"/>
                    </a:lnTo>
                    <a:lnTo>
                      <a:pt x="2538" y="1737"/>
                    </a:lnTo>
                    <a:lnTo>
                      <a:pt x="2534" y="1750"/>
                    </a:lnTo>
                    <a:lnTo>
                      <a:pt x="2530" y="1760"/>
                    </a:lnTo>
                    <a:lnTo>
                      <a:pt x="2525" y="1765"/>
                    </a:lnTo>
                    <a:lnTo>
                      <a:pt x="2522" y="1768"/>
                    </a:lnTo>
                    <a:lnTo>
                      <a:pt x="2518" y="1772"/>
                    </a:lnTo>
                    <a:lnTo>
                      <a:pt x="2511" y="1776"/>
                    </a:lnTo>
                    <a:lnTo>
                      <a:pt x="2497" y="1783"/>
                    </a:lnTo>
                    <a:lnTo>
                      <a:pt x="2477" y="1790"/>
                    </a:lnTo>
                    <a:lnTo>
                      <a:pt x="2461" y="1793"/>
                    </a:lnTo>
                    <a:lnTo>
                      <a:pt x="2446" y="1796"/>
                    </a:lnTo>
                    <a:lnTo>
                      <a:pt x="2430" y="1797"/>
                    </a:lnTo>
                    <a:lnTo>
                      <a:pt x="2414" y="1799"/>
                    </a:lnTo>
                    <a:lnTo>
                      <a:pt x="2399" y="1802"/>
                    </a:lnTo>
                    <a:lnTo>
                      <a:pt x="2382" y="1804"/>
                    </a:lnTo>
                    <a:lnTo>
                      <a:pt x="2367" y="1808"/>
                    </a:lnTo>
                    <a:lnTo>
                      <a:pt x="2353" y="1815"/>
                    </a:lnTo>
                    <a:lnTo>
                      <a:pt x="2344" y="1820"/>
                    </a:lnTo>
                    <a:lnTo>
                      <a:pt x="2338" y="1826"/>
                    </a:lnTo>
                    <a:lnTo>
                      <a:pt x="2331" y="1833"/>
                    </a:lnTo>
                    <a:lnTo>
                      <a:pt x="2326" y="1841"/>
                    </a:lnTo>
                    <a:lnTo>
                      <a:pt x="2321" y="1848"/>
                    </a:lnTo>
                    <a:lnTo>
                      <a:pt x="2314" y="1855"/>
                    </a:lnTo>
                    <a:lnTo>
                      <a:pt x="2310" y="1857"/>
                    </a:lnTo>
                    <a:lnTo>
                      <a:pt x="2305" y="1860"/>
                    </a:lnTo>
                    <a:lnTo>
                      <a:pt x="2301" y="1862"/>
                    </a:lnTo>
                    <a:lnTo>
                      <a:pt x="2296" y="1864"/>
                    </a:lnTo>
                    <a:lnTo>
                      <a:pt x="2279" y="1868"/>
                    </a:lnTo>
                    <a:lnTo>
                      <a:pt x="2263" y="1871"/>
                    </a:lnTo>
                    <a:lnTo>
                      <a:pt x="2247" y="1873"/>
                    </a:lnTo>
                    <a:lnTo>
                      <a:pt x="2231" y="1874"/>
                    </a:lnTo>
                    <a:lnTo>
                      <a:pt x="2214" y="1876"/>
                    </a:lnTo>
                    <a:lnTo>
                      <a:pt x="2198" y="1879"/>
                    </a:lnTo>
                    <a:lnTo>
                      <a:pt x="2183" y="1884"/>
                    </a:lnTo>
                    <a:lnTo>
                      <a:pt x="2168" y="1890"/>
                    </a:lnTo>
                    <a:lnTo>
                      <a:pt x="2103" y="1947"/>
                    </a:lnTo>
                    <a:lnTo>
                      <a:pt x="2103" y="1947"/>
                    </a:lnTo>
                    <a:lnTo>
                      <a:pt x="2088" y="1942"/>
                    </a:lnTo>
                    <a:lnTo>
                      <a:pt x="2072" y="1940"/>
                    </a:lnTo>
                    <a:lnTo>
                      <a:pt x="2058" y="1940"/>
                    </a:lnTo>
                    <a:lnTo>
                      <a:pt x="2044" y="1941"/>
                    </a:lnTo>
                    <a:lnTo>
                      <a:pt x="2038" y="1943"/>
                    </a:lnTo>
                    <a:lnTo>
                      <a:pt x="2030" y="1945"/>
                    </a:lnTo>
                    <a:lnTo>
                      <a:pt x="2024" y="1947"/>
                    </a:lnTo>
                    <a:lnTo>
                      <a:pt x="2017" y="1951"/>
                    </a:lnTo>
                    <a:lnTo>
                      <a:pt x="2011" y="1955"/>
                    </a:lnTo>
                    <a:lnTo>
                      <a:pt x="2005" y="1959"/>
                    </a:lnTo>
                    <a:lnTo>
                      <a:pt x="1999" y="1965"/>
                    </a:lnTo>
                    <a:lnTo>
                      <a:pt x="1993" y="1970"/>
                    </a:lnTo>
                    <a:lnTo>
                      <a:pt x="1988" y="1977"/>
                    </a:lnTo>
                    <a:lnTo>
                      <a:pt x="1980" y="1983"/>
                    </a:lnTo>
                    <a:lnTo>
                      <a:pt x="1972" y="1990"/>
                    </a:lnTo>
                    <a:lnTo>
                      <a:pt x="1965" y="1993"/>
                    </a:lnTo>
                    <a:lnTo>
                      <a:pt x="1933" y="2015"/>
                    </a:lnTo>
                    <a:lnTo>
                      <a:pt x="1901" y="2038"/>
                    </a:lnTo>
                    <a:lnTo>
                      <a:pt x="1887" y="2050"/>
                    </a:lnTo>
                    <a:lnTo>
                      <a:pt x="1874" y="2064"/>
                    </a:lnTo>
                    <a:lnTo>
                      <a:pt x="1868" y="2072"/>
                    </a:lnTo>
                    <a:lnTo>
                      <a:pt x="1862" y="2080"/>
                    </a:lnTo>
                    <a:lnTo>
                      <a:pt x="1858" y="2089"/>
                    </a:lnTo>
                    <a:lnTo>
                      <a:pt x="1853" y="2099"/>
                    </a:lnTo>
                    <a:lnTo>
                      <a:pt x="1850" y="2107"/>
                    </a:lnTo>
                    <a:lnTo>
                      <a:pt x="1848" y="2116"/>
                    </a:lnTo>
                    <a:lnTo>
                      <a:pt x="1847" y="2126"/>
                    </a:lnTo>
                    <a:lnTo>
                      <a:pt x="1846" y="2135"/>
                    </a:lnTo>
                    <a:lnTo>
                      <a:pt x="1844" y="2155"/>
                    </a:lnTo>
                    <a:lnTo>
                      <a:pt x="1840" y="2174"/>
                    </a:lnTo>
                    <a:lnTo>
                      <a:pt x="1838" y="2184"/>
                    </a:lnTo>
                    <a:lnTo>
                      <a:pt x="1835" y="2194"/>
                    </a:lnTo>
                    <a:lnTo>
                      <a:pt x="1832" y="2202"/>
                    </a:lnTo>
                    <a:lnTo>
                      <a:pt x="1827" y="2210"/>
                    </a:lnTo>
                    <a:lnTo>
                      <a:pt x="1822" y="2216"/>
                    </a:lnTo>
                    <a:lnTo>
                      <a:pt x="1814" y="2223"/>
                    </a:lnTo>
                    <a:lnTo>
                      <a:pt x="1807" y="2228"/>
                    </a:lnTo>
                    <a:lnTo>
                      <a:pt x="1796" y="2231"/>
                    </a:lnTo>
                    <a:lnTo>
                      <a:pt x="1788" y="2234"/>
                    </a:lnTo>
                    <a:lnTo>
                      <a:pt x="1780" y="2236"/>
                    </a:lnTo>
                    <a:lnTo>
                      <a:pt x="1772" y="2236"/>
                    </a:lnTo>
                    <a:lnTo>
                      <a:pt x="1766" y="2235"/>
                    </a:lnTo>
                    <a:lnTo>
                      <a:pt x="1759" y="2234"/>
                    </a:lnTo>
                    <a:lnTo>
                      <a:pt x="1753" y="2233"/>
                    </a:lnTo>
                    <a:lnTo>
                      <a:pt x="1746" y="2230"/>
                    </a:lnTo>
                    <a:lnTo>
                      <a:pt x="1740" y="2227"/>
                    </a:lnTo>
                    <a:lnTo>
                      <a:pt x="1718" y="2213"/>
                    </a:lnTo>
                    <a:lnTo>
                      <a:pt x="1696" y="2196"/>
                    </a:lnTo>
                    <a:lnTo>
                      <a:pt x="1684" y="2188"/>
                    </a:lnTo>
                    <a:lnTo>
                      <a:pt x="1672" y="2182"/>
                    </a:lnTo>
                    <a:lnTo>
                      <a:pt x="1666" y="2179"/>
                    </a:lnTo>
                    <a:lnTo>
                      <a:pt x="1659" y="2176"/>
                    </a:lnTo>
                    <a:lnTo>
                      <a:pt x="1653" y="2175"/>
                    </a:lnTo>
                    <a:lnTo>
                      <a:pt x="1645" y="2174"/>
                    </a:lnTo>
                    <a:lnTo>
                      <a:pt x="1638" y="2174"/>
                    </a:lnTo>
                    <a:lnTo>
                      <a:pt x="1629" y="2174"/>
                    </a:lnTo>
                    <a:lnTo>
                      <a:pt x="1620" y="2176"/>
                    </a:lnTo>
                    <a:lnTo>
                      <a:pt x="1612" y="2179"/>
                    </a:lnTo>
                    <a:lnTo>
                      <a:pt x="1602" y="2182"/>
                    </a:lnTo>
                    <a:lnTo>
                      <a:pt x="1592" y="2186"/>
                    </a:lnTo>
                    <a:lnTo>
                      <a:pt x="1581" y="2192"/>
                    </a:lnTo>
                    <a:lnTo>
                      <a:pt x="1570" y="2199"/>
                    </a:lnTo>
                    <a:lnTo>
                      <a:pt x="1529" y="2227"/>
                    </a:lnTo>
                    <a:lnTo>
                      <a:pt x="1495" y="2250"/>
                    </a:lnTo>
                    <a:lnTo>
                      <a:pt x="1486" y="2254"/>
                    </a:lnTo>
                    <a:lnTo>
                      <a:pt x="1477" y="2258"/>
                    </a:lnTo>
                    <a:lnTo>
                      <a:pt x="1469" y="2262"/>
                    </a:lnTo>
                    <a:lnTo>
                      <a:pt x="1460" y="2264"/>
                    </a:lnTo>
                    <a:lnTo>
                      <a:pt x="1450" y="2266"/>
                    </a:lnTo>
                    <a:lnTo>
                      <a:pt x="1439" y="2266"/>
                    </a:lnTo>
                    <a:lnTo>
                      <a:pt x="1429" y="2266"/>
                    </a:lnTo>
                    <a:lnTo>
                      <a:pt x="1416" y="2265"/>
                    </a:lnTo>
                    <a:lnTo>
                      <a:pt x="1415" y="2263"/>
                    </a:lnTo>
                    <a:lnTo>
                      <a:pt x="1411" y="2261"/>
                    </a:lnTo>
                    <a:lnTo>
                      <a:pt x="1396" y="2256"/>
                    </a:lnTo>
                    <a:lnTo>
                      <a:pt x="1380" y="2251"/>
                    </a:lnTo>
                    <a:lnTo>
                      <a:pt x="1363" y="2247"/>
                    </a:lnTo>
                    <a:lnTo>
                      <a:pt x="1345" y="2243"/>
                    </a:lnTo>
                    <a:lnTo>
                      <a:pt x="1328" y="2240"/>
                    </a:lnTo>
                    <a:lnTo>
                      <a:pt x="1309" y="2237"/>
                    </a:lnTo>
                    <a:lnTo>
                      <a:pt x="1290" y="2235"/>
                    </a:lnTo>
                    <a:lnTo>
                      <a:pt x="1271" y="2234"/>
                    </a:lnTo>
                    <a:lnTo>
                      <a:pt x="1252" y="2233"/>
                    </a:lnTo>
                    <a:lnTo>
                      <a:pt x="1234" y="2233"/>
                    </a:lnTo>
                    <a:lnTo>
                      <a:pt x="1214" y="2233"/>
                    </a:lnTo>
                    <a:lnTo>
                      <a:pt x="1196" y="2234"/>
                    </a:lnTo>
                    <a:lnTo>
                      <a:pt x="1178" y="2236"/>
                    </a:lnTo>
                    <a:lnTo>
                      <a:pt x="1161" y="2239"/>
                    </a:lnTo>
                    <a:lnTo>
                      <a:pt x="1145" y="2242"/>
                    </a:lnTo>
                    <a:lnTo>
                      <a:pt x="1128" y="2247"/>
                    </a:lnTo>
                    <a:lnTo>
                      <a:pt x="1120" y="2251"/>
                    </a:lnTo>
                    <a:lnTo>
                      <a:pt x="1111" y="2257"/>
                    </a:lnTo>
                    <a:lnTo>
                      <a:pt x="1102" y="2265"/>
                    </a:lnTo>
                    <a:lnTo>
                      <a:pt x="1093" y="2274"/>
                    </a:lnTo>
                    <a:lnTo>
                      <a:pt x="1084" y="2281"/>
                    </a:lnTo>
                    <a:lnTo>
                      <a:pt x="1076" y="2288"/>
                    </a:lnTo>
                    <a:lnTo>
                      <a:pt x="1070" y="2293"/>
                    </a:lnTo>
                    <a:lnTo>
                      <a:pt x="1066" y="2294"/>
                    </a:lnTo>
                    <a:lnTo>
                      <a:pt x="1062" y="2278"/>
                    </a:lnTo>
                    <a:lnTo>
                      <a:pt x="1060" y="2252"/>
                    </a:lnTo>
                    <a:lnTo>
                      <a:pt x="1057" y="2220"/>
                    </a:lnTo>
                    <a:lnTo>
                      <a:pt x="1050" y="2186"/>
                    </a:lnTo>
                    <a:lnTo>
                      <a:pt x="1047" y="2170"/>
                    </a:lnTo>
                    <a:lnTo>
                      <a:pt x="1042" y="2155"/>
                    </a:lnTo>
                    <a:lnTo>
                      <a:pt x="1036" y="2142"/>
                    </a:lnTo>
                    <a:lnTo>
                      <a:pt x="1030" y="2131"/>
                    </a:lnTo>
                    <a:lnTo>
                      <a:pt x="1025" y="2127"/>
                    </a:lnTo>
                    <a:lnTo>
                      <a:pt x="1021" y="2122"/>
                    </a:lnTo>
                    <a:lnTo>
                      <a:pt x="1017" y="2119"/>
                    </a:lnTo>
                    <a:lnTo>
                      <a:pt x="1012" y="2118"/>
                    </a:lnTo>
                    <a:lnTo>
                      <a:pt x="1007" y="2116"/>
                    </a:lnTo>
                    <a:lnTo>
                      <a:pt x="1002" y="2116"/>
                    </a:lnTo>
                    <a:lnTo>
                      <a:pt x="995" y="2117"/>
                    </a:lnTo>
                    <a:lnTo>
                      <a:pt x="990" y="2119"/>
                    </a:lnTo>
                    <a:lnTo>
                      <a:pt x="963" y="2131"/>
                    </a:lnTo>
                    <a:lnTo>
                      <a:pt x="936" y="2145"/>
                    </a:lnTo>
                    <a:lnTo>
                      <a:pt x="921" y="2153"/>
                    </a:lnTo>
                    <a:lnTo>
                      <a:pt x="908" y="2161"/>
                    </a:lnTo>
                    <a:lnTo>
                      <a:pt x="897" y="2171"/>
                    </a:lnTo>
                    <a:lnTo>
                      <a:pt x="885" y="2181"/>
                    </a:lnTo>
                    <a:lnTo>
                      <a:pt x="874" y="2190"/>
                    </a:lnTo>
                    <a:lnTo>
                      <a:pt x="864" y="2201"/>
                    </a:lnTo>
                    <a:lnTo>
                      <a:pt x="855" y="2213"/>
                    </a:lnTo>
                    <a:lnTo>
                      <a:pt x="848" y="2226"/>
                    </a:lnTo>
                    <a:lnTo>
                      <a:pt x="841" y="2239"/>
                    </a:lnTo>
                    <a:lnTo>
                      <a:pt x="838" y="2253"/>
                    </a:lnTo>
                    <a:lnTo>
                      <a:pt x="835" y="2267"/>
                    </a:lnTo>
                    <a:lnTo>
                      <a:pt x="835" y="2283"/>
                    </a:lnTo>
                    <a:lnTo>
                      <a:pt x="835" y="2287"/>
                    </a:lnTo>
                    <a:lnTo>
                      <a:pt x="834" y="2291"/>
                    </a:lnTo>
                    <a:lnTo>
                      <a:pt x="834" y="2294"/>
                    </a:lnTo>
                    <a:lnTo>
                      <a:pt x="832" y="2297"/>
                    </a:lnTo>
                    <a:lnTo>
                      <a:pt x="827" y="2302"/>
                    </a:lnTo>
                    <a:lnTo>
                      <a:pt x="822" y="2305"/>
                    </a:lnTo>
                    <a:lnTo>
                      <a:pt x="815" y="2307"/>
                    </a:lnTo>
                    <a:lnTo>
                      <a:pt x="807" y="2307"/>
                    </a:lnTo>
                    <a:lnTo>
                      <a:pt x="798" y="2307"/>
                    </a:lnTo>
                    <a:lnTo>
                      <a:pt x="789" y="2307"/>
                    </a:lnTo>
                    <a:lnTo>
                      <a:pt x="750" y="2301"/>
                    </a:lnTo>
                    <a:lnTo>
                      <a:pt x="720" y="2297"/>
                    </a:lnTo>
                    <a:lnTo>
                      <a:pt x="710" y="2295"/>
                    </a:lnTo>
                    <a:lnTo>
                      <a:pt x="700" y="2292"/>
                    </a:lnTo>
                    <a:lnTo>
                      <a:pt x="690" y="2288"/>
                    </a:lnTo>
                    <a:lnTo>
                      <a:pt x="679" y="2283"/>
                    </a:lnTo>
                    <a:lnTo>
                      <a:pt x="668" y="2281"/>
                    </a:lnTo>
                    <a:lnTo>
                      <a:pt x="658" y="2280"/>
                    </a:lnTo>
                    <a:lnTo>
                      <a:pt x="653" y="2281"/>
                    </a:lnTo>
                    <a:lnTo>
                      <a:pt x="648" y="2282"/>
                    </a:lnTo>
                    <a:lnTo>
                      <a:pt x="643" y="2284"/>
                    </a:lnTo>
                    <a:lnTo>
                      <a:pt x="639" y="2289"/>
                    </a:lnTo>
                    <a:lnTo>
                      <a:pt x="631" y="2295"/>
                    </a:lnTo>
                    <a:lnTo>
                      <a:pt x="623" y="2303"/>
                    </a:lnTo>
                    <a:lnTo>
                      <a:pt x="616" y="2309"/>
                    </a:lnTo>
                    <a:lnTo>
                      <a:pt x="607" y="2315"/>
                    </a:lnTo>
                    <a:lnTo>
                      <a:pt x="604" y="2317"/>
                    </a:lnTo>
                    <a:lnTo>
                      <a:pt x="600" y="2318"/>
                    </a:lnTo>
                    <a:lnTo>
                      <a:pt x="594" y="2318"/>
                    </a:lnTo>
                    <a:lnTo>
                      <a:pt x="590" y="2318"/>
                    </a:lnTo>
                    <a:lnTo>
                      <a:pt x="586" y="2317"/>
                    </a:lnTo>
                    <a:lnTo>
                      <a:pt x="580" y="2314"/>
                    </a:lnTo>
                    <a:lnTo>
                      <a:pt x="576" y="2310"/>
                    </a:lnTo>
                    <a:lnTo>
                      <a:pt x="570" y="2306"/>
                    </a:lnTo>
                    <a:lnTo>
                      <a:pt x="565" y="2298"/>
                    </a:lnTo>
                    <a:lnTo>
                      <a:pt x="560" y="2291"/>
                    </a:lnTo>
                    <a:lnTo>
                      <a:pt x="554" y="2282"/>
                    </a:lnTo>
                    <a:lnTo>
                      <a:pt x="550" y="2273"/>
                    </a:lnTo>
                    <a:lnTo>
                      <a:pt x="540" y="2253"/>
                    </a:lnTo>
                    <a:lnTo>
                      <a:pt x="529" y="2235"/>
                    </a:lnTo>
                    <a:lnTo>
                      <a:pt x="524" y="2226"/>
                    </a:lnTo>
                    <a:lnTo>
                      <a:pt x="518" y="2219"/>
                    </a:lnTo>
                    <a:lnTo>
                      <a:pt x="513" y="2212"/>
                    </a:lnTo>
                    <a:lnTo>
                      <a:pt x="506" y="2207"/>
                    </a:lnTo>
                    <a:lnTo>
                      <a:pt x="500" y="2203"/>
                    </a:lnTo>
                    <a:lnTo>
                      <a:pt x="492" y="2201"/>
                    </a:lnTo>
                    <a:lnTo>
                      <a:pt x="489" y="2201"/>
                    </a:lnTo>
                    <a:lnTo>
                      <a:pt x="485" y="2202"/>
                    </a:lnTo>
                    <a:lnTo>
                      <a:pt x="481" y="2203"/>
                    </a:lnTo>
                    <a:lnTo>
                      <a:pt x="477" y="2204"/>
                    </a:lnTo>
                    <a:lnTo>
                      <a:pt x="463" y="2213"/>
                    </a:lnTo>
                    <a:lnTo>
                      <a:pt x="448" y="2223"/>
                    </a:lnTo>
                    <a:lnTo>
                      <a:pt x="431" y="2235"/>
                    </a:lnTo>
                    <a:lnTo>
                      <a:pt x="414" y="2247"/>
                    </a:lnTo>
                    <a:lnTo>
                      <a:pt x="397" y="2258"/>
                    </a:lnTo>
                    <a:lnTo>
                      <a:pt x="380" y="2268"/>
                    </a:lnTo>
                    <a:lnTo>
                      <a:pt x="372" y="2271"/>
                    </a:lnTo>
                    <a:lnTo>
                      <a:pt x="364" y="2275"/>
                    </a:lnTo>
                    <a:lnTo>
                      <a:pt x="357" y="2276"/>
                    </a:lnTo>
                    <a:lnTo>
                      <a:pt x="349" y="2277"/>
                    </a:lnTo>
                    <a:lnTo>
                      <a:pt x="345" y="2276"/>
                    </a:lnTo>
                    <a:lnTo>
                      <a:pt x="341" y="2276"/>
                    </a:lnTo>
                    <a:lnTo>
                      <a:pt x="336" y="2274"/>
                    </a:lnTo>
                    <a:lnTo>
                      <a:pt x="332" y="2271"/>
                    </a:lnTo>
                    <a:lnTo>
                      <a:pt x="325" y="2266"/>
                    </a:lnTo>
                    <a:lnTo>
                      <a:pt x="320" y="2260"/>
                    </a:lnTo>
                    <a:lnTo>
                      <a:pt x="316" y="2251"/>
                    </a:lnTo>
                    <a:lnTo>
                      <a:pt x="312" y="2242"/>
                    </a:lnTo>
                    <a:lnTo>
                      <a:pt x="309" y="2234"/>
                    </a:lnTo>
                    <a:lnTo>
                      <a:pt x="307" y="2225"/>
                    </a:lnTo>
                    <a:lnTo>
                      <a:pt x="305" y="2216"/>
                    </a:lnTo>
                    <a:lnTo>
                      <a:pt x="302" y="2209"/>
                    </a:lnTo>
                    <a:lnTo>
                      <a:pt x="299" y="2203"/>
                    </a:lnTo>
                    <a:lnTo>
                      <a:pt x="296" y="2199"/>
                    </a:lnTo>
                    <a:lnTo>
                      <a:pt x="294" y="2197"/>
                    </a:lnTo>
                    <a:lnTo>
                      <a:pt x="292" y="2197"/>
                    </a:lnTo>
                    <a:lnTo>
                      <a:pt x="289" y="2197"/>
                    </a:lnTo>
                    <a:lnTo>
                      <a:pt x="286" y="2197"/>
                    </a:lnTo>
                    <a:lnTo>
                      <a:pt x="280" y="2200"/>
                    </a:lnTo>
                    <a:lnTo>
                      <a:pt x="272" y="2207"/>
                    </a:lnTo>
                    <a:lnTo>
                      <a:pt x="252" y="2229"/>
                    </a:lnTo>
                    <a:lnTo>
                      <a:pt x="233" y="2251"/>
                    </a:lnTo>
                    <a:lnTo>
                      <a:pt x="215" y="2270"/>
                    </a:lnTo>
                    <a:lnTo>
                      <a:pt x="198" y="2289"/>
                    </a:lnTo>
                    <a:lnTo>
                      <a:pt x="188" y="2297"/>
                    </a:lnTo>
                    <a:lnTo>
                      <a:pt x="178" y="2304"/>
                    </a:lnTo>
                    <a:lnTo>
                      <a:pt x="167" y="2310"/>
                    </a:lnTo>
                    <a:lnTo>
                      <a:pt x="155" y="2316"/>
                    </a:lnTo>
                    <a:lnTo>
                      <a:pt x="143" y="2320"/>
                    </a:lnTo>
                    <a:lnTo>
                      <a:pt x="129" y="2323"/>
                    </a:lnTo>
                    <a:lnTo>
                      <a:pt x="114" y="2325"/>
                    </a:lnTo>
                    <a:lnTo>
                      <a:pt x="98" y="2327"/>
                    </a:lnTo>
                    <a:lnTo>
                      <a:pt x="89" y="2297"/>
                    </a:lnTo>
                    <a:lnTo>
                      <a:pt x="82" y="2263"/>
                    </a:lnTo>
                    <a:lnTo>
                      <a:pt x="78" y="2246"/>
                    </a:lnTo>
                    <a:lnTo>
                      <a:pt x="76" y="2228"/>
                    </a:lnTo>
                    <a:lnTo>
                      <a:pt x="76" y="2212"/>
                    </a:lnTo>
                    <a:lnTo>
                      <a:pt x="78" y="2197"/>
                    </a:lnTo>
                    <a:lnTo>
                      <a:pt x="31" y="2162"/>
                    </a:lnTo>
                    <a:lnTo>
                      <a:pt x="31" y="2162"/>
                    </a:lnTo>
                    <a:lnTo>
                      <a:pt x="31" y="2127"/>
                    </a:lnTo>
                    <a:lnTo>
                      <a:pt x="32" y="2092"/>
                    </a:lnTo>
                    <a:lnTo>
                      <a:pt x="33" y="2075"/>
                    </a:lnTo>
                    <a:lnTo>
                      <a:pt x="32" y="2058"/>
                    </a:lnTo>
                    <a:lnTo>
                      <a:pt x="30" y="2040"/>
                    </a:lnTo>
                    <a:lnTo>
                      <a:pt x="25" y="2024"/>
                    </a:lnTo>
                    <a:lnTo>
                      <a:pt x="17" y="2012"/>
                    </a:lnTo>
                    <a:lnTo>
                      <a:pt x="10" y="2003"/>
                    </a:lnTo>
                    <a:lnTo>
                      <a:pt x="6" y="1994"/>
                    </a:lnTo>
                    <a:lnTo>
                      <a:pt x="2" y="1986"/>
                    </a:lnTo>
                    <a:lnTo>
                      <a:pt x="1" y="1980"/>
                    </a:lnTo>
                    <a:lnTo>
                      <a:pt x="0" y="1973"/>
                    </a:lnTo>
                    <a:lnTo>
                      <a:pt x="1" y="1967"/>
                    </a:lnTo>
                    <a:lnTo>
                      <a:pt x="4" y="1961"/>
                    </a:lnTo>
                    <a:lnTo>
                      <a:pt x="9" y="1950"/>
                    </a:lnTo>
                    <a:lnTo>
                      <a:pt x="15" y="1936"/>
                    </a:lnTo>
                    <a:lnTo>
                      <a:pt x="19" y="1928"/>
                    </a:lnTo>
                    <a:lnTo>
                      <a:pt x="22" y="1919"/>
                    </a:lnTo>
                    <a:lnTo>
                      <a:pt x="25" y="1909"/>
                    </a:lnTo>
                    <a:lnTo>
                      <a:pt x="27" y="1897"/>
                    </a:lnTo>
                    <a:lnTo>
                      <a:pt x="33" y="1870"/>
                    </a:lnTo>
                    <a:lnTo>
                      <a:pt x="37" y="1841"/>
                    </a:lnTo>
                    <a:lnTo>
                      <a:pt x="43" y="1810"/>
                    </a:lnTo>
                    <a:lnTo>
                      <a:pt x="45" y="1780"/>
                    </a:lnTo>
                    <a:lnTo>
                      <a:pt x="45" y="1765"/>
                    </a:lnTo>
                    <a:lnTo>
                      <a:pt x="45" y="1751"/>
                    </a:lnTo>
                    <a:lnTo>
                      <a:pt x="43" y="1737"/>
                    </a:lnTo>
                    <a:lnTo>
                      <a:pt x="40" y="1724"/>
                    </a:lnTo>
                    <a:lnTo>
                      <a:pt x="36" y="1711"/>
                    </a:lnTo>
                    <a:lnTo>
                      <a:pt x="31" y="1700"/>
                    </a:lnTo>
                    <a:lnTo>
                      <a:pt x="23" y="1689"/>
                    </a:lnTo>
                    <a:lnTo>
                      <a:pt x="14" y="1681"/>
                    </a:lnTo>
                    <a:lnTo>
                      <a:pt x="12" y="1679"/>
                    </a:lnTo>
                    <a:lnTo>
                      <a:pt x="11" y="1676"/>
                    </a:lnTo>
                    <a:lnTo>
                      <a:pt x="11" y="1675"/>
                    </a:lnTo>
                    <a:lnTo>
                      <a:pt x="11" y="1672"/>
                    </a:lnTo>
                    <a:lnTo>
                      <a:pt x="12" y="1668"/>
                    </a:lnTo>
                    <a:lnTo>
                      <a:pt x="15" y="1661"/>
                    </a:lnTo>
                    <a:lnTo>
                      <a:pt x="25" y="1647"/>
                    </a:lnTo>
                    <a:lnTo>
                      <a:pt x="37" y="1632"/>
                    </a:lnTo>
                    <a:lnTo>
                      <a:pt x="50" y="1616"/>
                    </a:lnTo>
                    <a:lnTo>
                      <a:pt x="61" y="1600"/>
                    </a:lnTo>
                    <a:lnTo>
                      <a:pt x="66" y="1592"/>
                    </a:lnTo>
                    <a:lnTo>
                      <a:pt x="70" y="1585"/>
                    </a:lnTo>
                    <a:lnTo>
                      <a:pt x="73" y="1578"/>
                    </a:lnTo>
                    <a:lnTo>
                      <a:pt x="73" y="1572"/>
                    </a:lnTo>
                    <a:lnTo>
                      <a:pt x="74" y="1558"/>
                    </a:lnTo>
                    <a:lnTo>
                      <a:pt x="76" y="1544"/>
                    </a:lnTo>
                    <a:lnTo>
                      <a:pt x="79" y="1532"/>
                    </a:lnTo>
                    <a:lnTo>
                      <a:pt x="85" y="1520"/>
                    </a:lnTo>
                    <a:lnTo>
                      <a:pt x="90" y="1510"/>
                    </a:lnTo>
                    <a:lnTo>
                      <a:pt x="97" y="1499"/>
                    </a:lnTo>
                    <a:lnTo>
                      <a:pt x="103" y="1490"/>
                    </a:lnTo>
                    <a:lnTo>
                      <a:pt x="111" y="1480"/>
                    </a:lnTo>
                    <a:lnTo>
                      <a:pt x="127" y="1460"/>
                    </a:lnTo>
                    <a:lnTo>
                      <a:pt x="142" y="1439"/>
                    </a:lnTo>
                    <a:lnTo>
                      <a:pt x="150" y="1427"/>
                    </a:lnTo>
                    <a:lnTo>
                      <a:pt x="156" y="1413"/>
                    </a:lnTo>
                    <a:lnTo>
                      <a:pt x="162" y="1399"/>
                    </a:lnTo>
                    <a:lnTo>
                      <a:pt x="167" y="1383"/>
                    </a:lnTo>
                    <a:lnTo>
                      <a:pt x="173" y="1361"/>
                    </a:lnTo>
                    <a:lnTo>
                      <a:pt x="181" y="1342"/>
                    </a:lnTo>
                    <a:lnTo>
                      <a:pt x="190" y="1323"/>
                    </a:lnTo>
                    <a:lnTo>
                      <a:pt x="200" y="1306"/>
                    </a:lnTo>
                    <a:lnTo>
                      <a:pt x="211" y="1290"/>
                    </a:lnTo>
                    <a:lnTo>
                      <a:pt x="221" y="1275"/>
                    </a:lnTo>
                    <a:lnTo>
                      <a:pt x="233" y="1261"/>
                    </a:lnTo>
                    <a:lnTo>
                      <a:pt x="245" y="1245"/>
                    </a:lnTo>
                    <a:lnTo>
                      <a:pt x="271" y="1217"/>
                    </a:lnTo>
                    <a:lnTo>
                      <a:pt x="296" y="1188"/>
                    </a:lnTo>
                    <a:lnTo>
                      <a:pt x="308" y="1173"/>
                    </a:lnTo>
                    <a:lnTo>
                      <a:pt x="320" y="1156"/>
                    </a:lnTo>
                    <a:lnTo>
                      <a:pt x="331" y="1139"/>
                    </a:lnTo>
                    <a:lnTo>
                      <a:pt x="341" y="1119"/>
                    </a:lnTo>
                    <a:lnTo>
                      <a:pt x="347" y="1117"/>
                    </a:lnTo>
                    <a:lnTo>
                      <a:pt x="355" y="1112"/>
                    </a:lnTo>
                    <a:lnTo>
                      <a:pt x="363" y="1106"/>
                    </a:lnTo>
                    <a:lnTo>
                      <a:pt x="372" y="1099"/>
                    </a:lnTo>
                    <a:lnTo>
                      <a:pt x="389" y="1080"/>
                    </a:lnTo>
                    <a:lnTo>
                      <a:pt x="408" y="1060"/>
                    </a:lnTo>
                    <a:lnTo>
                      <a:pt x="426" y="1038"/>
                    </a:lnTo>
                    <a:lnTo>
                      <a:pt x="441" y="1018"/>
                    </a:lnTo>
                    <a:lnTo>
                      <a:pt x="455" y="998"/>
                    </a:lnTo>
                    <a:lnTo>
                      <a:pt x="465" y="983"/>
                    </a:lnTo>
                    <a:lnTo>
                      <a:pt x="468" y="975"/>
                    </a:lnTo>
                    <a:lnTo>
                      <a:pt x="472" y="969"/>
                    </a:lnTo>
                    <a:lnTo>
                      <a:pt x="474" y="961"/>
                    </a:lnTo>
                    <a:lnTo>
                      <a:pt x="475" y="953"/>
                    </a:lnTo>
                    <a:lnTo>
                      <a:pt x="478" y="937"/>
                    </a:lnTo>
                    <a:lnTo>
                      <a:pt x="480" y="920"/>
                    </a:lnTo>
                    <a:lnTo>
                      <a:pt x="483" y="905"/>
                    </a:lnTo>
                    <a:lnTo>
                      <a:pt x="486" y="890"/>
                    </a:lnTo>
                    <a:lnTo>
                      <a:pt x="489" y="883"/>
                    </a:lnTo>
                    <a:lnTo>
                      <a:pt x="492" y="876"/>
                    </a:lnTo>
                    <a:lnTo>
                      <a:pt x="496" y="870"/>
                    </a:lnTo>
                    <a:lnTo>
                      <a:pt x="501" y="864"/>
                    </a:lnTo>
                    <a:lnTo>
                      <a:pt x="519" y="845"/>
                    </a:lnTo>
                    <a:lnTo>
                      <a:pt x="533" y="829"/>
                    </a:lnTo>
                    <a:lnTo>
                      <a:pt x="540" y="821"/>
                    </a:lnTo>
                    <a:lnTo>
                      <a:pt x="544" y="813"/>
                    </a:lnTo>
                    <a:lnTo>
                      <a:pt x="549" y="806"/>
                    </a:lnTo>
                    <a:lnTo>
                      <a:pt x="552" y="799"/>
                    </a:lnTo>
                    <a:lnTo>
                      <a:pt x="554" y="791"/>
                    </a:lnTo>
                    <a:lnTo>
                      <a:pt x="556" y="783"/>
                    </a:lnTo>
                    <a:lnTo>
                      <a:pt x="557" y="773"/>
                    </a:lnTo>
                    <a:lnTo>
                      <a:pt x="558" y="764"/>
                    </a:lnTo>
                    <a:lnTo>
                      <a:pt x="560" y="740"/>
                    </a:lnTo>
                    <a:lnTo>
                      <a:pt x="560" y="712"/>
                    </a:lnTo>
                    <a:lnTo>
                      <a:pt x="563" y="671"/>
                    </a:lnTo>
                    <a:lnTo>
                      <a:pt x="565" y="631"/>
                    </a:lnTo>
                    <a:lnTo>
                      <a:pt x="564" y="621"/>
                    </a:lnTo>
                    <a:lnTo>
                      <a:pt x="562" y="613"/>
                    </a:lnTo>
                    <a:lnTo>
                      <a:pt x="558" y="605"/>
                    </a:lnTo>
                    <a:lnTo>
                      <a:pt x="553" y="597"/>
                    </a:lnTo>
                    <a:lnTo>
                      <a:pt x="545" y="591"/>
                    </a:lnTo>
                    <a:lnTo>
                      <a:pt x="537" y="586"/>
                    </a:lnTo>
                    <a:lnTo>
                      <a:pt x="526" y="580"/>
                    </a:lnTo>
                    <a:lnTo>
                      <a:pt x="513" y="577"/>
                    </a:lnTo>
                    <a:lnTo>
                      <a:pt x="513" y="575"/>
                    </a:lnTo>
                    <a:lnTo>
                      <a:pt x="513" y="573"/>
                    </a:lnTo>
                    <a:lnTo>
                      <a:pt x="514" y="569"/>
                    </a:lnTo>
                    <a:lnTo>
                      <a:pt x="516" y="566"/>
                    </a:lnTo>
                    <a:lnTo>
                      <a:pt x="522" y="560"/>
                    </a:lnTo>
                    <a:lnTo>
                      <a:pt x="529" y="552"/>
                    </a:lnTo>
                    <a:lnTo>
                      <a:pt x="543" y="537"/>
                    </a:lnTo>
                    <a:lnTo>
                      <a:pt x="554" y="526"/>
                    </a:lnTo>
                    <a:lnTo>
                      <a:pt x="562" y="515"/>
                    </a:lnTo>
                    <a:lnTo>
                      <a:pt x="566" y="506"/>
                    </a:lnTo>
                    <a:lnTo>
                      <a:pt x="569" y="496"/>
                    </a:lnTo>
                    <a:lnTo>
                      <a:pt x="570" y="486"/>
                    </a:lnTo>
                    <a:lnTo>
                      <a:pt x="570" y="478"/>
                    </a:lnTo>
                    <a:lnTo>
                      <a:pt x="569" y="469"/>
                    </a:lnTo>
                    <a:lnTo>
                      <a:pt x="567" y="460"/>
                    </a:lnTo>
                    <a:lnTo>
                      <a:pt x="564" y="452"/>
                    </a:lnTo>
                    <a:lnTo>
                      <a:pt x="556" y="434"/>
                    </a:lnTo>
                    <a:lnTo>
                      <a:pt x="549" y="418"/>
                    </a:lnTo>
                    <a:lnTo>
                      <a:pt x="545" y="411"/>
                    </a:lnTo>
                    <a:lnTo>
                      <a:pt x="542" y="402"/>
                    </a:lnTo>
                    <a:lnTo>
                      <a:pt x="541" y="393"/>
                    </a:lnTo>
                    <a:lnTo>
                      <a:pt x="540" y="385"/>
                    </a:lnTo>
                    <a:lnTo>
                      <a:pt x="549" y="378"/>
                    </a:lnTo>
                    <a:lnTo>
                      <a:pt x="562" y="366"/>
                    </a:lnTo>
                    <a:lnTo>
                      <a:pt x="574" y="353"/>
                    </a:lnTo>
                    <a:lnTo>
                      <a:pt x="580" y="345"/>
                    </a:lnTo>
                    <a:lnTo>
                      <a:pt x="589" y="343"/>
                    </a:lnTo>
                    <a:lnTo>
                      <a:pt x="596" y="338"/>
                    </a:lnTo>
                    <a:lnTo>
                      <a:pt x="604" y="335"/>
                    </a:lnTo>
                    <a:lnTo>
                      <a:pt x="612" y="330"/>
                    </a:lnTo>
                    <a:lnTo>
                      <a:pt x="628" y="318"/>
                    </a:lnTo>
                    <a:lnTo>
                      <a:pt x="642" y="305"/>
                    </a:lnTo>
                    <a:lnTo>
                      <a:pt x="657" y="290"/>
                    </a:lnTo>
                    <a:lnTo>
                      <a:pt x="672" y="272"/>
                    </a:lnTo>
                    <a:lnTo>
                      <a:pt x="687" y="255"/>
                    </a:lnTo>
                    <a:lnTo>
                      <a:pt x="701" y="237"/>
                    </a:lnTo>
                    <a:lnTo>
                      <a:pt x="731" y="199"/>
                    </a:lnTo>
                    <a:lnTo>
                      <a:pt x="759" y="163"/>
                    </a:lnTo>
                    <a:lnTo>
                      <a:pt x="773" y="147"/>
                    </a:lnTo>
                    <a:lnTo>
                      <a:pt x="787" y="132"/>
                    </a:lnTo>
                    <a:lnTo>
                      <a:pt x="802" y="119"/>
                    </a:lnTo>
                    <a:lnTo>
                      <a:pt x="816" y="108"/>
                    </a:lnTo>
                    <a:lnTo>
                      <a:pt x="816" y="108"/>
                    </a:lnTo>
                    <a:lnTo>
                      <a:pt x="871" y="172"/>
                    </a:lnTo>
                    <a:lnTo>
                      <a:pt x="867" y="198"/>
                    </a:lnTo>
                    <a:lnTo>
                      <a:pt x="858" y="201"/>
                    </a:lnTo>
                    <a:lnTo>
                      <a:pt x="849" y="203"/>
                    </a:lnTo>
                    <a:lnTo>
                      <a:pt x="841" y="208"/>
                    </a:lnTo>
                    <a:lnTo>
                      <a:pt x="836" y="211"/>
                    </a:lnTo>
                    <a:lnTo>
                      <a:pt x="830" y="214"/>
                    </a:lnTo>
                    <a:lnTo>
                      <a:pt x="827" y="218"/>
                    </a:lnTo>
                    <a:lnTo>
                      <a:pt x="824" y="223"/>
                    </a:lnTo>
                    <a:lnTo>
                      <a:pt x="823" y="227"/>
                    </a:lnTo>
                    <a:lnTo>
                      <a:pt x="822" y="231"/>
                    </a:lnTo>
                    <a:lnTo>
                      <a:pt x="822" y="237"/>
                    </a:lnTo>
                    <a:lnTo>
                      <a:pt x="823" y="241"/>
                    </a:lnTo>
                    <a:lnTo>
                      <a:pt x="824" y="246"/>
                    </a:lnTo>
                    <a:lnTo>
                      <a:pt x="829" y="256"/>
                    </a:lnTo>
                    <a:lnTo>
                      <a:pt x="836" y="266"/>
                    </a:lnTo>
                    <a:lnTo>
                      <a:pt x="845" y="277"/>
                    </a:lnTo>
                    <a:lnTo>
                      <a:pt x="854" y="287"/>
                    </a:lnTo>
                    <a:lnTo>
                      <a:pt x="865" y="297"/>
                    </a:lnTo>
                    <a:lnTo>
                      <a:pt x="875" y="307"/>
                    </a:lnTo>
                    <a:lnTo>
                      <a:pt x="894" y="324"/>
                    </a:lnTo>
                    <a:lnTo>
                      <a:pt x="907" y="339"/>
                    </a:lnTo>
                    <a:lnTo>
                      <a:pt x="915" y="348"/>
                    </a:lnTo>
                    <a:lnTo>
                      <a:pt x="923" y="356"/>
                    </a:lnTo>
                    <a:lnTo>
                      <a:pt x="931" y="361"/>
                    </a:lnTo>
                    <a:lnTo>
                      <a:pt x="940" y="366"/>
                    </a:lnTo>
                    <a:lnTo>
                      <a:pt x="949" y="370"/>
                    </a:lnTo>
                    <a:lnTo>
                      <a:pt x="958" y="373"/>
                    </a:lnTo>
                    <a:lnTo>
                      <a:pt x="969" y="375"/>
                    </a:lnTo>
                    <a:lnTo>
                      <a:pt x="979" y="376"/>
                    </a:lnTo>
                    <a:lnTo>
                      <a:pt x="1001" y="376"/>
                    </a:lnTo>
                    <a:lnTo>
                      <a:pt x="1023" y="374"/>
                    </a:lnTo>
                    <a:lnTo>
                      <a:pt x="1046" y="371"/>
                    </a:lnTo>
                    <a:lnTo>
                      <a:pt x="1070" y="367"/>
                    </a:lnTo>
                    <a:lnTo>
                      <a:pt x="1093" y="364"/>
                    </a:lnTo>
                    <a:lnTo>
                      <a:pt x="1114" y="362"/>
                    </a:lnTo>
                    <a:lnTo>
                      <a:pt x="1126" y="361"/>
                    </a:lnTo>
                    <a:lnTo>
                      <a:pt x="1136" y="361"/>
                    </a:lnTo>
                    <a:lnTo>
                      <a:pt x="1147" y="362"/>
                    </a:lnTo>
                    <a:lnTo>
                      <a:pt x="1157" y="364"/>
                    </a:lnTo>
                    <a:lnTo>
                      <a:pt x="1166" y="366"/>
                    </a:lnTo>
                    <a:lnTo>
                      <a:pt x="1176" y="371"/>
                    </a:lnTo>
                    <a:lnTo>
                      <a:pt x="1185" y="375"/>
                    </a:lnTo>
                    <a:lnTo>
                      <a:pt x="1193" y="380"/>
                    </a:lnTo>
                    <a:lnTo>
                      <a:pt x="1201" y="388"/>
                    </a:lnTo>
                    <a:lnTo>
                      <a:pt x="1209" y="397"/>
                    </a:lnTo>
                    <a:lnTo>
                      <a:pt x="1215" y="406"/>
                    </a:lnTo>
                    <a:lnTo>
                      <a:pt x="1221" y="418"/>
                    </a:lnTo>
                    <a:lnTo>
                      <a:pt x="1226" y="433"/>
                    </a:lnTo>
                    <a:lnTo>
                      <a:pt x="1234" y="460"/>
                    </a:lnTo>
                    <a:lnTo>
                      <a:pt x="1242" y="493"/>
                    </a:lnTo>
                    <a:lnTo>
                      <a:pt x="1252" y="527"/>
                    </a:lnTo>
                    <a:lnTo>
                      <a:pt x="1257" y="545"/>
                    </a:lnTo>
                    <a:lnTo>
                      <a:pt x="1263" y="561"/>
                    </a:lnTo>
                    <a:lnTo>
                      <a:pt x="1269" y="575"/>
                    </a:lnTo>
                    <a:lnTo>
                      <a:pt x="1275" y="588"/>
                    </a:lnTo>
                    <a:lnTo>
                      <a:pt x="1281" y="599"/>
                    </a:lnTo>
                    <a:lnTo>
                      <a:pt x="1287" y="606"/>
                    </a:lnTo>
                    <a:lnTo>
                      <a:pt x="1290" y="609"/>
                    </a:lnTo>
                    <a:lnTo>
                      <a:pt x="1293" y="610"/>
                    </a:lnTo>
                    <a:lnTo>
                      <a:pt x="1295" y="611"/>
                    </a:lnTo>
                    <a:lnTo>
                      <a:pt x="1299" y="611"/>
                    </a:lnTo>
                    <a:lnTo>
                      <a:pt x="1322" y="606"/>
                    </a:lnTo>
                    <a:lnTo>
                      <a:pt x="1348" y="603"/>
                    </a:lnTo>
                    <a:lnTo>
                      <a:pt x="1376" y="600"/>
                    </a:lnTo>
                    <a:lnTo>
                      <a:pt x="1402" y="595"/>
                    </a:lnTo>
                    <a:lnTo>
                      <a:pt x="1413" y="592"/>
                    </a:lnTo>
                    <a:lnTo>
                      <a:pt x="1425" y="588"/>
                    </a:lnTo>
                    <a:lnTo>
                      <a:pt x="1435" y="583"/>
                    </a:lnTo>
                    <a:lnTo>
                      <a:pt x="1445" y="577"/>
                    </a:lnTo>
                    <a:lnTo>
                      <a:pt x="1448" y="574"/>
                    </a:lnTo>
                    <a:lnTo>
                      <a:pt x="1452" y="569"/>
                    </a:lnTo>
                    <a:lnTo>
                      <a:pt x="1455" y="565"/>
                    </a:lnTo>
                    <a:lnTo>
                      <a:pt x="1458" y="561"/>
                    </a:lnTo>
                    <a:lnTo>
                      <a:pt x="1460" y="555"/>
                    </a:lnTo>
                    <a:lnTo>
                      <a:pt x="1462" y="550"/>
                    </a:lnTo>
                    <a:lnTo>
                      <a:pt x="1463" y="543"/>
                    </a:lnTo>
                    <a:lnTo>
                      <a:pt x="1464" y="537"/>
                    </a:lnTo>
                    <a:lnTo>
                      <a:pt x="1465" y="530"/>
                    </a:lnTo>
                    <a:lnTo>
                      <a:pt x="1468" y="524"/>
                    </a:lnTo>
                    <a:lnTo>
                      <a:pt x="1471" y="516"/>
                    </a:lnTo>
                    <a:lnTo>
                      <a:pt x="1475" y="510"/>
                    </a:lnTo>
                    <a:lnTo>
                      <a:pt x="1481" y="503"/>
                    </a:lnTo>
                    <a:lnTo>
                      <a:pt x="1487" y="497"/>
                    </a:lnTo>
                    <a:lnTo>
                      <a:pt x="1494" y="489"/>
                    </a:lnTo>
                    <a:lnTo>
                      <a:pt x="1502" y="483"/>
                    </a:lnTo>
                    <a:lnTo>
                      <a:pt x="1520" y="470"/>
                    </a:lnTo>
                    <a:lnTo>
                      <a:pt x="1540" y="458"/>
                    </a:lnTo>
                    <a:lnTo>
                      <a:pt x="1562" y="445"/>
                    </a:lnTo>
                    <a:lnTo>
                      <a:pt x="1585" y="432"/>
                    </a:lnTo>
                    <a:lnTo>
                      <a:pt x="1632" y="407"/>
                    </a:lnTo>
                    <a:lnTo>
                      <a:pt x="1677" y="384"/>
                    </a:lnTo>
                    <a:lnTo>
                      <a:pt x="1697" y="372"/>
                    </a:lnTo>
                    <a:lnTo>
                      <a:pt x="1716" y="360"/>
                    </a:lnTo>
                    <a:lnTo>
                      <a:pt x="1731" y="348"/>
                    </a:lnTo>
                    <a:lnTo>
                      <a:pt x="1744" y="336"/>
                    </a:lnTo>
                    <a:lnTo>
                      <a:pt x="1754" y="324"/>
                    </a:lnTo>
                    <a:lnTo>
                      <a:pt x="1759" y="313"/>
                    </a:lnTo>
                    <a:lnTo>
                      <a:pt x="1761" y="309"/>
                    </a:lnTo>
                    <a:lnTo>
                      <a:pt x="1763" y="305"/>
                    </a:lnTo>
                    <a:lnTo>
                      <a:pt x="1763" y="302"/>
                    </a:lnTo>
                    <a:lnTo>
                      <a:pt x="1763" y="298"/>
                    </a:lnTo>
                    <a:lnTo>
                      <a:pt x="1762" y="292"/>
                    </a:lnTo>
                    <a:lnTo>
                      <a:pt x="1758" y="286"/>
                    </a:lnTo>
                    <a:lnTo>
                      <a:pt x="1754" y="281"/>
                    </a:lnTo>
                    <a:lnTo>
                      <a:pt x="1747" y="277"/>
                    </a:lnTo>
                    <a:lnTo>
                      <a:pt x="1733" y="268"/>
                    </a:lnTo>
                    <a:lnTo>
                      <a:pt x="1720" y="258"/>
                    </a:lnTo>
                    <a:lnTo>
                      <a:pt x="1714" y="252"/>
                    </a:lnTo>
                    <a:lnTo>
                      <a:pt x="1709" y="245"/>
                    </a:lnTo>
                    <a:lnTo>
                      <a:pt x="1707" y="241"/>
                    </a:lnTo>
                    <a:lnTo>
                      <a:pt x="1706" y="237"/>
                    </a:lnTo>
                    <a:lnTo>
                      <a:pt x="1706" y="232"/>
                    </a:lnTo>
                    <a:lnTo>
                      <a:pt x="1705" y="227"/>
                    </a:lnTo>
                    <a:lnTo>
                      <a:pt x="1706" y="223"/>
                    </a:lnTo>
                    <a:lnTo>
                      <a:pt x="1706" y="218"/>
                    </a:lnTo>
                    <a:lnTo>
                      <a:pt x="1708" y="215"/>
                    </a:lnTo>
                    <a:lnTo>
                      <a:pt x="1709" y="212"/>
                    </a:lnTo>
                    <a:lnTo>
                      <a:pt x="1715" y="206"/>
                    </a:lnTo>
                    <a:lnTo>
                      <a:pt x="1720" y="202"/>
                    </a:lnTo>
                    <a:lnTo>
                      <a:pt x="1726" y="197"/>
                    </a:lnTo>
                    <a:lnTo>
                      <a:pt x="1731" y="192"/>
                    </a:lnTo>
                    <a:lnTo>
                      <a:pt x="1736" y="187"/>
                    </a:lnTo>
                    <a:lnTo>
                      <a:pt x="1740" y="181"/>
                    </a:lnTo>
                    <a:lnTo>
                      <a:pt x="1742" y="170"/>
                    </a:lnTo>
                    <a:lnTo>
                      <a:pt x="1742" y="159"/>
                    </a:lnTo>
                    <a:lnTo>
                      <a:pt x="1742" y="146"/>
                    </a:lnTo>
                    <a:lnTo>
                      <a:pt x="1741" y="134"/>
                    </a:lnTo>
                    <a:lnTo>
                      <a:pt x="1739" y="121"/>
                    </a:lnTo>
                    <a:lnTo>
                      <a:pt x="1739" y="109"/>
                    </a:lnTo>
                    <a:lnTo>
                      <a:pt x="1740" y="98"/>
                    </a:lnTo>
                    <a:lnTo>
                      <a:pt x="1742" y="88"/>
                    </a:lnTo>
                    <a:lnTo>
                      <a:pt x="1747" y="81"/>
                    </a:lnTo>
                    <a:lnTo>
                      <a:pt x="1750" y="75"/>
                    </a:lnTo>
                    <a:lnTo>
                      <a:pt x="1754" y="68"/>
                    </a:lnTo>
                    <a:lnTo>
                      <a:pt x="1757" y="62"/>
                    </a:lnTo>
                    <a:lnTo>
                      <a:pt x="1762" y="48"/>
                    </a:lnTo>
                    <a:lnTo>
                      <a:pt x="1770" y="34"/>
                    </a:lnTo>
                    <a:lnTo>
                      <a:pt x="1775" y="25"/>
                    </a:lnTo>
                    <a:lnTo>
                      <a:pt x="1787" y="11"/>
                    </a:lnTo>
                    <a:lnTo>
                      <a:pt x="1794" y="5"/>
                    </a:lnTo>
                    <a:lnTo>
                      <a:pt x="1799" y="0"/>
                    </a:lnTo>
                    <a:lnTo>
                      <a:pt x="1803" y="0"/>
                    </a:lnTo>
                    <a:lnTo>
                      <a:pt x="1805" y="0"/>
                    </a:lnTo>
                    <a:lnTo>
                      <a:pt x="1806" y="1"/>
                    </a:lnTo>
                    <a:lnTo>
                      <a:pt x="1807" y="3"/>
                    </a:lnTo>
                    <a:lnTo>
                      <a:pt x="1810" y="5"/>
                    </a:lnTo>
                    <a:lnTo>
                      <a:pt x="1812" y="7"/>
                    </a:lnTo>
                    <a:lnTo>
                      <a:pt x="1816" y="10"/>
                    </a:lnTo>
                    <a:lnTo>
                      <a:pt x="1819" y="13"/>
                    </a:lnTo>
                    <a:lnTo>
                      <a:pt x="1825" y="24"/>
                    </a:lnTo>
                    <a:lnTo>
                      <a:pt x="1832" y="36"/>
                    </a:lnTo>
                    <a:lnTo>
                      <a:pt x="1846" y="68"/>
                    </a:lnTo>
                    <a:lnTo>
                      <a:pt x="1862" y="105"/>
                    </a:lnTo>
                    <a:lnTo>
                      <a:pt x="1872" y="124"/>
                    </a:lnTo>
                    <a:lnTo>
                      <a:pt x="1882" y="143"/>
                    </a:lnTo>
                    <a:lnTo>
                      <a:pt x="1892" y="161"/>
                    </a:lnTo>
                    <a:lnTo>
                      <a:pt x="1903" y="177"/>
                    </a:lnTo>
                    <a:lnTo>
                      <a:pt x="1910" y="185"/>
                    </a:lnTo>
                    <a:lnTo>
                      <a:pt x="1916" y="192"/>
                    </a:lnTo>
                    <a:lnTo>
                      <a:pt x="1923" y="199"/>
                    </a:lnTo>
                    <a:lnTo>
                      <a:pt x="1929" y="205"/>
                    </a:lnTo>
                    <a:lnTo>
                      <a:pt x="1937" y="211"/>
                    </a:lnTo>
                    <a:lnTo>
                      <a:pt x="1943" y="215"/>
                    </a:lnTo>
                    <a:lnTo>
                      <a:pt x="1951" y="218"/>
                    </a:lnTo>
                    <a:lnTo>
                      <a:pt x="1959" y="222"/>
                    </a:lnTo>
                    <a:lnTo>
                      <a:pt x="1990" y="230"/>
                    </a:lnTo>
                    <a:lnTo>
                      <a:pt x="2023" y="240"/>
                    </a:lnTo>
                    <a:lnTo>
                      <a:pt x="2038" y="245"/>
                    </a:lnTo>
                    <a:lnTo>
                      <a:pt x="2053" y="252"/>
                    </a:lnTo>
                    <a:lnTo>
                      <a:pt x="2059" y="256"/>
                    </a:lnTo>
                    <a:lnTo>
                      <a:pt x="2067" y="260"/>
                    </a:lnTo>
                    <a:lnTo>
                      <a:pt x="2073" y="265"/>
                    </a:lnTo>
                    <a:lnTo>
                      <a:pt x="2080" y="270"/>
                    </a:lnTo>
                    <a:lnTo>
                      <a:pt x="2086" y="278"/>
                    </a:lnTo>
                    <a:lnTo>
                      <a:pt x="2093" y="284"/>
                    </a:lnTo>
                    <a:lnTo>
                      <a:pt x="2097" y="292"/>
                    </a:lnTo>
                    <a:lnTo>
                      <a:pt x="2102" y="299"/>
                    </a:lnTo>
                    <a:lnTo>
                      <a:pt x="2108" y="314"/>
                    </a:lnTo>
                    <a:lnTo>
                      <a:pt x="2112" y="331"/>
                    </a:lnTo>
                    <a:lnTo>
                      <a:pt x="2117" y="346"/>
                    </a:lnTo>
                    <a:lnTo>
                      <a:pt x="2121" y="362"/>
                    </a:lnTo>
                    <a:lnTo>
                      <a:pt x="2125" y="379"/>
                    </a:lnTo>
                    <a:lnTo>
                      <a:pt x="2133" y="395"/>
                    </a:lnTo>
                    <a:lnTo>
                      <a:pt x="2159" y="425"/>
                    </a:lnTo>
                    <a:lnTo>
                      <a:pt x="2181" y="448"/>
                    </a:lnTo>
                    <a:lnTo>
                      <a:pt x="2186" y="454"/>
                    </a:lnTo>
                    <a:lnTo>
                      <a:pt x="2193" y="459"/>
                    </a:lnTo>
                    <a:lnTo>
                      <a:pt x="2199" y="464"/>
                    </a:lnTo>
                    <a:lnTo>
                      <a:pt x="2207" y="467"/>
                    </a:lnTo>
                    <a:lnTo>
                      <a:pt x="2214" y="471"/>
                    </a:lnTo>
                    <a:lnTo>
                      <a:pt x="2223" y="474"/>
                    </a:lnTo>
                    <a:lnTo>
                      <a:pt x="2233" y="476"/>
                    </a:lnTo>
                    <a:lnTo>
                      <a:pt x="2242" y="480"/>
                    </a:lnTo>
                    <a:lnTo>
                      <a:pt x="2251" y="480"/>
                    </a:lnTo>
                    <a:lnTo>
                      <a:pt x="2260" y="480"/>
                    </a:lnTo>
                    <a:lnTo>
                      <a:pt x="2269" y="479"/>
                    </a:lnTo>
                    <a:lnTo>
                      <a:pt x="2277" y="476"/>
                    </a:lnTo>
                    <a:lnTo>
                      <a:pt x="2295" y="470"/>
                    </a:lnTo>
                    <a:lnTo>
                      <a:pt x="2312" y="461"/>
                    </a:lnTo>
                    <a:lnTo>
                      <a:pt x="2329" y="453"/>
                    </a:lnTo>
                    <a:lnTo>
                      <a:pt x="2347" y="445"/>
                    </a:lnTo>
                    <a:lnTo>
                      <a:pt x="2355" y="442"/>
                    </a:lnTo>
                    <a:lnTo>
                      <a:pt x="2364" y="440"/>
                    </a:lnTo>
                    <a:lnTo>
                      <a:pt x="2373" y="439"/>
                    </a:lnTo>
                    <a:lnTo>
                      <a:pt x="2381" y="438"/>
                    </a:lnTo>
                    <a:lnTo>
                      <a:pt x="2389" y="439"/>
                    </a:lnTo>
                    <a:lnTo>
                      <a:pt x="2395" y="442"/>
                    </a:lnTo>
                    <a:lnTo>
                      <a:pt x="2402" y="447"/>
                    </a:lnTo>
                    <a:lnTo>
                      <a:pt x="2409" y="455"/>
                    </a:lnTo>
                    <a:lnTo>
                      <a:pt x="2422" y="472"/>
                    </a:lnTo>
                    <a:lnTo>
                      <a:pt x="2436" y="494"/>
                    </a:lnTo>
                    <a:lnTo>
                      <a:pt x="2449" y="516"/>
                    </a:lnTo>
                    <a:lnTo>
                      <a:pt x="2465" y="538"/>
                    </a:lnTo>
                    <a:lnTo>
                      <a:pt x="2471" y="548"/>
                    </a:lnTo>
                    <a:lnTo>
                      <a:pt x="2479" y="556"/>
                    </a:lnTo>
                    <a:lnTo>
                      <a:pt x="2486" y="564"/>
                    </a:lnTo>
                    <a:lnTo>
                      <a:pt x="2495" y="569"/>
                    </a:lnTo>
                    <a:lnTo>
                      <a:pt x="2506" y="576"/>
                    </a:lnTo>
                    <a:lnTo>
                      <a:pt x="2518" y="582"/>
                    </a:lnTo>
                    <a:lnTo>
                      <a:pt x="2530" y="587"/>
                    </a:lnTo>
                    <a:lnTo>
                      <a:pt x="2541" y="591"/>
                    </a:lnTo>
                    <a:lnTo>
                      <a:pt x="2563" y="596"/>
                    </a:lnTo>
                    <a:lnTo>
                      <a:pt x="2586" y="601"/>
                    </a:lnTo>
                    <a:lnTo>
                      <a:pt x="2609" y="604"/>
                    </a:lnTo>
                    <a:lnTo>
                      <a:pt x="2630" y="607"/>
                    </a:lnTo>
                    <a:lnTo>
                      <a:pt x="2642" y="609"/>
                    </a:lnTo>
                    <a:lnTo>
                      <a:pt x="2653" y="613"/>
                    </a:lnTo>
                    <a:lnTo>
                      <a:pt x="2665" y="616"/>
                    </a:lnTo>
                    <a:lnTo>
                      <a:pt x="2677" y="619"/>
                    </a:lnTo>
                    <a:lnTo>
                      <a:pt x="2677" y="619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05" name="Freeform 20">
                <a:extLst>
                  <a:ext uri="{FF2B5EF4-FFF2-40B4-BE49-F238E27FC236}">
                    <a16:creationId xmlns:a16="http://schemas.microsoft.com/office/drawing/2014/main" id="{8DD465A0-2854-4136-9ACF-E83965654E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45763" y="128993"/>
                <a:ext cx="1095375" cy="922338"/>
              </a:xfrm>
              <a:custGeom>
                <a:avLst/>
                <a:gdLst>
                  <a:gd name="T0" fmla="*/ 2662 w 2761"/>
                  <a:gd name="T1" fmla="*/ 925 h 2327"/>
                  <a:gd name="T2" fmla="*/ 2711 w 2761"/>
                  <a:gd name="T3" fmla="*/ 998 h 2327"/>
                  <a:gd name="T4" fmla="*/ 2745 w 2761"/>
                  <a:gd name="T5" fmla="*/ 1131 h 2327"/>
                  <a:gd name="T6" fmla="*/ 2717 w 2761"/>
                  <a:gd name="T7" fmla="*/ 1253 h 2327"/>
                  <a:gd name="T8" fmla="*/ 2586 w 2761"/>
                  <a:gd name="T9" fmla="*/ 1251 h 2327"/>
                  <a:gd name="T10" fmla="*/ 2491 w 2761"/>
                  <a:gd name="T11" fmla="*/ 1270 h 2327"/>
                  <a:gd name="T12" fmla="*/ 2491 w 2761"/>
                  <a:gd name="T13" fmla="*/ 1358 h 2327"/>
                  <a:gd name="T14" fmla="*/ 2595 w 2761"/>
                  <a:gd name="T15" fmla="*/ 1469 h 2327"/>
                  <a:gd name="T16" fmla="*/ 2627 w 2761"/>
                  <a:gd name="T17" fmla="*/ 1544 h 2327"/>
                  <a:gd name="T18" fmla="*/ 2522 w 2761"/>
                  <a:gd name="T19" fmla="*/ 1768 h 2327"/>
                  <a:gd name="T20" fmla="*/ 2344 w 2761"/>
                  <a:gd name="T21" fmla="*/ 1820 h 2327"/>
                  <a:gd name="T22" fmla="*/ 2231 w 2761"/>
                  <a:gd name="T23" fmla="*/ 1874 h 2327"/>
                  <a:gd name="T24" fmla="*/ 2024 w 2761"/>
                  <a:gd name="T25" fmla="*/ 1947 h 2327"/>
                  <a:gd name="T26" fmla="*/ 1874 w 2761"/>
                  <a:gd name="T27" fmla="*/ 2064 h 2327"/>
                  <a:gd name="T28" fmla="*/ 1832 w 2761"/>
                  <a:gd name="T29" fmla="*/ 2202 h 2327"/>
                  <a:gd name="T30" fmla="*/ 1740 w 2761"/>
                  <a:gd name="T31" fmla="*/ 2227 h 2327"/>
                  <a:gd name="T32" fmla="*/ 1602 w 2761"/>
                  <a:gd name="T33" fmla="*/ 2182 h 2327"/>
                  <a:gd name="T34" fmla="*/ 1416 w 2761"/>
                  <a:gd name="T35" fmla="*/ 2265 h 2327"/>
                  <a:gd name="T36" fmla="*/ 1214 w 2761"/>
                  <a:gd name="T37" fmla="*/ 2233 h 2327"/>
                  <a:gd name="T38" fmla="*/ 1066 w 2761"/>
                  <a:gd name="T39" fmla="*/ 2294 h 2327"/>
                  <a:gd name="T40" fmla="*/ 1007 w 2761"/>
                  <a:gd name="T41" fmla="*/ 2116 h 2327"/>
                  <a:gd name="T42" fmla="*/ 848 w 2761"/>
                  <a:gd name="T43" fmla="*/ 2226 h 2327"/>
                  <a:gd name="T44" fmla="*/ 798 w 2761"/>
                  <a:gd name="T45" fmla="*/ 2307 h 2327"/>
                  <a:gd name="T46" fmla="*/ 639 w 2761"/>
                  <a:gd name="T47" fmla="*/ 2289 h 2327"/>
                  <a:gd name="T48" fmla="*/ 565 w 2761"/>
                  <a:gd name="T49" fmla="*/ 2298 h 2327"/>
                  <a:gd name="T50" fmla="*/ 485 w 2761"/>
                  <a:gd name="T51" fmla="*/ 2202 h 2327"/>
                  <a:gd name="T52" fmla="*/ 345 w 2761"/>
                  <a:gd name="T53" fmla="*/ 2276 h 2327"/>
                  <a:gd name="T54" fmla="*/ 296 w 2761"/>
                  <a:gd name="T55" fmla="*/ 2199 h 2327"/>
                  <a:gd name="T56" fmla="*/ 167 w 2761"/>
                  <a:gd name="T57" fmla="*/ 2310 h 2327"/>
                  <a:gd name="T58" fmla="*/ 31 w 2761"/>
                  <a:gd name="T59" fmla="*/ 2162 h 2327"/>
                  <a:gd name="T60" fmla="*/ 1 w 2761"/>
                  <a:gd name="T61" fmla="*/ 1967 h 2327"/>
                  <a:gd name="T62" fmla="*/ 45 w 2761"/>
                  <a:gd name="T63" fmla="*/ 1751 h 2327"/>
                  <a:gd name="T64" fmla="*/ 25 w 2761"/>
                  <a:gd name="T65" fmla="*/ 1647 h 2327"/>
                  <a:gd name="T66" fmla="*/ 97 w 2761"/>
                  <a:gd name="T67" fmla="*/ 1499 h 2327"/>
                  <a:gd name="T68" fmla="*/ 211 w 2761"/>
                  <a:gd name="T69" fmla="*/ 1290 h 2327"/>
                  <a:gd name="T70" fmla="*/ 372 w 2761"/>
                  <a:gd name="T71" fmla="*/ 1099 h 2327"/>
                  <a:gd name="T72" fmla="*/ 483 w 2761"/>
                  <a:gd name="T73" fmla="*/ 905 h 2327"/>
                  <a:gd name="T74" fmla="*/ 556 w 2761"/>
                  <a:gd name="T75" fmla="*/ 783 h 2327"/>
                  <a:gd name="T76" fmla="*/ 526 w 2761"/>
                  <a:gd name="T77" fmla="*/ 580 h 2327"/>
                  <a:gd name="T78" fmla="*/ 570 w 2761"/>
                  <a:gd name="T79" fmla="*/ 486 h 2327"/>
                  <a:gd name="T80" fmla="*/ 574 w 2761"/>
                  <a:gd name="T81" fmla="*/ 353 h 2327"/>
                  <a:gd name="T82" fmla="*/ 759 w 2761"/>
                  <a:gd name="T83" fmla="*/ 163 h 2327"/>
                  <a:gd name="T84" fmla="*/ 827 w 2761"/>
                  <a:gd name="T85" fmla="*/ 218 h 2327"/>
                  <a:gd name="T86" fmla="*/ 894 w 2761"/>
                  <a:gd name="T87" fmla="*/ 324 h 2327"/>
                  <a:gd name="T88" fmla="*/ 1070 w 2761"/>
                  <a:gd name="T89" fmla="*/ 367 h 2327"/>
                  <a:gd name="T90" fmla="*/ 1215 w 2761"/>
                  <a:gd name="T91" fmla="*/ 406 h 2327"/>
                  <a:gd name="T92" fmla="*/ 1293 w 2761"/>
                  <a:gd name="T93" fmla="*/ 610 h 2327"/>
                  <a:gd name="T94" fmla="*/ 1455 w 2761"/>
                  <a:gd name="T95" fmla="*/ 565 h 2327"/>
                  <a:gd name="T96" fmla="*/ 1502 w 2761"/>
                  <a:gd name="T97" fmla="*/ 483 h 2327"/>
                  <a:gd name="T98" fmla="*/ 1761 w 2761"/>
                  <a:gd name="T99" fmla="*/ 309 h 2327"/>
                  <a:gd name="T100" fmla="*/ 1706 w 2761"/>
                  <a:gd name="T101" fmla="*/ 237 h 2327"/>
                  <a:gd name="T102" fmla="*/ 1742 w 2761"/>
                  <a:gd name="T103" fmla="*/ 170 h 2327"/>
                  <a:gd name="T104" fmla="*/ 1770 w 2761"/>
                  <a:gd name="T105" fmla="*/ 34 h 2327"/>
                  <a:gd name="T106" fmla="*/ 1825 w 2761"/>
                  <a:gd name="T107" fmla="*/ 24 h 2327"/>
                  <a:gd name="T108" fmla="*/ 1943 w 2761"/>
                  <a:gd name="T109" fmla="*/ 215 h 2327"/>
                  <a:gd name="T110" fmla="*/ 2097 w 2761"/>
                  <a:gd name="T111" fmla="*/ 292 h 2327"/>
                  <a:gd name="T112" fmla="*/ 2207 w 2761"/>
                  <a:gd name="T113" fmla="*/ 467 h 2327"/>
                  <a:gd name="T114" fmla="*/ 2355 w 2761"/>
                  <a:gd name="T115" fmla="*/ 442 h 2327"/>
                  <a:gd name="T116" fmla="*/ 2479 w 2761"/>
                  <a:gd name="T117" fmla="*/ 556 h 2327"/>
                  <a:gd name="T118" fmla="*/ 2665 w 2761"/>
                  <a:gd name="T119" fmla="*/ 616 h 2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761" h="2327">
                    <a:moveTo>
                      <a:pt x="2677" y="619"/>
                    </a:moveTo>
                    <a:lnTo>
                      <a:pt x="2674" y="745"/>
                    </a:lnTo>
                    <a:lnTo>
                      <a:pt x="2675" y="762"/>
                    </a:lnTo>
                    <a:lnTo>
                      <a:pt x="2676" y="779"/>
                    </a:lnTo>
                    <a:lnTo>
                      <a:pt x="2674" y="795"/>
                    </a:lnTo>
                    <a:lnTo>
                      <a:pt x="2672" y="811"/>
                    </a:lnTo>
                    <a:lnTo>
                      <a:pt x="2665" y="844"/>
                    </a:lnTo>
                    <a:lnTo>
                      <a:pt x="2659" y="876"/>
                    </a:lnTo>
                    <a:lnTo>
                      <a:pt x="2658" y="889"/>
                    </a:lnTo>
                    <a:lnTo>
                      <a:pt x="2658" y="900"/>
                    </a:lnTo>
                    <a:lnTo>
                      <a:pt x="2658" y="910"/>
                    </a:lnTo>
                    <a:lnTo>
                      <a:pt x="2660" y="917"/>
                    </a:lnTo>
                    <a:lnTo>
                      <a:pt x="2662" y="925"/>
                    </a:lnTo>
                    <a:lnTo>
                      <a:pt x="2665" y="931"/>
                    </a:lnTo>
                    <a:lnTo>
                      <a:pt x="2668" y="937"/>
                    </a:lnTo>
                    <a:lnTo>
                      <a:pt x="2673" y="941"/>
                    </a:lnTo>
                    <a:lnTo>
                      <a:pt x="2681" y="951"/>
                    </a:lnTo>
                    <a:lnTo>
                      <a:pt x="2690" y="959"/>
                    </a:lnTo>
                    <a:lnTo>
                      <a:pt x="2694" y="965"/>
                    </a:lnTo>
                    <a:lnTo>
                      <a:pt x="2698" y="971"/>
                    </a:lnTo>
                    <a:lnTo>
                      <a:pt x="2701" y="978"/>
                    </a:lnTo>
                    <a:lnTo>
                      <a:pt x="2703" y="985"/>
                    </a:lnTo>
                    <a:lnTo>
                      <a:pt x="2706" y="986"/>
                    </a:lnTo>
                    <a:lnTo>
                      <a:pt x="2708" y="989"/>
                    </a:lnTo>
                    <a:lnTo>
                      <a:pt x="2711" y="994"/>
                    </a:lnTo>
                    <a:lnTo>
                      <a:pt x="2711" y="998"/>
                    </a:lnTo>
                    <a:lnTo>
                      <a:pt x="2711" y="1011"/>
                    </a:lnTo>
                    <a:lnTo>
                      <a:pt x="2710" y="1026"/>
                    </a:lnTo>
                    <a:lnTo>
                      <a:pt x="2707" y="1041"/>
                    </a:lnTo>
                    <a:lnTo>
                      <a:pt x="2706" y="1055"/>
                    </a:lnTo>
                    <a:lnTo>
                      <a:pt x="2705" y="1062"/>
                    </a:lnTo>
                    <a:lnTo>
                      <a:pt x="2705" y="1068"/>
                    </a:lnTo>
                    <a:lnTo>
                      <a:pt x="2706" y="1073"/>
                    </a:lnTo>
                    <a:lnTo>
                      <a:pt x="2707" y="1077"/>
                    </a:lnTo>
                    <a:lnTo>
                      <a:pt x="2714" y="1089"/>
                    </a:lnTo>
                    <a:lnTo>
                      <a:pt x="2720" y="1100"/>
                    </a:lnTo>
                    <a:lnTo>
                      <a:pt x="2727" y="1108"/>
                    </a:lnTo>
                    <a:lnTo>
                      <a:pt x="2733" y="1117"/>
                    </a:lnTo>
                    <a:lnTo>
                      <a:pt x="2745" y="1131"/>
                    </a:lnTo>
                    <a:lnTo>
                      <a:pt x="2754" y="1144"/>
                    </a:lnTo>
                    <a:lnTo>
                      <a:pt x="2757" y="1150"/>
                    </a:lnTo>
                    <a:lnTo>
                      <a:pt x="2759" y="1158"/>
                    </a:lnTo>
                    <a:lnTo>
                      <a:pt x="2761" y="1166"/>
                    </a:lnTo>
                    <a:lnTo>
                      <a:pt x="2761" y="1175"/>
                    </a:lnTo>
                    <a:lnTo>
                      <a:pt x="2758" y="1185"/>
                    </a:lnTo>
                    <a:lnTo>
                      <a:pt x="2755" y="1197"/>
                    </a:lnTo>
                    <a:lnTo>
                      <a:pt x="2750" y="1210"/>
                    </a:lnTo>
                    <a:lnTo>
                      <a:pt x="2742" y="1226"/>
                    </a:lnTo>
                    <a:lnTo>
                      <a:pt x="2737" y="1234"/>
                    </a:lnTo>
                    <a:lnTo>
                      <a:pt x="2731" y="1241"/>
                    </a:lnTo>
                    <a:lnTo>
                      <a:pt x="2725" y="1248"/>
                    </a:lnTo>
                    <a:lnTo>
                      <a:pt x="2717" y="1253"/>
                    </a:lnTo>
                    <a:lnTo>
                      <a:pt x="2710" y="1257"/>
                    </a:lnTo>
                    <a:lnTo>
                      <a:pt x="2701" y="1262"/>
                    </a:lnTo>
                    <a:lnTo>
                      <a:pt x="2692" y="1264"/>
                    </a:lnTo>
                    <a:lnTo>
                      <a:pt x="2682" y="1266"/>
                    </a:lnTo>
                    <a:lnTo>
                      <a:pt x="2674" y="1268"/>
                    </a:lnTo>
                    <a:lnTo>
                      <a:pt x="2664" y="1268"/>
                    </a:lnTo>
                    <a:lnTo>
                      <a:pt x="2654" y="1268"/>
                    </a:lnTo>
                    <a:lnTo>
                      <a:pt x="2645" y="1268"/>
                    </a:lnTo>
                    <a:lnTo>
                      <a:pt x="2625" y="1265"/>
                    </a:lnTo>
                    <a:lnTo>
                      <a:pt x="2607" y="1261"/>
                    </a:lnTo>
                    <a:lnTo>
                      <a:pt x="2599" y="1258"/>
                    </a:lnTo>
                    <a:lnTo>
                      <a:pt x="2593" y="1255"/>
                    </a:lnTo>
                    <a:lnTo>
                      <a:pt x="2586" y="1251"/>
                    </a:lnTo>
                    <a:lnTo>
                      <a:pt x="2581" y="1248"/>
                    </a:lnTo>
                    <a:lnTo>
                      <a:pt x="2571" y="1240"/>
                    </a:lnTo>
                    <a:lnTo>
                      <a:pt x="2562" y="1234"/>
                    </a:lnTo>
                    <a:lnTo>
                      <a:pt x="2557" y="1231"/>
                    </a:lnTo>
                    <a:lnTo>
                      <a:pt x="2552" y="1229"/>
                    </a:lnTo>
                    <a:lnTo>
                      <a:pt x="2548" y="1229"/>
                    </a:lnTo>
                    <a:lnTo>
                      <a:pt x="2543" y="1229"/>
                    </a:lnTo>
                    <a:lnTo>
                      <a:pt x="2537" y="1231"/>
                    </a:lnTo>
                    <a:lnTo>
                      <a:pt x="2532" y="1234"/>
                    </a:lnTo>
                    <a:lnTo>
                      <a:pt x="2525" y="1239"/>
                    </a:lnTo>
                    <a:lnTo>
                      <a:pt x="2519" y="1245"/>
                    </a:lnTo>
                    <a:lnTo>
                      <a:pt x="2506" y="1257"/>
                    </a:lnTo>
                    <a:lnTo>
                      <a:pt x="2491" y="1270"/>
                    </a:lnTo>
                    <a:lnTo>
                      <a:pt x="2475" y="1284"/>
                    </a:lnTo>
                    <a:lnTo>
                      <a:pt x="2464" y="1298"/>
                    </a:lnTo>
                    <a:lnTo>
                      <a:pt x="2458" y="1305"/>
                    </a:lnTo>
                    <a:lnTo>
                      <a:pt x="2455" y="1312"/>
                    </a:lnTo>
                    <a:lnTo>
                      <a:pt x="2454" y="1319"/>
                    </a:lnTo>
                    <a:lnTo>
                      <a:pt x="2454" y="1325"/>
                    </a:lnTo>
                    <a:lnTo>
                      <a:pt x="2455" y="1330"/>
                    </a:lnTo>
                    <a:lnTo>
                      <a:pt x="2456" y="1333"/>
                    </a:lnTo>
                    <a:lnTo>
                      <a:pt x="2458" y="1336"/>
                    </a:lnTo>
                    <a:lnTo>
                      <a:pt x="2461" y="1339"/>
                    </a:lnTo>
                    <a:lnTo>
                      <a:pt x="2469" y="1345"/>
                    </a:lnTo>
                    <a:lnTo>
                      <a:pt x="2480" y="1351"/>
                    </a:lnTo>
                    <a:lnTo>
                      <a:pt x="2491" y="1358"/>
                    </a:lnTo>
                    <a:lnTo>
                      <a:pt x="2500" y="1364"/>
                    </a:lnTo>
                    <a:lnTo>
                      <a:pt x="2507" y="1371"/>
                    </a:lnTo>
                    <a:lnTo>
                      <a:pt x="2513" y="1378"/>
                    </a:lnTo>
                    <a:lnTo>
                      <a:pt x="2522" y="1393"/>
                    </a:lnTo>
                    <a:lnTo>
                      <a:pt x="2529" y="1410"/>
                    </a:lnTo>
                    <a:lnTo>
                      <a:pt x="2532" y="1417"/>
                    </a:lnTo>
                    <a:lnTo>
                      <a:pt x="2536" y="1426"/>
                    </a:lnTo>
                    <a:lnTo>
                      <a:pt x="2542" y="1433"/>
                    </a:lnTo>
                    <a:lnTo>
                      <a:pt x="2548" y="1441"/>
                    </a:lnTo>
                    <a:lnTo>
                      <a:pt x="2557" y="1448"/>
                    </a:lnTo>
                    <a:lnTo>
                      <a:pt x="2567" y="1455"/>
                    </a:lnTo>
                    <a:lnTo>
                      <a:pt x="2580" y="1463"/>
                    </a:lnTo>
                    <a:lnTo>
                      <a:pt x="2595" y="1469"/>
                    </a:lnTo>
                    <a:lnTo>
                      <a:pt x="2600" y="1469"/>
                    </a:lnTo>
                    <a:lnTo>
                      <a:pt x="2607" y="1470"/>
                    </a:lnTo>
                    <a:lnTo>
                      <a:pt x="2613" y="1472"/>
                    </a:lnTo>
                    <a:lnTo>
                      <a:pt x="2619" y="1474"/>
                    </a:lnTo>
                    <a:lnTo>
                      <a:pt x="2624" y="1479"/>
                    </a:lnTo>
                    <a:lnTo>
                      <a:pt x="2628" y="1483"/>
                    </a:lnTo>
                    <a:lnTo>
                      <a:pt x="2633" y="1488"/>
                    </a:lnTo>
                    <a:lnTo>
                      <a:pt x="2635" y="1495"/>
                    </a:lnTo>
                    <a:lnTo>
                      <a:pt x="2636" y="1501"/>
                    </a:lnTo>
                    <a:lnTo>
                      <a:pt x="2636" y="1509"/>
                    </a:lnTo>
                    <a:lnTo>
                      <a:pt x="2635" y="1518"/>
                    </a:lnTo>
                    <a:lnTo>
                      <a:pt x="2633" y="1526"/>
                    </a:lnTo>
                    <a:lnTo>
                      <a:pt x="2627" y="1544"/>
                    </a:lnTo>
                    <a:lnTo>
                      <a:pt x="2622" y="1556"/>
                    </a:lnTo>
                    <a:lnTo>
                      <a:pt x="2612" y="1577"/>
                    </a:lnTo>
                    <a:lnTo>
                      <a:pt x="2602" y="1599"/>
                    </a:lnTo>
                    <a:lnTo>
                      <a:pt x="2593" y="1619"/>
                    </a:lnTo>
                    <a:lnTo>
                      <a:pt x="2582" y="1640"/>
                    </a:lnTo>
                    <a:lnTo>
                      <a:pt x="2582" y="1640"/>
                    </a:lnTo>
                    <a:lnTo>
                      <a:pt x="2548" y="1703"/>
                    </a:lnTo>
                    <a:lnTo>
                      <a:pt x="2543" y="1722"/>
                    </a:lnTo>
                    <a:lnTo>
                      <a:pt x="2538" y="1737"/>
                    </a:lnTo>
                    <a:lnTo>
                      <a:pt x="2534" y="1750"/>
                    </a:lnTo>
                    <a:lnTo>
                      <a:pt x="2530" y="1760"/>
                    </a:lnTo>
                    <a:lnTo>
                      <a:pt x="2525" y="1765"/>
                    </a:lnTo>
                    <a:lnTo>
                      <a:pt x="2522" y="1768"/>
                    </a:lnTo>
                    <a:lnTo>
                      <a:pt x="2518" y="1772"/>
                    </a:lnTo>
                    <a:lnTo>
                      <a:pt x="2511" y="1776"/>
                    </a:lnTo>
                    <a:lnTo>
                      <a:pt x="2497" y="1783"/>
                    </a:lnTo>
                    <a:lnTo>
                      <a:pt x="2477" y="1790"/>
                    </a:lnTo>
                    <a:lnTo>
                      <a:pt x="2461" y="1793"/>
                    </a:lnTo>
                    <a:lnTo>
                      <a:pt x="2446" y="1796"/>
                    </a:lnTo>
                    <a:lnTo>
                      <a:pt x="2430" y="1797"/>
                    </a:lnTo>
                    <a:lnTo>
                      <a:pt x="2414" y="1799"/>
                    </a:lnTo>
                    <a:lnTo>
                      <a:pt x="2399" y="1802"/>
                    </a:lnTo>
                    <a:lnTo>
                      <a:pt x="2382" y="1804"/>
                    </a:lnTo>
                    <a:lnTo>
                      <a:pt x="2367" y="1808"/>
                    </a:lnTo>
                    <a:lnTo>
                      <a:pt x="2353" y="1815"/>
                    </a:lnTo>
                    <a:lnTo>
                      <a:pt x="2344" y="1820"/>
                    </a:lnTo>
                    <a:lnTo>
                      <a:pt x="2338" y="1826"/>
                    </a:lnTo>
                    <a:lnTo>
                      <a:pt x="2331" y="1833"/>
                    </a:lnTo>
                    <a:lnTo>
                      <a:pt x="2326" y="1841"/>
                    </a:lnTo>
                    <a:lnTo>
                      <a:pt x="2321" y="1848"/>
                    </a:lnTo>
                    <a:lnTo>
                      <a:pt x="2314" y="1855"/>
                    </a:lnTo>
                    <a:lnTo>
                      <a:pt x="2310" y="1857"/>
                    </a:lnTo>
                    <a:lnTo>
                      <a:pt x="2305" y="1860"/>
                    </a:lnTo>
                    <a:lnTo>
                      <a:pt x="2301" y="1862"/>
                    </a:lnTo>
                    <a:lnTo>
                      <a:pt x="2296" y="1864"/>
                    </a:lnTo>
                    <a:lnTo>
                      <a:pt x="2279" y="1868"/>
                    </a:lnTo>
                    <a:lnTo>
                      <a:pt x="2263" y="1871"/>
                    </a:lnTo>
                    <a:lnTo>
                      <a:pt x="2247" y="1873"/>
                    </a:lnTo>
                    <a:lnTo>
                      <a:pt x="2231" y="1874"/>
                    </a:lnTo>
                    <a:lnTo>
                      <a:pt x="2214" y="1876"/>
                    </a:lnTo>
                    <a:lnTo>
                      <a:pt x="2198" y="1879"/>
                    </a:lnTo>
                    <a:lnTo>
                      <a:pt x="2183" y="1884"/>
                    </a:lnTo>
                    <a:lnTo>
                      <a:pt x="2168" y="1890"/>
                    </a:lnTo>
                    <a:lnTo>
                      <a:pt x="2103" y="1947"/>
                    </a:lnTo>
                    <a:lnTo>
                      <a:pt x="2103" y="1947"/>
                    </a:lnTo>
                    <a:lnTo>
                      <a:pt x="2088" y="1942"/>
                    </a:lnTo>
                    <a:lnTo>
                      <a:pt x="2072" y="1940"/>
                    </a:lnTo>
                    <a:lnTo>
                      <a:pt x="2058" y="1940"/>
                    </a:lnTo>
                    <a:lnTo>
                      <a:pt x="2044" y="1941"/>
                    </a:lnTo>
                    <a:lnTo>
                      <a:pt x="2038" y="1943"/>
                    </a:lnTo>
                    <a:lnTo>
                      <a:pt x="2030" y="1945"/>
                    </a:lnTo>
                    <a:lnTo>
                      <a:pt x="2024" y="1947"/>
                    </a:lnTo>
                    <a:lnTo>
                      <a:pt x="2017" y="1951"/>
                    </a:lnTo>
                    <a:lnTo>
                      <a:pt x="2011" y="1955"/>
                    </a:lnTo>
                    <a:lnTo>
                      <a:pt x="2005" y="1959"/>
                    </a:lnTo>
                    <a:lnTo>
                      <a:pt x="1999" y="1965"/>
                    </a:lnTo>
                    <a:lnTo>
                      <a:pt x="1993" y="1970"/>
                    </a:lnTo>
                    <a:lnTo>
                      <a:pt x="1988" y="1977"/>
                    </a:lnTo>
                    <a:lnTo>
                      <a:pt x="1980" y="1983"/>
                    </a:lnTo>
                    <a:lnTo>
                      <a:pt x="1972" y="1990"/>
                    </a:lnTo>
                    <a:lnTo>
                      <a:pt x="1965" y="1993"/>
                    </a:lnTo>
                    <a:lnTo>
                      <a:pt x="1933" y="2015"/>
                    </a:lnTo>
                    <a:lnTo>
                      <a:pt x="1901" y="2038"/>
                    </a:lnTo>
                    <a:lnTo>
                      <a:pt x="1887" y="2050"/>
                    </a:lnTo>
                    <a:lnTo>
                      <a:pt x="1874" y="2064"/>
                    </a:lnTo>
                    <a:lnTo>
                      <a:pt x="1868" y="2072"/>
                    </a:lnTo>
                    <a:lnTo>
                      <a:pt x="1862" y="2080"/>
                    </a:lnTo>
                    <a:lnTo>
                      <a:pt x="1858" y="2089"/>
                    </a:lnTo>
                    <a:lnTo>
                      <a:pt x="1853" y="2099"/>
                    </a:lnTo>
                    <a:lnTo>
                      <a:pt x="1850" y="2107"/>
                    </a:lnTo>
                    <a:lnTo>
                      <a:pt x="1848" y="2116"/>
                    </a:lnTo>
                    <a:lnTo>
                      <a:pt x="1847" y="2126"/>
                    </a:lnTo>
                    <a:lnTo>
                      <a:pt x="1846" y="2135"/>
                    </a:lnTo>
                    <a:lnTo>
                      <a:pt x="1844" y="2155"/>
                    </a:lnTo>
                    <a:lnTo>
                      <a:pt x="1840" y="2174"/>
                    </a:lnTo>
                    <a:lnTo>
                      <a:pt x="1838" y="2184"/>
                    </a:lnTo>
                    <a:lnTo>
                      <a:pt x="1835" y="2194"/>
                    </a:lnTo>
                    <a:lnTo>
                      <a:pt x="1832" y="2202"/>
                    </a:lnTo>
                    <a:lnTo>
                      <a:pt x="1827" y="2210"/>
                    </a:lnTo>
                    <a:lnTo>
                      <a:pt x="1822" y="2216"/>
                    </a:lnTo>
                    <a:lnTo>
                      <a:pt x="1814" y="2223"/>
                    </a:lnTo>
                    <a:lnTo>
                      <a:pt x="1807" y="2228"/>
                    </a:lnTo>
                    <a:lnTo>
                      <a:pt x="1796" y="2231"/>
                    </a:lnTo>
                    <a:lnTo>
                      <a:pt x="1788" y="2234"/>
                    </a:lnTo>
                    <a:lnTo>
                      <a:pt x="1780" y="2236"/>
                    </a:lnTo>
                    <a:lnTo>
                      <a:pt x="1772" y="2236"/>
                    </a:lnTo>
                    <a:lnTo>
                      <a:pt x="1766" y="2235"/>
                    </a:lnTo>
                    <a:lnTo>
                      <a:pt x="1759" y="2234"/>
                    </a:lnTo>
                    <a:lnTo>
                      <a:pt x="1753" y="2233"/>
                    </a:lnTo>
                    <a:lnTo>
                      <a:pt x="1746" y="2230"/>
                    </a:lnTo>
                    <a:lnTo>
                      <a:pt x="1740" y="2227"/>
                    </a:lnTo>
                    <a:lnTo>
                      <a:pt x="1718" y="2213"/>
                    </a:lnTo>
                    <a:lnTo>
                      <a:pt x="1696" y="2196"/>
                    </a:lnTo>
                    <a:lnTo>
                      <a:pt x="1684" y="2188"/>
                    </a:lnTo>
                    <a:lnTo>
                      <a:pt x="1672" y="2182"/>
                    </a:lnTo>
                    <a:lnTo>
                      <a:pt x="1666" y="2179"/>
                    </a:lnTo>
                    <a:lnTo>
                      <a:pt x="1659" y="2176"/>
                    </a:lnTo>
                    <a:lnTo>
                      <a:pt x="1653" y="2175"/>
                    </a:lnTo>
                    <a:lnTo>
                      <a:pt x="1645" y="2174"/>
                    </a:lnTo>
                    <a:lnTo>
                      <a:pt x="1638" y="2174"/>
                    </a:lnTo>
                    <a:lnTo>
                      <a:pt x="1629" y="2174"/>
                    </a:lnTo>
                    <a:lnTo>
                      <a:pt x="1620" y="2176"/>
                    </a:lnTo>
                    <a:lnTo>
                      <a:pt x="1612" y="2179"/>
                    </a:lnTo>
                    <a:lnTo>
                      <a:pt x="1602" y="2182"/>
                    </a:lnTo>
                    <a:lnTo>
                      <a:pt x="1592" y="2186"/>
                    </a:lnTo>
                    <a:lnTo>
                      <a:pt x="1581" y="2192"/>
                    </a:lnTo>
                    <a:lnTo>
                      <a:pt x="1570" y="2199"/>
                    </a:lnTo>
                    <a:lnTo>
                      <a:pt x="1529" y="2227"/>
                    </a:lnTo>
                    <a:lnTo>
                      <a:pt x="1495" y="2250"/>
                    </a:lnTo>
                    <a:lnTo>
                      <a:pt x="1486" y="2254"/>
                    </a:lnTo>
                    <a:lnTo>
                      <a:pt x="1477" y="2258"/>
                    </a:lnTo>
                    <a:lnTo>
                      <a:pt x="1469" y="2262"/>
                    </a:lnTo>
                    <a:lnTo>
                      <a:pt x="1460" y="2264"/>
                    </a:lnTo>
                    <a:lnTo>
                      <a:pt x="1450" y="2266"/>
                    </a:lnTo>
                    <a:lnTo>
                      <a:pt x="1439" y="2266"/>
                    </a:lnTo>
                    <a:lnTo>
                      <a:pt x="1429" y="2266"/>
                    </a:lnTo>
                    <a:lnTo>
                      <a:pt x="1416" y="2265"/>
                    </a:lnTo>
                    <a:lnTo>
                      <a:pt x="1415" y="2263"/>
                    </a:lnTo>
                    <a:lnTo>
                      <a:pt x="1411" y="2261"/>
                    </a:lnTo>
                    <a:lnTo>
                      <a:pt x="1396" y="2256"/>
                    </a:lnTo>
                    <a:lnTo>
                      <a:pt x="1380" y="2251"/>
                    </a:lnTo>
                    <a:lnTo>
                      <a:pt x="1363" y="2247"/>
                    </a:lnTo>
                    <a:lnTo>
                      <a:pt x="1345" y="2243"/>
                    </a:lnTo>
                    <a:lnTo>
                      <a:pt x="1328" y="2240"/>
                    </a:lnTo>
                    <a:lnTo>
                      <a:pt x="1309" y="2237"/>
                    </a:lnTo>
                    <a:lnTo>
                      <a:pt x="1290" y="2235"/>
                    </a:lnTo>
                    <a:lnTo>
                      <a:pt x="1271" y="2234"/>
                    </a:lnTo>
                    <a:lnTo>
                      <a:pt x="1252" y="2233"/>
                    </a:lnTo>
                    <a:lnTo>
                      <a:pt x="1234" y="2233"/>
                    </a:lnTo>
                    <a:lnTo>
                      <a:pt x="1214" y="2233"/>
                    </a:lnTo>
                    <a:lnTo>
                      <a:pt x="1196" y="2234"/>
                    </a:lnTo>
                    <a:lnTo>
                      <a:pt x="1178" y="2236"/>
                    </a:lnTo>
                    <a:lnTo>
                      <a:pt x="1161" y="2239"/>
                    </a:lnTo>
                    <a:lnTo>
                      <a:pt x="1145" y="2242"/>
                    </a:lnTo>
                    <a:lnTo>
                      <a:pt x="1128" y="2247"/>
                    </a:lnTo>
                    <a:lnTo>
                      <a:pt x="1120" y="2251"/>
                    </a:lnTo>
                    <a:lnTo>
                      <a:pt x="1111" y="2257"/>
                    </a:lnTo>
                    <a:lnTo>
                      <a:pt x="1102" y="2265"/>
                    </a:lnTo>
                    <a:lnTo>
                      <a:pt x="1093" y="2274"/>
                    </a:lnTo>
                    <a:lnTo>
                      <a:pt x="1084" y="2281"/>
                    </a:lnTo>
                    <a:lnTo>
                      <a:pt x="1076" y="2288"/>
                    </a:lnTo>
                    <a:lnTo>
                      <a:pt x="1070" y="2293"/>
                    </a:lnTo>
                    <a:lnTo>
                      <a:pt x="1066" y="2294"/>
                    </a:lnTo>
                    <a:lnTo>
                      <a:pt x="1062" y="2278"/>
                    </a:lnTo>
                    <a:lnTo>
                      <a:pt x="1060" y="2252"/>
                    </a:lnTo>
                    <a:lnTo>
                      <a:pt x="1057" y="2220"/>
                    </a:lnTo>
                    <a:lnTo>
                      <a:pt x="1050" y="2186"/>
                    </a:lnTo>
                    <a:lnTo>
                      <a:pt x="1047" y="2170"/>
                    </a:lnTo>
                    <a:lnTo>
                      <a:pt x="1042" y="2155"/>
                    </a:lnTo>
                    <a:lnTo>
                      <a:pt x="1036" y="2142"/>
                    </a:lnTo>
                    <a:lnTo>
                      <a:pt x="1030" y="2131"/>
                    </a:lnTo>
                    <a:lnTo>
                      <a:pt x="1025" y="2127"/>
                    </a:lnTo>
                    <a:lnTo>
                      <a:pt x="1021" y="2122"/>
                    </a:lnTo>
                    <a:lnTo>
                      <a:pt x="1017" y="2119"/>
                    </a:lnTo>
                    <a:lnTo>
                      <a:pt x="1012" y="2118"/>
                    </a:lnTo>
                    <a:lnTo>
                      <a:pt x="1007" y="2116"/>
                    </a:lnTo>
                    <a:lnTo>
                      <a:pt x="1002" y="2116"/>
                    </a:lnTo>
                    <a:lnTo>
                      <a:pt x="995" y="2117"/>
                    </a:lnTo>
                    <a:lnTo>
                      <a:pt x="990" y="2119"/>
                    </a:lnTo>
                    <a:lnTo>
                      <a:pt x="963" y="2131"/>
                    </a:lnTo>
                    <a:lnTo>
                      <a:pt x="936" y="2145"/>
                    </a:lnTo>
                    <a:lnTo>
                      <a:pt x="921" y="2153"/>
                    </a:lnTo>
                    <a:lnTo>
                      <a:pt x="908" y="2161"/>
                    </a:lnTo>
                    <a:lnTo>
                      <a:pt x="897" y="2171"/>
                    </a:lnTo>
                    <a:lnTo>
                      <a:pt x="885" y="2181"/>
                    </a:lnTo>
                    <a:lnTo>
                      <a:pt x="874" y="2190"/>
                    </a:lnTo>
                    <a:lnTo>
                      <a:pt x="864" y="2201"/>
                    </a:lnTo>
                    <a:lnTo>
                      <a:pt x="855" y="2213"/>
                    </a:lnTo>
                    <a:lnTo>
                      <a:pt x="848" y="2226"/>
                    </a:lnTo>
                    <a:lnTo>
                      <a:pt x="841" y="2239"/>
                    </a:lnTo>
                    <a:lnTo>
                      <a:pt x="838" y="2253"/>
                    </a:lnTo>
                    <a:lnTo>
                      <a:pt x="835" y="2267"/>
                    </a:lnTo>
                    <a:lnTo>
                      <a:pt x="835" y="2283"/>
                    </a:lnTo>
                    <a:lnTo>
                      <a:pt x="835" y="2287"/>
                    </a:lnTo>
                    <a:lnTo>
                      <a:pt x="834" y="2291"/>
                    </a:lnTo>
                    <a:lnTo>
                      <a:pt x="834" y="2294"/>
                    </a:lnTo>
                    <a:lnTo>
                      <a:pt x="832" y="2297"/>
                    </a:lnTo>
                    <a:lnTo>
                      <a:pt x="827" y="2302"/>
                    </a:lnTo>
                    <a:lnTo>
                      <a:pt x="822" y="2305"/>
                    </a:lnTo>
                    <a:lnTo>
                      <a:pt x="815" y="2307"/>
                    </a:lnTo>
                    <a:lnTo>
                      <a:pt x="807" y="2307"/>
                    </a:lnTo>
                    <a:lnTo>
                      <a:pt x="798" y="2307"/>
                    </a:lnTo>
                    <a:lnTo>
                      <a:pt x="789" y="2307"/>
                    </a:lnTo>
                    <a:lnTo>
                      <a:pt x="750" y="2301"/>
                    </a:lnTo>
                    <a:lnTo>
                      <a:pt x="720" y="2297"/>
                    </a:lnTo>
                    <a:lnTo>
                      <a:pt x="710" y="2295"/>
                    </a:lnTo>
                    <a:lnTo>
                      <a:pt x="700" y="2292"/>
                    </a:lnTo>
                    <a:lnTo>
                      <a:pt x="690" y="2288"/>
                    </a:lnTo>
                    <a:lnTo>
                      <a:pt x="679" y="2283"/>
                    </a:lnTo>
                    <a:lnTo>
                      <a:pt x="668" y="2281"/>
                    </a:lnTo>
                    <a:lnTo>
                      <a:pt x="658" y="2280"/>
                    </a:lnTo>
                    <a:lnTo>
                      <a:pt x="653" y="2281"/>
                    </a:lnTo>
                    <a:lnTo>
                      <a:pt x="648" y="2282"/>
                    </a:lnTo>
                    <a:lnTo>
                      <a:pt x="643" y="2284"/>
                    </a:lnTo>
                    <a:lnTo>
                      <a:pt x="639" y="2289"/>
                    </a:lnTo>
                    <a:lnTo>
                      <a:pt x="631" y="2295"/>
                    </a:lnTo>
                    <a:lnTo>
                      <a:pt x="623" y="2303"/>
                    </a:lnTo>
                    <a:lnTo>
                      <a:pt x="616" y="2309"/>
                    </a:lnTo>
                    <a:lnTo>
                      <a:pt x="607" y="2315"/>
                    </a:lnTo>
                    <a:lnTo>
                      <a:pt x="604" y="2317"/>
                    </a:lnTo>
                    <a:lnTo>
                      <a:pt x="600" y="2318"/>
                    </a:lnTo>
                    <a:lnTo>
                      <a:pt x="594" y="2318"/>
                    </a:lnTo>
                    <a:lnTo>
                      <a:pt x="590" y="2318"/>
                    </a:lnTo>
                    <a:lnTo>
                      <a:pt x="586" y="2317"/>
                    </a:lnTo>
                    <a:lnTo>
                      <a:pt x="580" y="2314"/>
                    </a:lnTo>
                    <a:lnTo>
                      <a:pt x="576" y="2310"/>
                    </a:lnTo>
                    <a:lnTo>
                      <a:pt x="570" y="2306"/>
                    </a:lnTo>
                    <a:lnTo>
                      <a:pt x="565" y="2298"/>
                    </a:lnTo>
                    <a:lnTo>
                      <a:pt x="560" y="2291"/>
                    </a:lnTo>
                    <a:lnTo>
                      <a:pt x="554" y="2282"/>
                    </a:lnTo>
                    <a:lnTo>
                      <a:pt x="550" y="2273"/>
                    </a:lnTo>
                    <a:lnTo>
                      <a:pt x="540" y="2253"/>
                    </a:lnTo>
                    <a:lnTo>
                      <a:pt x="529" y="2235"/>
                    </a:lnTo>
                    <a:lnTo>
                      <a:pt x="524" y="2226"/>
                    </a:lnTo>
                    <a:lnTo>
                      <a:pt x="518" y="2219"/>
                    </a:lnTo>
                    <a:lnTo>
                      <a:pt x="513" y="2212"/>
                    </a:lnTo>
                    <a:lnTo>
                      <a:pt x="506" y="2207"/>
                    </a:lnTo>
                    <a:lnTo>
                      <a:pt x="500" y="2203"/>
                    </a:lnTo>
                    <a:lnTo>
                      <a:pt x="492" y="2201"/>
                    </a:lnTo>
                    <a:lnTo>
                      <a:pt x="489" y="2201"/>
                    </a:lnTo>
                    <a:lnTo>
                      <a:pt x="485" y="2202"/>
                    </a:lnTo>
                    <a:lnTo>
                      <a:pt x="481" y="2203"/>
                    </a:lnTo>
                    <a:lnTo>
                      <a:pt x="477" y="2204"/>
                    </a:lnTo>
                    <a:lnTo>
                      <a:pt x="463" y="2213"/>
                    </a:lnTo>
                    <a:lnTo>
                      <a:pt x="448" y="2223"/>
                    </a:lnTo>
                    <a:lnTo>
                      <a:pt x="431" y="2235"/>
                    </a:lnTo>
                    <a:lnTo>
                      <a:pt x="414" y="2247"/>
                    </a:lnTo>
                    <a:lnTo>
                      <a:pt x="397" y="2258"/>
                    </a:lnTo>
                    <a:lnTo>
                      <a:pt x="380" y="2268"/>
                    </a:lnTo>
                    <a:lnTo>
                      <a:pt x="372" y="2271"/>
                    </a:lnTo>
                    <a:lnTo>
                      <a:pt x="364" y="2275"/>
                    </a:lnTo>
                    <a:lnTo>
                      <a:pt x="357" y="2276"/>
                    </a:lnTo>
                    <a:lnTo>
                      <a:pt x="349" y="2277"/>
                    </a:lnTo>
                    <a:lnTo>
                      <a:pt x="345" y="2276"/>
                    </a:lnTo>
                    <a:lnTo>
                      <a:pt x="341" y="2276"/>
                    </a:lnTo>
                    <a:lnTo>
                      <a:pt x="336" y="2274"/>
                    </a:lnTo>
                    <a:lnTo>
                      <a:pt x="332" y="2271"/>
                    </a:lnTo>
                    <a:lnTo>
                      <a:pt x="325" y="2266"/>
                    </a:lnTo>
                    <a:lnTo>
                      <a:pt x="320" y="2260"/>
                    </a:lnTo>
                    <a:lnTo>
                      <a:pt x="316" y="2251"/>
                    </a:lnTo>
                    <a:lnTo>
                      <a:pt x="312" y="2242"/>
                    </a:lnTo>
                    <a:lnTo>
                      <a:pt x="309" y="2234"/>
                    </a:lnTo>
                    <a:lnTo>
                      <a:pt x="307" y="2225"/>
                    </a:lnTo>
                    <a:lnTo>
                      <a:pt x="305" y="2216"/>
                    </a:lnTo>
                    <a:lnTo>
                      <a:pt x="302" y="2209"/>
                    </a:lnTo>
                    <a:lnTo>
                      <a:pt x="299" y="2203"/>
                    </a:lnTo>
                    <a:lnTo>
                      <a:pt x="296" y="2199"/>
                    </a:lnTo>
                    <a:lnTo>
                      <a:pt x="294" y="2197"/>
                    </a:lnTo>
                    <a:lnTo>
                      <a:pt x="292" y="2197"/>
                    </a:lnTo>
                    <a:lnTo>
                      <a:pt x="289" y="2197"/>
                    </a:lnTo>
                    <a:lnTo>
                      <a:pt x="286" y="2197"/>
                    </a:lnTo>
                    <a:lnTo>
                      <a:pt x="280" y="2200"/>
                    </a:lnTo>
                    <a:lnTo>
                      <a:pt x="272" y="2207"/>
                    </a:lnTo>
                    <a:lnTo>
                      <a:pt x="252" y="2229"/>
                    </a:lnTo>
                    <a:lnTo>
                      <a:pt x="233" y="2251"/>
                    </a:lnTo>
                    <a:lnTo>
                      <a:pt x="215" y="2270"/>
                    </a:lnTo>
                    <a:lnTo>
                      <a:pt x="198" y="2289"/>
                    </a:lnTo>
                    <a:lnTo>
                      <a:pt x="188" y="2297"/>
                    </a:lnTo>
                    <a:lnTo>
                      <a:pt x="178" y="2304"/>
                    </a:lnTo>
                    <a:lnTo>
                      <a:pt x="167" y="2310"/>
                    </a:lnTo>
                    <a:lnTo>
                      <a:pt x="155" y="2316"/>
                    </a:lnTo>
                    <a:lnTo>
                      <a:pt x="143" y="2320"/>
                    </a:lnTo>
                    <a:lnTo>
                      <a:pt x="129" y="2323"/>
                    </a:lnTo>
                    <a:lnTo>
                      <a:pt x="114" y="2325"/>
                    </a:lnTo>
                    <a:lnTo>
                      <a:pt x="98" y="2327"/>
                    </a:lnTo>
                    <a:lnTo>
                      <a:pt x="89" y="2297"/>
                    </a:lnTo>
                    <a:lnTo>
                      <a:pt x="82" y="2263"/>
                    </a:lnTo>
                    <a:lnTo>
                      <a:pt x="78" y="2246"/>
                    </a:lnTo>
                    <a:lnTo>
                      <a:pt x="76" y="2228"/>
                    </a:lnTo>
                    <a:lnTo>
                      <a:pt x="76" y="2212"/>
                    </a:lnTo>
                    <a:lnTo>
                      <a:pt x="78" y="2197"/>
                    </a:lnTo>
                    <a:lnTo>
                      <a:pt x="31" y="2162"/>
                    </a:lnTo>
                    <a:lnTo>
                      <a:pt x="31" y="2162"/>
                    </a:lnTo>
                    <a:lnTo>
                      <a:pt x="31" y="2127"/>
                    </a:lnTo>
                    <a:lnTo>
                      <a:pt x="32" y="2092"/>
                    </a:lnTo>
                    <a:lnTo>
                      <a:pt x="33" y="2075"/>
                    </a:lnTo>
                    <a:lnTo>
                      <a:pt x="32" y="2058"/>
                    </a:lnTo>
                    <a:lnTo>
                      <a:pt x="30" y="2040"/>
                    </a:lnTo>
                    <a:lnTo>
                      <a:pt x="25" y="2024"/>
                    </a:lnTo>
                    <a:lnTo>
                      <a:pt x="17" y="2012"/>
                    </a:lnTo>
                    <a:lnTo>
                      <a:pt x="10" y="2003"/>
                    </a:lnTo>
                    <a:lnTo>
                      <a:pt x="6" y="1994"/>
                    </a:lnTo>
                    <a:lnTo>
                      <a:pt x="2" y="1986"/>
                    </a:lnTo>
                    <a:lnTo>
                      <a:pt x="1" y="1980"/>
                    </a:lnTo>
                    <a:lnTo>
                      <a:pt x="0" y="1973"/>
                    </a:lnTo>
                    <a:lnTo>
                      <a:pt x="1" y="1967"/>
                    </a:lnTo>
                    <a:lnTo>
                      <a:pt x="4" y="1961"/>
                    </a:lnTo>
                    <a:lnTo>
                      <a:pt x="9" y="1950"/>
                    </a:lnTo>
                    <a:lnTo>
                      <a:pt x="15" y="1936"/>
                    </a:lnTo>
                    <a:lnTo>
                      <a:pt x="19" y="1928"/>
                    </a:lnTo>
                    <a:lnTo>
                      <a:pt x="22" y="1919"/>
                    </a:lnTo>
                    <a:lnTo>
                      <a:pt x="25" y="1909"/>
                    </a:lnTo>
                    <a:lnTo>
                      <a:pt x="27" y="1897"/>
                    </a:lnTo>
                    <a:lnTo>
                      <a:pt x="33" y="1870"/>
                    </a:lnTo>
                    <a:lnTo>
                      <a:pt x="37" y="1841"/>
                    </a:lnTo>
                    <a:lnTo>
                      <a:pt x="43" y="1810"/>
                    </a:lnTo>
                    <a:lnTo>
                      <a:pt x="45" y="1780"/>
                    </a:lnTo>
                    <a:lnTo>
                      <a:pt x="45" y="1765"/>
                    </a:lnTo>
                    <a:lnTo>
                      <a:pt x="45" y="1751"/>
                    </a:lnTo>
                    <a:lnTo>
                      <a:pt x="43" y="1737"/>
                    </a:lnTo>
                    <a:lnTo>
                      <a:pt x="40" y="1724"/>
                    </a:lnTo>
                    <a:lnTo>
                      <a:pt x="36" y="1711"/>
                    </a:lnTo>
                    <a:lnTo>
                      <a:pt x="31" y="1700"/>
                    </a:lnTo>
                    <a:lnTo>
                      <a:pt x="23" y="1689"/>
                    </a:lnTo>
                    <a:lnTo>
                      <a:pt x="14" y="1681"/>
                    </a:lnTo>
                    <a:lnTo>
                      <a:pt x="12" y="1679"/>
                    </a:lnTo>
                    <a:lnTo>
                      <a:pt x="11" y="1676"/>
                    </a:lnTo>
                    <a:lnTo>
                      <a:pt x="11" y="1675"/>
                    </a:lnTo>
                    <a:lnTo>
                      <a:pt x="11" y="1672"/>
                    </a:lnTo>
                    <a:lnTo>
                      <a:pt x="12" y="1668"/>
                    </a:lnTo>
                    <a:lnTo>
                      <a:pt x="15" y="1661"/>
                    </a:lnTo>
                    <a:lnTo>
                      <a:pt x="25" y="1647"/>
                    </a:lnTo>
                    <a:lnTo>
                      <a:pt x="37" y="1632"/>
                    </a:lnTo>
                    <a:lnTo>
                      <a:pt x="50" y="1616"/>
                    </a:lnTo>
                    <a:lnTo>
                      <a:pt x="61" y="1600"/>
                    </a:lnTo>
                    <a:lnTo>
                      <a:pt x="66" y="1592"/>
                    </a:lnTo>
                    <a:lnTo>
                      <a:pt x="70" y="1585"/>
                    </a:lnTo>
                    <a:lnTo>
                      <a:pt x="73" y="1578"/>
                    </a:lnTo>
                    <a:lnTo>
                      <a:pt x="73" y="1572"/>
                    </a:lnTo>
                    <a:lnTo>
                      <a:pt x="74" y="1558"/>
                    </a:lnTo>
                    <a:lnTo>
                      <a:pt x="76" y="1544"/>
                    </a:lnTo>
                    <a:lnTo>
                      <a:pt x="79" y="1532"/>
                    </a:lnTo>
                    <a:lnTo>
                      <a:pt x="85" y="1520"/>
                    </a:lnTo>
                    <a:lnTo>
                      <a:pt x="90" y="1510"/>
                    </a:lnTo>
                    <a:lnTo>
                      <a:pt x="97" y="1499"/>
                    </a:lnTo>
                    <a:lnTo>
                      <a:pt x="103" y="1490"/>
                    </a:lnTo>
                    <a:lnTo>
                      <a:pt x="111" y="1480"/>
                    </a:lnTo>
                    <a:lnTo>
                      <a:pt x="127" y="1460"/>
                    </a:lnTo>
                    <a:lnTo>
                      <a:pt x="142" y="1439"/>
                    </a:lnTo>
                    <a:lnTo>
                      <a:pt x="150" y="1427"/>
                    </a:lnTo>
                    <a:lnTo>
                      <a:pt x="156" y="1413"/>
                    </a:lnTo>
                    <a:lnTo>
                      <a:pt x="162" y="1399"/>
                    </a:lnTo>
                    <a:lnTo>
                      <a:pt x="167" y="1383"/>
                    </a:lnTo>
                    <a:lnTo>
                      <a:pt x="173" y="1361"/>
                    </a:lnTo>
                    <a:lnTo>
                      <a:pt x="181" y="1342"/>
                    </a:lnTo>
                    <a:lnTo>
                      <a:pt x="190" y="1323"/>
                    </a:lnTo>
                    <a:lnTo>
                      <a:pt x="200" y="1306"/>
                    </a:lnTo>
                    <a:lnTo>
                      <a:pt x="211" y="1290"/>
                    </a:lnTo>
                    <a:lnTo>
                      <a:pt x="221" y="1275"/>
                    </a:lnTo>
                    <a:lnTo>
                      <a:pt x="233" y="1261"/>
                    </a:lnTo>
                    <a:lnTo>
                      <a:pt x="245" y="1245"/>
                    </a:lnTo>
                    <a:lnTo>
                      <a:pt x="271" y="1217"/>
                    </a:lnTo>
                    <a:lnTo>
                      <a:pt x="296" y="1188"/>
                    </a:lnTo>
                    <a:lnTo>
                      <a:pt x="308" y="1173"/>
                    </a:lnTo>
                    <a:lnTo>
                      <a:pt x="320" y="1156"/>
                    </a:lnTo>
                    <a:lnTo>
                      <a:pt x="331" y="1139"/>
                    </a:lnTo>
                    <a:lnTo>
                      <a:pt x="341" y="1119"/>
                    </a:lnTo>
                    <a:lnTo>
                      <a:pt x="347" y="1117"/>
                    </a:lnTo>
                    <a:lnTo>
                      <a:pt x="355" y="1112"/>
                    </a:lnTo>
                    <a:lnTo>
                      <a:pt x="363" y="1106"/>
                    </a:lnTo>
                    <a:lnTo>
                      <a:pt x="372" y="1099"/>
                    </a:lnTo>
                    <a:lnTo>
                      <a:pt x="389" y="1080"/>
                    </a:lnTo>
                    <a:lnTo>
                      <a:pt x="408" y="1060"/>
                    </a:lnTo>
                    <a:lnTo>
                      <a:pt x="426" y="1038"/>
                    </a:lnTo>
                    <a:lnTo>
                      <a:pt x="441" y="1018"/>
                    </a:lnTo>
                    <a:lnTo>
                      <a:pt x="455" y="998"/>
                    </a:lnTo>
                    <a:lnTo>
                      <a:pt x="465" y="983"/>
                    </a:lnTo>
                    <a:lnTo>
                      <a:pt x="468" y="975"/>
                    </a:lnTo>
                    <a:lnTo>
                      <a:pt x="472" y="969"/>
                    </a:lnTo>
                    <a:lnTo>
                      <a:pt x="474" y="961"/>
                    </a:lnTo>
                    <a:lnTo>
                      <a:pt x="475" y="953"/>
                    </a:lnTo>
                    <a:lnTo>
                      <a:pt x="478" y="937"/>
                    </a:lnTo>
                    <a:lnTo>
                      <a:pt x="480" y="920"/>
                    </a:lnTo>
                    <a:lnTo>
                      <a:pt x="483" y="905"/>
                    </a:lnTo>
                    <a:lnTo>
                      <a:pt x="486" y="890"/>
                    </a:lnTo>
                    <a:lnTo>
                      <a:pt x="489" y="883"/>
                    </a:lnTo>
                    <a:lnTo>
                      <a:pt x="492" y="876"/>
                    </a:lnTo>
                    <a:lnTo>
                      <a:pt x="496" y="870"/>
                    </a:lnTo>
                    <a:lnTo>
                      <a:pt x="501" y="864"/>
                    </a:lnTo>
                    <a:lnTo>
                      <a:pt x="519" y="845"/>
                    </a:lnTo>
                    <a:lnTo>
                      <a:pt x="533" y="829"/>
                    </a:lnTo>
                    <a:lnTo>
                      <a:pt x="540" y="821"/>
                    </a:lnTo>
                    <a:lnTo>
                      <a:pt x="544" y="813"/>
                    </a:lnTo>
                    <a:lnTo>
                      <a:pt x="549" y="806"/>
                    </a:lnTo>
                    <a:lnTo>
                      <a:pt x="552" y="799"/>
                    </a:lnTo>
                    <a:lnTo>
                      <a:pt x="554" y="791"/>
                    </a:lnTo>
                    <a:lnTo>
                      <a:pt x="556" y="783"/>
                    </a:lnTo>
                    <a:lnTo>
                      <a:pt x="557" y="773"/>
                    </a:lnTo>
                    <a:lnTo>
                      <a:pt x="558" y="764"/>
                    </a:lnTo>
                    <a:lnTo>
                      <a:pt x="560" y="740"/>
                    </a:lnTo>
                    <a:lnTo>
                      <a:pt x="560" y="712"/>
                    </a:lnTo>
                    <a:lnTo>
                      <a:pt x="563" y="671"/>
                    </a:lnTo>
                    <a:lnTo>
                      <a:pt x="565" y="631"/>
                    </a:lnTo>
                    <a:lnTo>
                      <a:pt x="564" y="621"/>
                    </a:lnTo>
                    <a:lnTo>
                      <a:pt x="562" y="613"/>
                    </a:lnTo>
                    <a:lnTo>
                      <a:pt x="558" y="605"/>
                    </a:lnTo>
                    <a:lnTo>
                      <a:pt x="553" y="597"/>
                    </a:lnTo>
                    <a:lnTo>
                      <a:pt x="545" y="591"/>
                    </a:lnTo>
                    <a:lnTo>
                      <a:pt x="537" y="586"/>
                    </a:lnTo>
                    <a:lnTo>
                      <a:pt x="526" y="580"/>
                    </a:lnTo>
                    <a:lnTo>
                      <a:pt x="513" y="577"/>
                    </a:lnTo>
                    <a:lnTo>
                      <a:pt x="513" y="575"/>
                    </a:lnTo>
                    <a:lnTo>
                      <a:pt x="513" y="573"/>
                    </a:lnTo>
                    <a:lnTo>
                      <a:pt x="514" y="569"/>
                    </a:lnTo>
                    <a:lnTo>
                      <a:pt x="516" y="566"/>
                    </a:lnTo>
                    <a:lnTo>
                      <a:pt x="522" y="560"/>
                    </a:lnTo>
                    <a:lnTo>
                      <a:pt x="529" y="552"/>
                    </a:lnTo>
                    <a:lnTo>
                      <a:pt x="543" y="537"/>
                    </a:lnTo>
                    <a:lnTo>
                      <a:pt x="554" y="526"/>
                    </a:lnTo>
                    <a:lnTo>
                      <a:pt x="562" y="515"/>
                    </a:lnTo>
                    <a:lnTo>
                      <a:pt x="566" y="506"/>
                    </a:lnTo>
                    <a:lnTo>
                      <a:pt x="569" y="496"/>
                    </a:lnTo>
                    <a:lnTo>
                      <a:pt x="570" y="486"/>
                    </a:lnTo>
                    <a:lnTo>
                      <a:pt x="570" y="478"/>
                    </a:lnTo>
                    <a:lnTo>
                      <a:pt x="569" y="469"/>
                    </a:lnTo>
                    <a:lnTo>
                      <a:pt x="567" y="460"/>
                    </a:lnTo>
                    <a:lnTo>
                      <a:pt x="564" y="452"/>
                    </a:lnTo>
                    <a:lnTo>
                      <a:pt x="556" y="434"/>
                    </a:lnTo>
                    <a:lnTo>
                      <a:pt x="549" y="418"/>
                    </a:lnTo>
                    <a:lnTo>
                      <a:pt x="545" y="411"/>
                    </a:lnTo>
                    <a:lnTo>
                      <a:pt x="542" y="402"/>
                    </a:lnTo>
                    <a:lnTo>
                      <a:pt x="541" y="393"/>
                    </a:lnTo>
                    <a:lnTo>
                      <a:pt x="540" y="385"/>
                    </a:lnTo>
                    <a:lnTo>
                      <a:pt x="549" y="378"/>
                    </a:lnTo>
                    <a:lnTo>
                      <a:pt x="562" y="366"/>
                    </a:lnTo>
                    <a:lnTo>
                      <a:pt x="574" y="353"/>
                    </a:lnTo>
                    <a:lnTo>
                      <a:pt x="580" y="345"/>
                    </a:lnTo>
                    <a:lnTo>
                      <a:pt x="589" y="343"/>
                    </a:lnTo>
                    <a:lnTo>
                      <a:pt x="596" y="338"/>
                    </a:lnTo>
                    <a:lnTo>
                      <a:pt x="604" y="335"/>
                    </a:lnTo>
                    <a:lnTo>
                      <a:pt x="612" y="330"/>
                    </a:lnTo>
                    <a:lnTo>
                      <a:pt x="628" y="318"/>
                    </a:lnTo>
                    <a:lnTo>
                      <a:pt x="642" y="305"/>
                    </a:lnTo>
                    <a:lnTo>
                      <a:pt x="657" y="290"/>
                    </a:lnTo>
                    <a:lnTo>
                      <a:pt x="672" y="272"/>
                    </a:lnTo>
                    <a:lnTo>
                      <a:pt x="687" y="255"/>
                    </a:lnTo>
                    <a:lnTo>
                      <a:pt x="701" y="237"/>
                    </a:lnTo>
                    <a:lnTo>
                      <a:pt x="731" y="199"/>
                    </a:lnTo>
                    <a:lnTo>
                      <a:pt x="759" y="163"/>
                    </a:lnTo>
                    <a:lnTo>
                      <a:pt x="773" y="147"/>
                    </a:lnTo>
                    <a:lnTo>
                      <a:pt x="787" y="132"/>
                    </a:lnTo>
                    <a:lnTo>
                      <a:pt x="802" y="119"/>
                    </a:lnTo>
                    <a:lnTo>
                      <a:pt x="816" y="108"/>
                    </a:lnTo>
                    <a:lnTo>
                      <a:pt x="816" y="108"/>
                    </a:lnTo>
                    <a:lnTo>
                      <a:pt x="871" y="172"/>
                    </a:lnTo>
                    <a:lnTo>
                      <a:pt x="867" y="198"/>
                    </a:lnTo>
                    <a:lnTo>
                      <a:pt x="858" y="201"/>
                    </a:lnTo>
                    <a:lnTo>
                      <a:pt x="849" y="203"/>
                    </a:lnTo>
                    <a:lnTo>
                      <a:pt x="841" y="208"/>
                    </a:lnTo>
                    <a:lnTo>
                      <a:pt x="836" y="211"/>
                    </a:lnTo>
                    <a:lnTo>
                      <a:pt x="830" y="214"/>
                    </a:lnTo>
                    <a:lnTo>
                      <a:pt x="827" y="218"/>
                    </a:lnTo>
                    <a:lnTo>
                      <a:pt x="824" y="223"/>
                    </a:lnTo>
                    <a:lnTo>
                      <a:pt x="823" y="227"/>
                    </a:lnTo>
                    <a:lnTo>
                      <a:pt x="822" y="231"/>
                    </a:lnTo>
                    <a:lnTo>
                      <a:pt x="822" y="237"/>
                    </a:lnTo>
                    <a:lnTo>
                      <a:pt x="823" y="241"/>
                    </a:lnTo>
                    <a:lnTo>
                      <a:pt x="824" y="246"/>
                    </a:lnTo>
                    <a:lnTo>
                      <a:pt x="829" y="256"/>
                    </a:lnTo>
                    <a:lnTo>
                      <a:pt x="836" y="266"/>
                    </a:lnTo>
                    <a:lnTo>
                      <a:pt x="845" y="277"/>
                    </a:lnTo>
                    <a:lnTo>
                      <a:pt x="854" y="287"/>
                    </a:lnTo>
                    <a:lnTo>
                      <a:pt x="865" y="297"/>
                    </a:lnTo>
                    <a:lnTo>
                      <a:pt x="875" y="307"/>
                    </a:lnTo>
                    <a:lnTo>
                      <a:pt x="894" y="324"/>
                    </a:lnTo>
                    <a:lnTo>
                      <a:pt x="907" y="339"/>
                    </a:lnTo>
                    <a:lnTo>
                      <a:pt x="915" y="348"/>
                    </a:lnTo>
                    <a:lnTo>
                      <a:pt x="923" y="356"/>
                    </a:lnTo>
                    <a:lnTo>
                      <a:pt x="931" y="361"/>
                    </a:lnTo>
                    <a:lnTo>
                      <a:pt x="940" y="366"/>
                    </a:lnTo>
                    <a:lnTo>
                      <a:pt x="949" y="370"/>
                    </a:lnTo>
                    <a:lnTo>
                      <a:pt x="958" y="373"/>
                    </a:lnTo>
                    <a:lnTo>
                      <a:pt x="969" y="375"/>
                    </a:lnTo>
                    <a:lnTo>
                      <a:pt x="979" y="376"/>
                    </a:lnTo>
                    <a:lnTo>
                      <a:pt x="1001" y="376"/>
                    </a:lnTo>
                    <a:lnTo>
                      <a:pt x="1023" y="374"/>
                    </a:lnTo>
                    <a:lnTo>
                      <a:pt x="1046" y="371"/>
                    </a:lnTo>
                    <a:lnTo>
                      <a:pt x="1070" y="367"/>
                    </a:lnTo>
                    <a:lnTo>
                      <a:pt x="1093" y="364"/>
                    </a:lnTo>
                    <a:lnTo>
                      <a:pt x="1114" y="362"/>
                    </a:lnTo>
                    <a:lnTo>
                      <a:pt x="1126" y="361"/>
                    </a:lnTo>
                    <a:lnTo>
                      <a:pt x="1136" y="361"/>
                    </a:lnTo>
                    <a:lnTo>
                      <a:pt x="1147" y="362"/>
                    </a:lnTo>
                    <a:lnTo>
                      <a:pt x="1157" y="364"/>
                    </a:lnTo>
                    <a:lnTo>
                      <a:pt x="1166" y="366"/>
                    </a:lnTo>
                    <a:lnTo>
                      <a:pt x="1176" y="371"/>
                    </a:lnTo>
                    <a:lnTo>
                      <a:pt x="1185" y="375"/>
                    </a:lnTo>
                    <a:lnTo>
                      <a:pt x="1193" y="380"/>
                    </a:lnTo>
                    <a:lnTo>
                      <a:pt x="1201" y="388"/>
                    </a:lnTo>
                    <a:lnTo>
                      <a:pt x="1209" y="397"/>
                    </a:lnTo>
                    <a:lnTo>
                      <a:pt x="1215" y="406"/>
                    </a:lnTo>
                    <a:lnTo>
                      <a:pt x="1221" y="418"/>
                    </a:lnTo>
                    <a:lnTo>
                      <a:pt x="1226" y="433"/>
                    </a:lnTo>
                    <a:lnTo>
                      <a:pt x="1234" y="460"/>
                    </a:lnTo>
                    <a:lnTo>
                      <a:pt x="1242" y="493"/>
                    </a:lnTo>
                    <a:lnTo>
                      <a:pt x="1252" y="527"/>
                    </a:lnTo>
                    <a:lnTo>
                      <a:pt x="1257" y="545"/>
                    </a:lnTo>
                    <a:lnTo>
                      <a:pt x="1263" y="561"/>
                    </a:lnTo>
                    <a:lnTo>
                      <a:pt x="1269" y="575"/>
                    </a:lnTo>
                    <a:lnTo>
                      <a:pt x="1275" y="588"/>
                    </a:lnTo>
                    <a:lnTo>
                      <a:pt x="1281" y="599"/>
                    </a:lnTo>
                    <a:lnTo>
                      <a:pt x="1287" y="606"/>
                    </a:lnTo>
                    <a:lnTo>
                      <a:pt x="1290" y="609"/>
                    </a:lnTo>
                    <a:lnTo>
                      <a:pt x="1293" y="610"/>
                    </a:lnTo>
                    <a:lnTo>
                      <a:pt x="1295" y="611"/>
                    </a:lnTo>
                    <a:lnTo>
                      <a:pt x="1299" y="611"/>
                    </a:lnTo>
                    <a:lnTo>
                      <a:pt x="1322" y="606"/>
                    </a:lnTo>
                    <a:lnTo>
                      <a:pt x="1348" y="603"/>
                    </a:lnTo>
                    <a:lnTo>
                      <a:pt x="1376" y="600"/>
                    </a:lnTo>
                    <a:lnTo>
                      <a:pt x="1402" y="595"/>
                    </a:lnTo>
                    <a:lnTo>
                      <a:pt x="1413" y="592"/>
                    </a:lnTo>
                    <a:lnTo>
                      <a:pt x="1425" y="588"/>
                    </a:lnTo>
                    <a:lnTo>
                      <a:pt x="1435" y="583"/>
                    </a:lnTo>
                    <a:lnTo>
                      <a:pt x="1445" y="577"/>
                    </a:lnTo>
                    <a:lnTo>
                      <a:pt x="1448" y="574"/>
                    </a:lnTo>
                    <a:lnTo>
                      <a:pt x="1452" y="569"/>
                    </a:lnTo>
                    <a:lnTo>
                      <a:pt x="1455" y="565"/>
                    </a:lnTo>
                    <a:lnTo>
                      <a:pt x="1458" y="561"/>
                    </a:lnTo>
                    <a:lnTo>
                      <a:pt x="1460" y="555"/>
                    </a:lnTo>
                    <a:lnTo>
                      <a:pt x="1462" y="550"/>
                    </a:lnTo>
                    <a:lnTo>
                      <a:pt x="1463" y="543"/>
                    </a:lnTo>
                    <a:lnTo>
                      <a:pt x="1464" y="537"/>
                    </a:lnTo>
                    <a:lnTo>
                      <a:pt x="1465" y="530"/>
                    </a:lnTo>
                    <a:lnTo>
                      <a:pt x="1468" y="524"/>
                    </a:lnTo>
                    <a:lnTo>
                      <a:pt x="1471" y="516"/>
                    </a:lnTo>
                    <a:lnTo>
                      <a:pt x="1475" y="510"/>
                    </a:lnTo>
                    <a:lnTo>
                      <a:pt x="1481" y="503"/>
                    </a:lnTo>
                    <a:lnTo>
                      <a:pt x="1487" y="497"/>
                    </a:lnTo>
                    <a:lnTo>
                      <a:pt x="1494" y="489"/>
                    </a:lnTo>
                    <a:lnTo>
                      <a:pt x="1502" y="483"/>
                    </a:lnTo>
                    <a:lnTo>
                      <a:pt x="1520" y="470"/>
                    </a:lnTo>
                    <a:lnTo>
                      <a:pt x="1540" y="458"/>
                    </a:lnTo>
                    <a:lnTo>
                      <a:pt x="1562" y="445"/>
                    </a:lnTo>
                    <a:lnTo>
                      <a:pt x="1585" y="432"/>
                    </a:lnTo>
                    <a:lnTo>
                      <a:pt x="1632" y="407"/>
                    </a:lnTo>
                    <a:lnTo>
                      <a:pt x="1677" y="384"/>
                    </a:lnTo>
                    <a:lnTo>
                      <a:pt x="1697" y="372"/>
                    </a:lnTo>
                    <a:lnTo>
                      <a:pt x="1716" y="360"/>
                    </a:lnTo>
                    <a:lnTo>
                      <a:pt x="1731" y="348"/>
                    </a:lnTo>
                    <a:lnTo>
                      <a:pt x="1744" y="336"/>
                    </a:lnTo>
                    <a:lnTo>
                      <a:pt x="1754" y="324"/>
                    </a:lnTo>
                    <a:lnTo>
                      <a:pt x="1759" y="313"/>
                    </a:lnTo>
                    <a:lnTo>
                      <a:pt x="1761" y="309"/>
                    </a:lnTo>
                    <a:lnTo>
                      <a:pt x="1763" y="305"/>
                    </a:lnTo>
                    <a:lnTo>
                      <a:pt x="1763" y="302"/>
                    </a:lnTo>
                    <a:lnTo>
                      <a:pt x="1763" y="298"/>
                    </a:lnTo>
                    <a:lnTo>
                      <a:pt x="1762" y="292"/>
                    </a:lnTo>
                    <a:lnTo>
                      <a:pt x="1758" y="286"/>
                    </a:lnTo>
                    <a:lnTo>
                      <a:pt x="1754" y="281"/>
                    </a:lnTo>
                    <a:lnTo>
                      <a:pt x="1747" y="277"/>
                    </a:lnTo>
                    <a:lnTo>
                      <a:pt x="1733" y="268"/>
                    </a:lnTo>
                    <a:lnTo>
                      <a:pt x="1720" y="258"/>
                    </a:lnTo>
                    <a:lnTo>
                      <a:pt x="1714" y="252"/>
                    </a:lnTo>
                    <a:lnTo>
                      <a:pt x="1709" y="245"/>
                    </a:lnTo>
                    <a:lnTo>
                      <a:pt x="1707" y="241"/>
                    </a:lnTo>
                    <a:lnTo>
                      <a:pt x="1706" y="237"/>
                    </a:lnTo>
                    <a:lnTo>
                      <a:pt x="1706" y="232"/>
                    </a:lnTo>
                    <a:lnTo>
                      <a:pt x="1705" y="227"/>
                    </a:lnTo>
                    <a:lnTo>
                      <a:pt x="1706" y="223"/>
                    </a:lnTo>
                    <a:lnTo>
                      <a:pt x="1706" y="218"/>
                    </a:lnTo>
                    <a:lnTo>
                      <a:pt x="1708" y="215"/>
                    </a:lnTo>
                    <a:lnTo>
                      <a:pt x="1709" y="212"/>
                    </a:lnTo>
                    <a:lnTo>
                      <a:pt x="1715" y="206"/>
                    </a:lnTo>
                    <a:lnTo>
                      <a:pt x="1720" y="202"/>
                    </a:lnTo>
                    <a:lnTo>
                      <a:pt x="1726" y="197"/>
                    </a:lnTo>
                    <a:lnTo>
                      <a:pt x="1731" y="192"/>
                    </a:lnTo>
                    <a:lnTo>
                      <a:pt x="1736" y="187"/>
                    </a:lnTo>
                    <a:lnTo>
                      <a:pt x="1740" y="181"/>
                    </a:lnTo>
                    <a:lnTo>
                      <a:pt x="1742" y="170"/>
                    </a:lnTo>
                    <a:lnTo>
                      <a:pt x="1742" y="159"/>
                    </a:lnTo>
                    <a:lnTo>
                      <a:pt x="1742" y="146"/>
                    </a:lnTo>
                    <a:lnTo>
                      <a:pt x="1741" y="134"/>
                    </a:lnTo>
                    <a:lnTo>
                      <a:pt x="1739" y="121"/>
                    </a:lnTo>
                    <a:lnTo>
                      <a:pt x="1739" y="109"/>
                    </a:lnTo>
                    <a:lnTo>
                      <a:pt x="1740" y="98"/>
                    </a:lnTo>
                    <a:lnTo>
                      <a:pt x="1742" y="88"/>
                    </a:lnTo>
                    <a:lnTo>
                      <a:pt x="1747" y="81"/>
                    </a:lnTo>
                    <a:lnTo>
                      <a:pt x="1750" y="75"/>
                    </a:lnTo>
                    <a:lnTo>
                      <a:pt x="1754" y="68"/>
                    </a:lnTo>
                    <a:lnTo>
                      <a:pt x="1757" y="62"/>
                    </a:lnTo>
                    <a:lnTo>
                      <a:pt x="1762" y="48"/>
                    </a:lnTo>
                    <a:lnTo>
                      <a:pt x="1770" y="34"/>
                    </a:lnTo>
                    <a:lnTo>
                      <a:pt x="1775" y="25"/>
                    </a:lnTo>
                    <a:lnTo>
                      <a:pt x="1787" y="11"/>
                    </a:lnTo>
                    <a:lnTo>
                      <a:pt x="1794" y="5"/>
                    </a:lnTo>
                    <a:lnTo>
                      <a:pt x="1799" y="0"/>
                    </a:lnTo>
                    <a:lnTo>
                      <a:pt x="1803" y="0"/>
                    </a:lnTo>
                    <a:lnTo>
                      <a:pt x="1805" y="0"/>
                    </a:lnTo>
                    <a:lnTo>
                      <a:pt x="1806" y="1"/>
                    </a:lnTo>
                    <a:lnTo>
                      <a:pt x="1807" y="3"/>
                    </a:lnTo>
                    <a:lnTo>
                      <a:pt x="1810" y="5"/>
                    </a:lnTo>
                    <a:lnTo>
                      <a:pt x="1812" y="7"/>
                    </a:lnTo>
                    <a:lnTo>
                      <a:pt x="1816" y="10"/>
                    </a:lnTo>
                    <a:lnTo>
                      <a:pt x="1819" y="13"/>
                    </a:lnTo>
                    <a:lnTo>
                      <a:pt x="1825" y="24"/>
                    </a:lnTo>
                    <a:lnTo>
                      <a:pt x="1832" y="36"/>
                    </a:lnTo>
                    <a:lnTo>
                      <a:pt x="1846" y="68"/>
                    </a:lnTo>
                    <a:lnTo>
                      <a:pt x="1862" y="105"/>
                    </a:lnTo>
                    <a:lnTo>
                      <a:pt x="1872" y="124"/>
                    </a:lnTo>
                    <a:lnTo>
                      <a:pt x="1882" y="143"/>
                    </a:lnTo>
                    <a:lnTo>
                      <a:pt x="1892" y="161"/>
                    </a:lnTo>
                    <a:lnTo>
                      <a:pt x="1903" y="177"/>
                    </a:lnTo>
                    <a:lnTo>
                      <a:pt x="1910" y="185"/>
                    </a:lnTo>
                    <a:lnTo>
                      <a:pt x="1916" y="192"/>
                    </a:lnTo>
                    <a:lnTo>
                      <a:pt x="1923" y="199"/>
                    </a:lnTo>
                    <a:lnTo>
                      <a:pt x="1929" y="205"/>
                    </a:lnTo>
                    <a:lnTo>
                      <a:pt x="1937" y="211"/>
                    </a:lnTo>
                    <a:lnTo>
                      <a:pt x="1943" y="215"/>
                    </a:lnTo>
                    <a:lnTo>
                      <a:pt x="1951" y="218"/>
                    </a:lnTo>
                    <a:lnTo>
                      <a:pt x="1959" y="222"/>
                    </a:lnTo>
                    <a:lnTo>
                      <a:pt x="1990" y="230"/>
                    </a:lnTo>
                    <a:lnTo>
                      <a:pt x="2023" y="240"/>
                    </a:lnTo>
                    <a:lnTo>
                      <a:pt x="2038" y="245"/>
                    </a:lnTo>
                    <a:lnTo>
                      <a:pt x="2053" y="252"/>
                    </a:lnTo>
                    <a:lnTo>
                      <a:pt x="2059" y="256"/>
                    </a:lnTo>
                    <a:lnTo>
                      <a:pt x="2067" y="260"/>
                    </a:lnTo>
                    <a:lnTo>
                      <a:pt x="2073" y="265"/>
                    </a:lnTo>
                    <a:lnTo>
                      <a:pt x="2080" y="270"/>
                    </a:lnTo>
                    <a:lnTo>
                      <a:pt x="2086" y="278"/>
                    </a:lnTo>
                    <a:lnTo>
                      <a:pt x="2093" y="284"/>
                    </a:lnTo>
                    <a:lnTo>
                      <a:pt x="2097" y="292"/>
                    </a:lnTo>
                    <a:lnTo>
                      <a:pt x="2102" y="299"/>
                    </a:lnTo>
                    <a:lnTo>
                      <a:pt x="2108" y="314"/>
                    </a:lnTo>
                    <a:lnTo>
                      <a:pt x="2112" y="331"/>
                    </a:lnTo>
                    <a:lnTo>
                      <a:pt x="2117" y="346"/>
                    </a:lnTo>
                    <a:lnTo>
                      <a:pt x="2121" y="362"/>
                    </a:lnTo>
                    <a:lnTo>
                      <a:pt x="2125" y="379"/>
                    </a:lnTo>
                    <a:lnTo>
                      <a:pt x="2133" y="395"/>
                    </a:lnTo>
                    <a:lnTo>
                      <a:pt x="2159" y="425"/>
                    </a:lnTo>
                    <a:lnTo>
                      <a:pt x="2181" y="448"/>
                    </a:lnTo>
                    <a:lnTo>
                      <a:pt x="2186" y="454"/>
                    </a:lnTo>
                    <a:lnTo>
                      <a:pt x="2193" y="459"/>
                    </a:lnTo>
                    <a:lnTo>
                      <a:pt x="2199" y="464"/>
                    </a:lnTo>
                    <a:lnTo>
                      <a:pt x="2207" y="467"/>
                    </a:lnTo>
                    <a:lnTo>
                      <a:pt x="2214" y="471"/>
                    </a:lnTo>
                    <a:lnTo>
                      <a:pt x="2223" y="474"/>
                    </a:lnTo>
                    <a:lnTo>
                      <a:pt x="2233" y="476"/>
                    </a:lnTo>
                    <a:lnTo>
                      <a:pt x="2242" y="480"/>
                    </a:lnTo>
                    <a:lnTo>
                      <a:pt x="2251" y="480"/>
                    </a:lnTo>
                    <a:lnTo>
                      <a:pt x="2260" y="480"/>
                    </a:lnTo>
                    <a:lnTo>
                      <a:pt x="2269" y="479"/>
                    </a:lnTo>
                    <a:lnTo>
                      <a:pt x="2277" y="476"/>
                    </a:lnTo>
                    <a:lnTo>
                      <a:pt x="2295" y="470"/>
                    </a:lnTo>
                    <a:lnTo>
                      <a:pt x="2312" y="461"/>
                    </a:lnTo>
                    <a:lnTo>
                      <a:pt x="2329" y="453"/>
                    </a:lnTo>
                    <a:lnTo>
                      <a:pt x="2347" y="445"/>
                    </a:lnTo>
                    <a:lnTo>
                      <a:pt x="2355" y="442"/>
                    </a:lnTo>
                    <a:lnTo>
                      <a:pt x="2364" y="440"/>
                    </a:lnTo>
                    <a:lnTo>
                      <a:pt x="2373" y="439"/>
                    </a:lnTo>
                    <a:lnTo>
                      <a:pt x="2381" y="438"/>
                    </a:lnTo>
                    <a:lnTo>
                      <a:pt x="2389" y="439"/>
                    </a:lnTo>
                    <a:lnTo>
                      <a:pt x="2395" y="442"/>
                    </a:lnTo>
                    <a:lnTo>
                      <a:pt x="2402" y="447"/>
                    </a:lnTo>
                    <a:lnTo>
                      <a:pt x="2409" y="455"/>
                    </a:lnTo>
                    <a:lnTo>
                      <a:pt x="2422" y="472"/>
                    </a:lnTo>
                    <a:lnTo>
                      <a:pt x="2436" y="494"/>
                    </a:lnTo>
                    <a:lnTo>
                      <a:pt x="2449" y="516"/>
                    </a:lnTo>
                    <a:lnTo>
                      <a:pt x="2465" y="538"/>
                    </a:lnTo>
                    <a:lnTo>
                      <a:pt x="2471" y="548"/>
                    </a:lnTo>
                    <a:lnTo>
                      <a:pt x="2479" y="556"/>
                    </a:lnTo>
                    <a:lnTo>
                      <a:pt x="2486" y="564"/>
                    </a:lnTo>
                    <a:lnTo>
                      <a:pt x="2495" y="569"/>
                    </a:lnTo>
                    <a:lnTo>
                      <a:pt x="2506" y="576"/>
                    </a:lnTo>
                    <a:lnTo>
                      <a:pt x="2518" y="582"/>
                    </a:lnTo>
                    <a:lnTo>
                      <a:pt x="2530" y="587"/>
                    </a:lnTo>
                    <a:lnTo>
                      <a:pt x="2541" y="591"/>
                    </a:lnTo>
                    <a:lnTo>
                      <a:pt x="2563" y="596"/>
                    </a:lnTo>
                    <a:lnTo>
                      <a:pt x="2586" y="601"/>
                    </a:lnTo>
                    <a:lnTo>
                      <a:pt x="2609" y="604"/>
                    </a:lnTo>
                    <a:lnTo>
                      <a:pt x="2630" y="607"/>
                    </a:lnTo>
                    <a:lnTo>
                      <a:pt x="2642" y="609"/>
                    </a:lnTo>
                    <a:lnTo>
                      <a:pt x="2653" y="613"/>
                    </a:lnTo>
                    <a:lnTo>
                      <a:pt x="2665" y="616"/>
                    </a:lnTo>
                    <a:lnTo>
                      <a:pt x="2677" y="619"/>
                    </a:lnTo>
                    <a:lnTo>
                      <a:pt x="2677" y="619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06" name="Freeform 21">
                <a:extLst>
                  <a:ext uri="{FF2B5EF4-FFF2-40B4-BE49-F238E27FC236}">
                    <a16:creationId xmlns:a16="http://schemas.microsoft.com/office/drawing/2014/main" id="{73E150D5-CD38-4B27-A871-734CFA99A3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25301" y="-1266420"/>
                <a:ext cx="906463" cy="646113"/>
              </a:xfrm>
              <a:custGeom>
                <a:avLst/>
                <a:gdLst>
                  <a:gd name="T0" fmla="*/ 1012 w 2284"/>
                  <a:gd name="T1" fmla="*/ 1447 h 1630"/>
                  <a:gd name="T2" fmla="*/ 1020 w 2284"/>
                  <a:gd name="T3" fmla="*/ 1306 h 1630"/>
                  <a:gd name="T4" fmla="*/ 1071 w 2284"/>
                  <a:gd name="T5" fmla="*/ 1295 h 1630"/>
                  <a:gd name="T6" fmla="*/ 1197 w 2284"/>
                  <a:gd name="T7" fmla="*/ 1285 h 1630"/>
                  <a:gd name="T8" fmla="*/ 1338 w 2284"/>
                  <a:gd name="T9" fmla="*/ 1232 h 1630"/>
                  <a:gd name="T10" fmla="*/ 1360 w 2284"/>
                  <a:gd name="T11" fmla="*/ 1248 h 1630"/>
                  <a:gd name="T12" fmla="*/ 1402 w 2284"/>
                  <a:gd name="T13" fmla="*/ 1339 h 1630"/>
                  <a:gd name="T14" fmla="*/ 1493 w 2284"/>
                  <a:gd name="T15" fmla="*/ 1394 h 1630"/>
                  <a:gd name="T16" fmla="*/ 1610 w 2284"/>
                  <a:gd name="T17" fmla="*/ 1419 h 1630"/>
                  <a:gd name="T18" fmla="*/ 1721 w 2284"/>
                  <a:gd name="T19" fmla="*/ 1407 h 1630"/>
                  <a:gd name="T20" fmla="*/ 1812 w 2284"/>
                  <a:gd name="T21" fmla="*/ 1328 h 1630"/>
                  <a:gd name="T22" fmla="*/ 1865 w 2284"/>
                  <a:gd name="T23" fmla="*/ 1295 h 1630"/>
                  <a:gd name="T24" fmla="*/ 1939 w 2284"/>
                  <a:gd name="T25" fmla="*/ 1350 h 1630"/>
                  <a:gd name="T26" fmla="*/ 2016 w 2284"/>
                  <a:gd name="T27" fmla="*/ 1299 h 1630"/>
                  <a:gd name="T28" fmla="*/ 2207 w 2284"/>
                  <a:gd name="T29" fmla="*/ 1217 h 1630"/>
                  <a:gd name="T30" fmla="*/ 2254 w 2284"/>
                  <a:gd name="T31" fmla="*/ 830 h 1630"/>
                  <a:gd name="T32" fmla="*/ 2192 w 2284"/>
                  <a:gd name="T33" fmla="*/ 789 h 1630"/>
                  <a:gd name="T34" fmla="*/ 2127 w 2284"/>
                  <a:gd name="T35" fmla="*/ 793 h 1630"/>
                  <a:gd name="T36" fmla="*/ 2024 w 2284"/>
                  <a:gd name="T37" fmla="*/ 820 h 1630"/>
                  <a:gd name="T38" fmla="*/ 1852 w 2284"/>
                  <a:gd name="T39" fmla="*/ 867 h 1630"/>
                  <a:gd name="T40" fmla="*/ 1753 w 2284"/>
                  <a:gd name="T41" fmla="*/ 884 h 1630"/>
                  <a:gd name="T42" fmla="*/ 1655 w 2284"/>
                  <a:gd name="T43" fmla="*/ 857 h 1630"/>
                  <a:gd name="T44" fmla="*/ 1518 w 2284"/>
                  <a:gd name="T45" fmla="*/ 830 h 1630"/>
                  <a:gd name="T46" fmla="*/ 1370 w 2284"/>
                  <a:gd name="T47" fmla="*/ 750 h 1630"/>
                  <a:gd name="T48" fmla="*/ 1102 w 2284"/>
                  <a:gd name="T49" fmla="*/ 524 h 1630"/>
                  <a:gd name="T50" fmla="*/ 1005 w 2284"/>
                  <a:gd name="T51" fmla="*/ 436 h 1630"/>
                  <a:gd name="T52" fmla="*/ 932 w 2284"/>
                  <a:gd name="T53" fmla="*/ 370 h 1630"/>
                  <a:gd name="T54" fmla="*/ 900 w 2284"/>
                  <a:gd name="T55" fmla="*/ 263 h 1630"/>
                  <a:gd name="T56" fmla="*/ 850 w 2284"/>
                  <a:gd name="T57" fmla="*/ 161 h 1630"/>
                  <a:gd name="T58" fmla="*/ 844 w 2284"/>
                  <a:gd name="T59" fmla="*/ 74 h 1630"/>
                  <a:gd name="T60" fmla="*/ 887 w 2284"/>
                  <a:gd name="T61" fmla="*/ 8 h 1630"/>
                  <a:gd name="T62" fmla="*/ 751 w 2284"/>
                  <a:gd name="T63" fmla="*/ 0 h 1630"/>
                  <a:gd name="T64" fmla="*/ 665 w 2284"/>
                  <a:gd name="T65" fmla="*/ 52 h 1630"/>
                  <a:gd name="T66" fmla="*/ 579 w 2284"/>
                  <a:gd name="T67" fmla="*/ 87 h 1630"/>
                  <a:gd name="T68" fmla="*/ 444 w 2284"/>
                  <a:gd name="T69" fmla="*/ 109 h 1630"/>
                  <a:gd name="T70" fmla="*/ 361 w 2284"/>
                  <a:gd name="T71" fmla="*/ 128 h 1630"/>
                  <a:gd name="T72" fmla="*/ 311 w 2284"/>
                  <a:gd name="T73" fmla="*/ 126 h 1630"/>
                  <a:gd name="T74" fmla="*/ 284 w 2284"/>
                  <a:gd name="T75" fmla="*/ 170 h 1630"/>
                  <a:gd name="T76" fmla="*/ 226 w 2284"/>
                  <a:gd name="T77" fmla="*/ 368 h 1630"/>
                  <a:gd name="T78" fmla="*/ 173 w 2284"/>
                  <a:gd name="T79" fmla="*/ 525 h 1630"/>
                  <a:gd name="T80" fmla="*/ 106 w 2284"/>
                  <a:gd name="T81" fmla="*/ 718 h 1630"/>
                  <a:gd name="T82" fmla="*/ 55 w 2284"/>
                  <a:gd name="T83" fmla="*/ 876 h 1630"/>
                  <a:gd name="T84" fmla="*/ 13 w 2284"/>
                  <a:gd name="T85" fmla="*/ 993 h 1630"/>
                  <a:gd name="T86" fmla="*/ 168 w 2284"/>
                  <a:gd name="T87" fmla="*/ 1056 h 1630"/>
                  <a:gd name="T88" fmla="*/ 297 w 2284"/>
                  <a:gd name="T89" fmla="*/ 1090 h 1630"/>
                  <a:gd name="T90" fmla="*/ 415 w 2284"/>
                  <a:gd name="T91" fmla="*/ 1110 h 1630"/>
                  <a:gd name="T92" fmla="*/ 455 w 2284"/>
                  <a:gd name="T93" fmla="*/ 1139 h 1630"/>
                  <a:gd name="T94" fmla="*/ 438 w 2284"/>
                  <a:gd name="T95" fmla="*/ 1239 h 1630"/>
                  <a:gd name="T96" fmla="*/ 463 w 2284"/>
                  <a:gd name="T97" fmla="*/ 1347 h 1630"/>
                  <a:gd name="T98" fmla="*/ 495 w 2284"/>
                  <a:gd name="T99" fmla="*/ 1387 h 1630"/>
                  <a:gd name="T100" fmla="*/ 567 w 2284"/>
                  <a:gd name="T101" fmla="*/ 1377 h 1630"/>
                  <a:gd name="T102" fmla="*/ 634 w 2284"/>
                  <a:gd name="T103" fmla="*/ 1385 h 1630"/>
                  <a:gd name="T104" fmla="*/ 691 w 2284"/>
                  <a:gd name="T105" fmla="*/ 1438 h 1630"/>
                  <a:gd name="T106" fmla="*/ 756 w 2284"/>
                  <a:gd name="T107" fmla="*/ 1498 h 1630"/>
                  <a:gd name="T108" fmla="*/ 789 w 2284"/>
                  <a:gd name="T109" fmla="*/ 1578 h 1630"/>
                  <a:gd name="T110" fmla="*/ 853 w 2284"/>
                  <a:gd name="T111" fmla="*/ 1626 h 1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284" h="1630">
                    <a:moveTo>
                      <a:pt x="866" y="1630"/>
                    </a:moveTo>
                    <a:lnTo>
                      <a:pt x="987" y="1570"/>
                    </a:lnTo>
                    <a:lnTo>
                      <a:pt x="994" y="1549"/>
                    </a:lnTo>
                    <a:lnTo>
                      <a:pt x="999" y="1525"/>
                    </a:lnTo>
                    <a:lnTo>
                      <a:pt x="1005" y="1500"/>
                    </a:lnTo>
                    <a:lnTo>
                      <a:pt x="1009" y="1474"/>
                    </a:lnTo>
                    <a:lnTo>
                      <a:pt x="1012" y="1447"/>
                    </a:lnTo>
                    <a:lnTo>
                      <a:pt x="1014" y="1422"/>
                    </a:lnTo>
                    <a:lnTo>
                      <a:pt x="1015" y="1396"/>
                    </a:lnTo>
                    <a:lnTo>
                      <a:pt x="1016" y="1374"/>
                    </a:lnTo>
                    <a:lnTo>
                      <a:pt x="1016" y="1343"/>
                    </a:lnTo>
                    <a:lnTo>
                      <a:pt x="1018" y="1321"/>
                    </a:lnTo>
                    <a:lnTo>
                      <a:pt x="1019" y="1313"/>
                    </a:lnTo>
                    <a:lnTo>
                      <a:pt x="1020" y="1306"/>
                    </a:lnTo>
                    <a:lnTo>
                      <a:pt x="1022" y="1301"/>
                    </a:lnTo>
                    <a:lnTo>
                      <a:pt x="1025" y="1297"/>
                    </a:lnTo>
                    <a:lnTo>
                      <a:pt x="1029" y="1295"/>
                    </a:lnTo>
                    <a:lnTo>
                      <a:pt x="1035" y="1293"/>
                    </a:lnTo>
                    <a:lnTo>
                      <a:pt x="1041" y="1293"/>
                    </a:lnTo>
                    <a:lnTo>
                      <a:pt x="1050" y="1293"/>
                    </a:lnTo>
                    <a:lnTo>
                      <a:pt x="1071" y="1295"/>
                    </a:lnTo>
                    <a:lnTo>
                      <a:pt x="1099" y="1299"/>
                    </a:lnTo>
                    <a:lnTo>
                      <a:pt x="1109" y="1300"/>
                    </a:lnTo>
                    <a:lnTo>
                      <a:pt x="1119" y="1300"/>
                    </a:lnTo>
                    <a:lnTo>
                      <a:pt x="1131" y="1300"/>
                    </a:lnTo>
                    <a:lnTo>
                      <a:pt x="1144" y="1298"/>
                    </a:lnTo>
                    <a:lnTo>
                      <a:pt x="1170" y="1293"/>
                    </a:lnTo>
                    <a:lnTo>
                      <a:pt x="1197" y="1285"/>
                    </a:lnTo>
                    <a:lnTo>
                      <a:pt x="1224" y="1277"/>
                    </a:lnTo>
                    <a:lnTo>
                      <a:pt x="1249" y="1268"/>
                    </a:lnTo>
                    <a:lnTo>
                      <a:pt x="1273" y="1259"/>
                    </a:lnTo>
                    <a:lnTo>
                      <a:pt x="1293" y="1250"/>
                    </a:lnTo>
                    <a:lnTo>
                      <a:pt x="1316" y="1241"/>
                    </a:lnTo>
                    <a:lnTo>
                      <a:pt x="1332" y="1234"/>
                    </a:lnTo>
                    <a:lnTo>
                      <a:pt x="1338" y="1232"/>
                    </a:lnTo>
                    <a:lnTo>
                      <a:pt x="1344" y="1231"/>
                    </a:lnTo>
                    <a:lnTo>
                      <a:pt x="1348" y="1231"/>
                    </a:lnTo>
                    <a:lnTo>
                      <a:pt x="1351" y="1232"/>
                    </a:lnTo>
                    <a:lnTo>
                      <a:pt x="1353" y="1234"/>
                    </a:lnTo>
                    <a:lnTo>
                      <a:pt x="1357" y="1237"/>
                    </a:lnTo>
                    <a:lnTo>
                      <a:pt x="1358" y="1242"/>
                    </a:lnTo>
                    <a:lnTo>
                      <a:pt x="1360" y="1248"/>
                    </a:lnTo>
                    <a:lnTo>
                      <a:pt x="1364" y="1263"/>
                    </a:lnTo>
                    <a:lnTo>
                      <a:pt x="1369" y="1285"/>
                    </a:lnTo>
                    <a:lnTo>
                      <a:pt x="1373" y="1297"/>
                    </a:lnTo>
                    <a:lnTo>
                      <a:pt x="1378" y="1308"/>
                    </a:lnTo>
                    <a:lnTo>
                      <a:pt x="1385" y="1318"/>
                    </a:lnTo>
                    <a:lnTo>
                      <a:pt x="1392" y="1329"/>
                    </a:lnTo>
                    <a:lnTo>
                      <a:pt x="1402" y="1339"/>
                    </a:lnTo>
                    <a:lnTo>
                      <a:pt x="1412" y="1349"/>
                    </a:lnTo>
                    <a:lnTo>
                      <a:pt x="1424" y="1357"/>
                    </a:lnTo>
                    <a:lnTo>
                      <a:pt x="1436" y="1366"/>
                    </a:lnTo>
                    <a:lnTo>
                      <a:pt x="1450" y="1374"/>
                    </a:lnTo>
                    <a:lnTo>
                      <a:pt x="1464" y="1381"/>
                    </a:lnTo>
                    <a:lnTo>
                      <a:pt x="1478" y="1388"/>
                    </a:lnTo>
                    <a:lnTo>
                      <a:pt x="1493" y="1394"/>
                    </a:lnTo>
                    <a:lnTo>
                      <a:pt x="1510" y="1399"/>
                    </a:lnTo>
                    <a:lnTo>
                      <a:pt x="1526" y="1405"/>
                    </a:lnTo>
                    <a:lnTo>
                      <a:pt x="1542" y="1409"/>
                    </a:lnTo>
                    <a:lnTo>
                      <a:pt x="1559" y="1412"/>
                    </a:lnTo>
                    <a:lnTo>
                      <a:pt x="1577" y="1416"/>
                    </a:lnTo>
                    <a:lnTo>
                      <a:pt x="1593" y="1418"/>
                    </a:lnTo>
                    <a:lnTo>
                      <a:pt x="1610" y="1419"/>
                    </a:lnTo>
                    <a:lnTo>
                      <a:pt x="1627" y="1420"/>
                    </a:lnTo>
                    <a:lnTo>
                      <a:pt x="1644" y="1420"/>
                    </a:lnTo>
                    <a:lnTo>
                      <a:pt x="1660" y="1419"/>
                    </a:lnTo>
                    <a:lnTo>
                      <a:pt x="1676" y="1417"/>
                    </a:lnTo>
                    <a:lnTo>
                      <a:pt x="1692" y="1415"/>
                    </a:lnTo>
                    <a:lnTo>
                      <a:pt x="1706" y="1411"/>
                    </a:lnTo>
                    <a:lnTo>
                      <a:pt x="1721" y="1407"/>
                    </a:lnTo>
                    <a:lnTo>
                      <a:pt x="1734" y="1403"/>
                    </a:lnTo>
                    <a:lnTo>
                      <a:pt x="1746" y="1396"/>
                    </a:lnTo>
                    <a:lnTo>
                      <a:pt x="1758" y="1390"/>
                    </a:lnTo>
                    <a:lnTo>
                      <a:pt x="1769" y="1382"/>
                    </a:lnTo>
                    <a:lnTo>
                      <a:pt x="1777" y="1374"/>
                    </a:lnTo>
                    <a:lnTo>
                      <a:pt x="1786" y="1364"/>
                    </a:lnTo>
                    <a:lnTo>
                      <a:pt x="1812" y="1328"/>
                    </a:lnTo>
                    <a:lnTo>
                      <a:pt x="1830" y="1304"/>
                    </a:lnTo>
                    <a:lnTo>
                      <a:pt x="1837" y="1298"/>
                    </a:lnTo>
                    <a:lnTo>
                      <a:pt x="1842" y="1293"/>
                    </a:lnTo>
                    <a:lnTo>
                      <a:pt x="1848" y="1290"/>
                    </a:lnTo>
                    <a:lnTo>
                      <a:pt x="1853" y="1289"/>
                    </a:lnTo>
                    <a:lnTo>
                      <a:pt x="1858" y="1291"/>
                    </a:lnTo>
                    <a:lnTo>
                      <a:pt x="1865" y="1295"/>
                    </a:lnTo>
                    <a:lnTo>
                      <a:pt x="1871" y="1300"/>
                    </a:lnTo>
                    <a:lnTo>
                      <a:pt x="1880" y="1308"/>
                    </a:lnTo>
                    <a:lnTo>
                      <a:pt x="1890" y="1316"/>
                    </a:lnTo>
                    <a:lnTo>
                      <a:pt x="1903" y="1326"/>
                    </a:lnTo>
                    <a:lnTo>
                      <a:pt x="1918" y="1337"/>
                    </a:lnTo>
                    <a:lnTo>
                      <a:pt x="1935" y="1349"/>
                    </a:lnTo>
                    <a:lnTo>
                      <a:pt x="1939" y="1350"/>
                    </a:lnTo>
                    <a:lnTo>
                      <a:pt x="1941" y="1350"/>
                    </a:lnTo>
                    <a:lnTo>
                      <a:pt x="1945" y="1349"/>
                    </a:lnTo>
                    <a:lnTo>
                      <a:pt x="1948" y="1348"/>
                    </a:lnTo>
                    <a:lnTo>
                      <a:pt x="1957" y="1344"/>
                    </a:lnTo>
                    <a:lnTo>
                      <a:pt x="1967" y="1338"/>
                    </a:lnTo>
                    <a:lnTo>
                      <a:pt x="1990" y="1321"/>
                    </a:lnTo>
                    <a:lnTo>
                      <a:pt x="2016" y="1299"/>
                    </a:lnTo>
                    <a:lnTo>
                      <a:pt x="2041" y="1276"/>
                    </a:lnTo>
                    <a:lnTo>
                      <a:pt x="2065" y="1254"/>
                    </a:lnTo>
                    <a:lnTo>
                      <a:pt x="2076" y="1244"/>
                    </a:lnTo>
                    <a:lnTo>
                      <a:pt x="2087" y="1236"/>
                    </a:lnTo>
                    <a:lnTo>
                      <a:pt x="2096" y="1229"/>
                    </a:lnTo>
                    <a:lnTo>
                      <a:pt x="2104" y="1225"/>
                    </a:lnTo>
                    <a:lnTo>
                      <a:pt x="2207" y="1217"/>
                    </a:lnTo>
                    <a:lnTo>
                      <a:pt x="2284" y="1147"/>
                    </a:lnTo>
                    <a:lnTo>
                      <a:pt x="2284" y="1147"/>
                    </a:lnTo>
                    <a:lnTo>
                      <a:pt x="2279" y="835"/>
                    </a:lnTo>
                    <a:lnTo>
                      <a:pt x="2279" y="835"/>
                    </a:lnTo>
                    <a:lnTo>
                      <a:pt x="2271" y="835"/>
                    </a:lnTo>
                    <a:lnTo>
                      <a:pt x="2263" y="832"/>
                    </a:lnTo>
                    <a:lnTo>
                      <a:pt x="2254" y="830"/>
                    </a:lnTo>
                    <a:lnTo>
                      <a:pt x="2245" y="826"/>
                    </a:lnTo>
                    <a:lnTo>
                      <a:pt x="2235" y="821"/>
                    </a:lnTo>
                    <a:lnTo>
                      <a:pt x="2224" y="814"/>
                    </a:lnTo>
                    <a:lnTo>
                      <a:pt x="2213" y="805"/>
                    </a:lnTo>
                    <a:lnTo>
                      <a:pt x="2200" y="795"/>
                    </a:lnTo>
                    <a:lnTo>
                      <a:pt x="2195" y="793"/>
                    </a:lnTo>
                    <a:lnTo>
                      <a:pt x="2192" y="789"/>
                    </a:lnTo>
                    <a:lnTo>
                      <a:pt x="2188" y="788"/>
                    </a:lnTo>
                    <a:lnTo>
                      <a:pt x="2184" y="787"/>
                    </a:lnTo>
                    <a:lnTo>
                      <a:pt x="2174" y="786"/>
                    </a:lnTo>
                    <a:lnTo>
                      <a:pt x="2163" y="786"/>
                    </a:lnTo>
                    <a:lnTo>
                      <a:pt x="2152" y="787"/>
                    </a:lnTo>
                    <a:lnTo>
                      <a:pt x="2140" y="789"/>
                    </a:lnTo>
                    <a:lnTo>
                      <a:pt x="2127" y="793"/>
                    </a:lnTo>
                    <a:lnTo>
                      <a:pt x="2115" y="797"/>
                    </a:lnTo>
                    <a:lnTo>
                      <a:pt x="2090" y="804"/>
                    </a:lnTo>
                    <a:lnTo>
                      <a:pt x="2065" y="812"/>
                    </a:lnTo>
                    <a:lnTo>
                      <a:pt x="2055" y="815"/>
                    </a:lnTo>
                    <a:lnTo>
                      <a:pt x="2044" y="817"/>
                    </a:lnTo>
                    <a:lnTo>
                      <a:pt x="2034" y="820"/>
                    </a:lnTo>
                    <a:lnTo>
                      <a:pt x="2024" y="820"/>
                    </a:lnTo>
                    <a:lnTo>
                      <a:pt x="1998" y="825"/>
                    </a:lnTo>
                    <a:lnTo>
                      <a:pt x="1973" y="830"/>
                    </a:lnTo>
                    <a:lnTo>
                      <a:pt x="1948" y="836"/>
                    </a:lnTo>
                    <a:lnTo>
                      <a:pt x="1925" y="842"/>
                    </a:lnTo>
                    <a:lnTo>
                      <a:pt x="1901" y="850"/>
                    </a:lnTo>
                    <a:lnTo>
                      <a:pt x="1877" y="857"/>
                    </a:lnTo>
                    <a:lnTo>
                      <a:pt x="1852" y="867"/>
                    </a:lnTo>
                    <a:lnTo>
                      <a:pt x="1827" y="877"/>
                    </a:lnTo>
                    <a:lnTo>
                      <a:pt x="1813" y="881"/>
                    </a:lnTo>
                    <a:lnTo>
                      <a:pt x="1800" y="884"/>
                    </a:lnTo>
                    <a:lnTo>
                      <a:pt x="1788" y="886"/>
                    </a:lnTo>
                    <a:lnTo>
                      <a:pt x="1776" y="886"/>
                    </a:lnTo>
                    <a:lnTo>
                      <a:pt x="1764" y="885"/>
                    </a:lnTo>
                    <a:lnTo>
                      <a:pt x="1753" y="884"/>
                    </a:lnTo>
                    <a:lnTo>
                      <a:pt x="1744" y="882"/>
                    </a:lnTo>
                    <a:lnTo>
                      <a:pt x="1733" y="879"/>
                    </a:lnTo>
                    <a:lnTo>
                      <a:pt x="1712" y="871"/>
                    </a:lnTo>
                    <a:lnTo>
                      <a:pt x="1690" y="865"/>
                    </a:lnTo>
                    <a:lnTo>
                      <a:pt x="1680" y="862"/>
                    </a:lnTo>
                    <a:lnTo>
                      <a:pt x="1668" y="858"/>
                    </a:lnTo>
                    <a:lnTo>
                      <a:pt x="1655" y="857"/>
                    </a:lnTo>
                    <a:lnTo>
                      <a:pt x="1642" y="856"/>
                    </a:lnTo>
                    <a:lnTo>
                      <a:pt x="1620" y="855"/>
                    </a:lnTo>
                    <a:lnTo>
                      <a:pt x="1599" y="852"/>
                    </a:lnTo>
                    <a:lnTo>
                      <a:pt x="1579" y="849"/>
                    </a:lnTo>
                    <a:lnTo>
                      <a:pt x="1558" y="843"/>
                    </a:lnTo>
                    <a:lnTo>
                      <a:pt x="1538" y="838"/>
                    </a:lnTo>
                    <a:lnTo>
                      <a:pt x="1518" y="830"/>
                    </a:lnTo>
                    <a:lnTo>
                      <a:pt x="1499" y="823"/>
                    </a:lnTo>
                    <a:lnTo>
                      <a:pt x="1478" y="814"/>
                    </a:lnTo>
                    <a:lnTo>
                      <a:pt x="1460" y="804"/>
                    </a:lnTo>
                    <a:lnTo>
                      <a:pt x="1440" y="795"/>
                    </a:lnTo>
                    <a:lnTo>
                      <a:pt x="1422" y="784"/>
                    </a:lnTo>
                    <a:lnTo>
                      <a:pt x="1404" y="773"/>
                    </a:lnTo>
                    <a:lnTo>
                      <a:pt x="1370" y="750"/>
                    </a:lnTo>
                    <a:lnTo>
                      <a:pt x="1338" y="726"/>
                    </a:lnTo>
                    <a:lnTo>
                      <a:pt x="1178" y="598"/>
                    </a:lnTo>
                    <a:lnTo>
                      <a:pt x="1163" y="586"/>
                    </a:lnTo>
                    <a:lnTo>
                      <a:pt x="1150" y="574"/>
                    </a:lnTo>
                    <a:lnTo>
                      <a:pt x="1137" y="561"/>
                    </a:lnTo>
                    <a:lnTo>
                      <a:pt x="1125" y="548"/>
                    </a:lnTo>
                    <a:lnTo>
                      <a:pt x="1102" y="524"/>
                    </a:lnTo>
                    <a:lnTo>
                      <a:pt x="1080" y="500"/>
                    </a:lnTo>
                    <a:lnTo>
                      <a:pt x="1070" y="488"/>
                    </a:lnTo>
                    <a:lnTo>
                      <a:pt x="1058" y="476"/>
                    </a:lnTo>
                    <a:lnTo>
                      <a:pt x="1046" y="465"/>
                    </a:lnTo>
                    <a:lnTo>
                      <a:pt x="1033" y="456"/>
                    </a:lnTo>
                    <a:lnTo>
                      <a:pt x="1020" y="446"/>
                    </a:lnTo>
                    <a:lnTo>
                      <a:pt x="1005" y="436"/>
                    </a:lnTo>
                    <a:lnTo>
                      <a:pt x="988" y="429"/>
                    </a:lnTo>
                    <a:lnTo>
                      <a:pt x="971" y="421"/>
                    </a:lnTo>
                    <a:lnTo>
                      <a:pt x="960" y="411"/>
                    </a:lnTo>
                    <a:lnTo>
                      <a:pt x="951" y="402"/>
                    </a:lnTo>
                    <a:lnTo>
                      <a:pt x="944" y="392"/>
                    </a:lnTo>
                    <a:lnTo>
                      <a:pt x="937" y="382"/>
                    </a:lnTo>
                    <a:lnTo>
                      <a:pt x="932" y="370"/>
                    </a:lnTo>
                    <a:lnTo>
                      <a:pt x="928" y="359"/>
                    </a:lnTo>
                    <a:lnTo>
                      <a:pt x="924" y="349"/>
                    </a:lnTo>
                    <a:lnTo>
                      <a:pt x="921" y="337"/>
                    </a:lnTo>
                    <a:lnTo>
                      <a:pt x="916" y="312"/>
                    </a:lnTo>
                    <a:lnTo>
                      <a:pt x="909" y="288"/>
                    </a:lnTo>
                    <a:lnTo>
                      <a:pt x="905" y="276"/>
                    </a:lnTo>
                    <a:lnTo>
                      <a:pt x="900" y="263"/>
                    </a:lnTo>
                    <a:lnTo>
                      <a:pt x="895" y="251"/>
                    </a:lnTo>
                    <a:lnTo>
                      <a:pt x="889" y="240"/>
                    </a:lnTo>
                    <a:lnTo>
                      <a:pt x="877" y="218"/>
                    </a:lnTo>
                    <a:lnTo>
                      <a:pt x="865" y="195"/>
                    </a:lnTo>
                    <a:lnTo>
                      <a:pt x="859" y="183"/>
                    </a:lnTo>
                    <a:lnTo>
                      <a:pt x="854" y="173"/>
                    </a:lnTo>
                    <a:lnTo>
                      <a:pt x="850" y="161"/>
                    </a:lnTo>
                    <a:lnTo>
                      <a:pt x="846" y="149"/>
                    </a:lnTo>
                    <a:lnTo>
                      <a:pt x="843" y="137"/>
                    </a:lnTo>
                    <a:lnTo>
                      <a:pt x="842" y="125"/>
                    </a:lnTo>
                    <a:lnTo>
                      <a:pt x="841" y="112"/>
                    </a:lnTo>
                    <a:lnTo>
                      <a:pt x="841" y="100"/>
                    </a:lnTo>
                    <a:lnTo>
                      <a:pt x="842" y="87"/>
                    </a:lnTo>
                    <a:lnTo>
                      <a:pt x="844" y="74"/>
                    </a:lnTo>
                    <a:lnTo>
                      <a:pt x="847" y="61"/>
                    </a:lnTo>
                    <a:lnTo>
                      <a:pt x="853" y="48"/>
                    </a:lnTo>
                    <a:lnTo>
                      <a:pt x="860" y="38"/>
                    </a:lnTo>
                    <a:lnTo>
                      <a:pt x="873" y="25"/>
                    </a:lnTo>
                    <a:lnTo>
                      <a:pt x="879" y="18"/>
                    </a:lnTo>
                    <a:lnTo>
                      <a:pt x="884" y="13"/>
                    </a:lnTo>
                    <a:lnTo>
                      <a:pt x="887" y="8"/>
                    </a:lnTo>
                    <a:lnTo>
                      <a:pt x="889" y="5"/>
                    </a:lnTo>
                    <a:lnTo>
                      <a:pt x="874" y="2"/>
                    </a:lnTo>
                    <a:lnTo>
                      <a:pt x="858" y="1"/>
                    </a:lnTo>
                    <a:lnTo>
                      <a:pt x="840" y="0"/>
                    </a:lnTo>
                    <a:lnTo>
                      <a:pt x="821" y="0"/>
                    </a:lnTo>
                    <a:lnTo>
                      <a:pt x="783" y="0"/>
                    </a:lnTo>
                    <a:lnTo>
                      <a:pt x="751" y="0"/>
                    </a:lnTo>
                    <a:lnTo>
                      <a:pt x="741" y="1"/>
                    </a:lnTo>
                    <a:lnTo>
                      <a:pt x="732" y="3"/>
                    </a:lnTo>
                    <a:lnTo>
                      <a:pt x="724" y="6"/>
                    </a:lnTo>
                    <a:lnTo>
                      <a:pt x="715" y="12"/>
                    </a:lnTo>
                    <a:lnTo>
                      <a:pt x="698" y="24"/>
                    </a:lnTo>
                    <a:lnTo>
                      <a:pt x="682" y="38"/>
                    </a:lnTo>
                    <a:lnTo>
                      <a:pt x="665" y="52"/>
                    </a:lnTo>
                    <a:lnTo>
                      <a:pt x="648" y="66"/>
                    </a:lnTo>
                    <a:lnTo>
                      <a:pt x="639" y="71"/>
                    </a:lnTo>
                    <a:lnTo>
                      <a:pt x="630" y="76"/>
                    </a:lnTo>
                    <a:lnTo>
                      <a:pt x="620" y="81"/>
                    </a:lnTo>
                    <a:lnTo>
                      <a:pt x="610" y="84"/>
                    </a:lnTo>
                    <a:lnTo>
                      <a:pt x="594" y="86"/>
                    </a:lnTo>
                    <a:lnTo>
                      <a:pt x="579" y="87"/>
                    </a:lnTo>
                    <a:lnTo>
                      <a:pt x="562" y="87"/>
                    </a:lnTo>
                    <a:lnTo>
                      <a:pt x="547" y="87"/>
                    </a:lnTo>
                    <a:lnTo>
                      <a:pt x="532" y="87"/>
                    </a:lnTo>
                    <a:lnTo>
                      <a:pt x="517" y="87"/>
                    </a:lnTo>
                    <a:lnTo>
                      <a:pt x="502" y="89"/>
                    </a:lnTo>
                    <a:lnTo>
                      <a:pt x="485" y="93"/>
                    </a:lnTo>
                    <a:lnTo>
                      <a:pt x="444" y="109"/>
                    </a:lnTo>
                    <a:lnTo>
                      <a:pt x="415" y="122"/>
                    </a:lnTo>
                    <a:lnTo>
                      <a:pt x="407" y="125"/>
                    </a:lnTo>
                    <a:lnTo>
                      <a:pt x="400" y="126"/>
                    </a:lnTo>
                    <a:lnTo>
                      <a:pt x="392" y="128"/>
                    </a:lnTo>
                    <a:lnTo>
                      <a:pt x="382" y="128"/>
                    </a:lnTo>
                    <a:lnTo>
                      <a:pt x="373" y="128"/>
                    </a:lnTo>
                    <a:lnTo>
                      <a:pt x="361" y="128"/>
                    </a:lnTo>
                    <a:lnTo>
                      <a:pt x="349" y="126"/>
                    </a:lnTo>
                    <a:lnTo>
                      <a:pt x="334" y="124"/>
                    </a:lnTo>
                    <a:lnTo>
                      <a:pt x="328" y="123"/>
                    </a:lnTo>
                    <a:lnTo>
                      <a:pt x="323" y="123"/>
                    </a:lnTo>
                    <a:lnTo>
                      <a:pt x="319" y="124"/>
                    </a:lnTo>
                    <a:lnTo>
                      <a:pt x="314" y="125"/>
                    </a:lnTo>
                    <a:lnTo>
                      <a:pt x="311" y="126"/>
                    </a:lnTo>
                    <a:lnTo>
                      <a:pt x="309" y="129"/>
                    </a:lnTo>
                    <a:lnTo>
                      <a:pt x="307" y="132"/>
                    </a:lnTo>
                    <a:lnTo>
                      <a:pt x="304" y="136"/>
                    </a:lnTo>
                    <a:lnTo>
                      <a:pt x="301" y="143"/>
                    </a:lnTo>
                    <a:lnTo>
                      <a:pt x="297" y="152"/>
                    </a:lnTo>
                    <a:lnTo>
                      <a:pt x="291" y="161"/>
                    </a:lnTo>
                    <a:lnTo>
                      <a:pt x="284" y="170"/>
                    </a:lnTo>
                    <a:lnTo>
                      <a:pt x="273" y="190"/>
                    </a:lnTo>
                    <a:lnTo>
                      <a:pt x="264" y="209"/>
                    </a:lnTo>
                    <a:lnTo>
                      <a:pt x="257" y="231"/>
                    </a:lnTo>
                    <a:lnTo>
                      <a:pt x="250" y="253"/>
                    </a:lnTo>
                    <a:lnTo>
                      <a:pt x="240" y="298"/>
                    </a:lnTo>
                    <a:lnTo>
                      <a:pt x="231" y="344"/>
                    </a:lnTo>
                    <a:lnTo>
                      <a:pt x="226" y="368"/>
                    </a:lnTo>
                    <a:lnTo>
                      <a:pt x="222" y="392"/>
                    </a:lnTo>
                    <a:lnTo>
                      <a:pt x="217" y="415"/>
                    </a:lnTo>
                    <a:lnTo>
                      <a:pt x="211" y="438"/>
                    </a:lnTo>
                    <a:lnTo>
                      <a:pt x="204" y="461"/>
                    </a:lnTo>
                    <a:lnTo>
                      <a:pt x="195" y="483"/>
                    </a:lnTo>
                    <a:lnTo>
                      <a:pt x="185" y="504"/>
                    </a:lnTo>
                    <a:lnTo>
                      <a:pt x="173" y="525"/>
                    </a:lnTo>
                    <a:lnTo>
                      <a:pt x="164" y="541"/>
                    </a:lnTo>
                    <a:lnTo>
                      <a:pt x="155" y="559"/>
                    </a:lnTo>
                    <a:lnTo>
                      <a:pt x="147" y="578"/>
                    </a:lnTo>
                    <a:lnTo>
                      <a:pt x="140" y="597"/>
                    </a:lnTo>
                    <a:lnTo>
                      <a:pt x="128" y="636"/>
                    </a:lnTo>
                    <a:lnTo>
                      <a:pt x="116" y="677"/>
                    </a:lnTo>
                    <a:lnTo>
                      <a:pt x="106" y="718"/>
                    </a:lnTo>
                    <a:lnTo>
                      <a:pt x="95" y="759"/>
                    </a:lnTo>
                    <a:lnTo>
                      <a:pt x="89" y="778"/>
                    </a:lnTo>
                    <a:lnTo>
                      <a:pt x="83" y="798"/>
                    </a:lnTo>
                    <a:lnTo>
                      <a:pt x="76" y="817"/>
                    </a:lnTo>
                    <a:lnTo>
                      <a:pt x="68" y="835"/>
                    </a:lnTo>
                    <a:lnTo>
                      <a:pt x="62" y="854"/>
                    </a:lnTo>
                    <a:lnTo>
                      <a:pt x="55" y="876"/>
                    </a:lnTo>
                    <a:lnTo>
                      <a:pt x="49" y="898"/>
                    </a:lnTo>
                    <a:lnTo>
                      <a:pt x="42" y="921"/>
                    </a:lnTo>
                    <a:lnTo>
                      <a:pt x="35" y="945"/>
                    </a:lnTo>
                    <a:lnTo>
                      <a:pt x="27" y="966"/>
                    </a:lnTo>
                    <a:lnTo>
                      <a:pt x="23" y="976"/>
                    </a:lnTo>
                    <a:lnTo>
                      <a:pt x="17" y="986"/>
                    </a:lnTo>
                    <a:lnTo>
                      <a:pt x="13" y="993"/>
                    </a:lnTo>
                    <a:lnTo>
                      <a:pt x="7" y="1001"/>
                    </a:lnTo>
                    <a:lnTo>
                      <a:pt x="6" y="1015"/>
                    </a:lnTo>
                    <a:lnTo>
                      <a:pt x="4" y="1029"/>
                    </a:lnTo>
                    <a:lnTo>
                      <a:pt x="2" y="1042"/>
                    </a:lnTo>
                    <a:lnTo>
                      <a:pt x="0" y="1056"/>
                    </a:lnTo>
                    <a:lnTo>
                      <a:pt x="0" y="1056"/>
                    </a:lnTo>
                    <a:lnTo>
                      <a:pt x="168" y="1056"/>
                    </a:lnTo>
                    <a:lnTo>
                      <a:pt x="178" y="1054"/>
                    </a:lnTo>
                    <a:lnTo>
                      <a:pt x="188" y="1054"/>
                    </a:lnTo>
                    <a:lnTo>
                      <a:pt x="199" y="1055"/>
                    </a:lnTo>
                    <a:lnTo>
                      <a:pt x="212" y="1057"/>
                    </a:lnTo>
                    <a:lnTo>
                      <a:pt x="238" y="1066"/>
                    </a:lnTo>
                    <a:lnTo>
                      <a:pt x="267" y="1078"/>
                    </a:lnTo>
                    <a:lnTo>
                      <a:pt x="297" y="1090"/>
                    </a:lnTo>
                    <a:lnTo>
                      <a:pt x="326" y="1100"/>
                    </a:lnTo>
                    <a:lnTo>
                      <a:pt x="341" y="1105"/>
                    </a:lnTo>
                    <a:lnTo>
                      <a:pt x="355" y="1108"/>
                    </a:lnTo>
                    <a:lnTo>
                      <a:pt x="371" y="1109"/>
                    </a:lnTo>
                    <a:lnTo>
                      <a:pt x="384" y="1109"/>
                    </a:lnTo>
                    <a:lnTo>
                      <a:pt x="401" y="1109"/>
                    </a:lnTo>
                    <a:lnTo>
                      <a:pt x="415" y="1110"/>
                    </a:lnTo>
                    <a:lnTo>
                      <a:pt x="427" y="1111"/>
                    </a:lnTo>
                    <a:lnTo>
                      <a:pt x="436" y="1113"/>
                    </a:lnTo>
                    <a:lnTo>
                      <a:pt x="443" y="1117"/>
                    </a:lnTo>
                    <a:lnTo>
                      <a:pt x="449" y="1121"/>
                    </a:lnTo>
                    <a:lnTo>
                      <a:pt x="452" y="1126"/>
                    </a:lnTo>
                    <a:lnTo>
                      <a:pt x="454" y="1132"/>
                    </a:lnTo>
                    <a:lnTo>
                      <a:pt x="455" y="1139"/>
                    </a:lnTo>
                    <a:lnTo>
                      <a:pt x="455" y="1148"/>
                    </a:lnTo>
                    <a:lnTo>
                      <a:pt x="454" y="1156"/>
                    </a:lnTo>
                    <a:lnTo>
                      <a:pt x="452" y="1167"/>
                    </a:lnTo>
                    <a:lnTo>
                      <a:pt x="446" y="1191"/>
                    </a:lnTo>
                    <a:lnTo>
                      <a:pt x="440" y="1219"/>
                    </a:lnTo>
                    <a:lnTo>
                      <a:pt x="439" y="1229"/>
                    </a:lnTo>
                    <a:lnTo>
                      <a:pt x="438" y="1239"/>
                    </a:lnTo>
                    <a:lnTo>
                      <a:pt x="438" y="1248"/>
                    </a:lnTo>
                    <a:lnTo>
                      <a:pt x="438" y="1257"/>
                    </a:lnTo>
                    <a:lnTo>
                      <a:pt x="440" y="1275"/>
                    </a:lnTo>
                    <a:lnTo>
                      <a:pt x="443" y="1294"/>
                    </a:lnTo>
                    <a:lnTo>
                      <a:pt x="449" y="1312"/>
                    </a:lnTo>
                    <a:lnTo>
                      <a:pt x="455" y="1329"/>
                    </a:lnTo>
                    <a:lnTo>
                      <a:pt x="463" y="1347"/>
                    </a:lnTo>
                    <a:lnTo>
                      <a:pt x="470" y="1363"/>
                    </a:lnTo>
                    <a:lnTo>
                      <a:pt x="473" y="1369"/>
                    </a:lnTo>
                    <a:lnTo>
                      <a:pt x="478" y="1375"/>
                    </a:lnTo>
                    <a:lnTo>
                      <a:pt x="482" y="1379"/>
                    </a:lnTo>
                    <a:lnTo>
                      <a:pt x="485" y="1382"/>
                    </a:lnTo>
                    <a:lnTo>
                      <a:pt x="491" y="1384"/>
                    </a:lnTo>
                    <a:lnTo>
                      <a:pt x="495" y="1387"/>
                    </a:lnTo>
                    <a:lnTo>
                      <a:pt x="501" y="1388"/>
                    </a:lnTo>
                    <a:lnTo>
                      <a:pt x="506" y="1389"/>
                    </a:lnTo>
                    <a:lnTo>
                      <a:pt x="517" y="1388"/>
                    </a:lnTo>
                    <a:lnTo>
                      <a:pt x="528" y="1385"/>
                    </a:lnTo>
                    <a:lnTo>
                      <a:pt x="541" y="1383"/>
                    </a:lnTo>
                    <a:lnTo>
                      <a:pt x="554" y="1380"/>
                    </a:lnTo>
                    <a:lnTo>
                      <a:pt x="567" y="1377"/>
                    </a:lnTo>
                    <a:lnTo>
                      <a:pt x="580" y="1375"/>
                    </a:lnTo>
                    <a:lnTo>
                      <a:pt x="594" y="1374"/>
                    </a:lnTo>
                    <a:lnTo>
                      <a:pt x="607" y="1375"/>
                    </a:lnTo>
                    <a:lnTo>
                      <a:pt x="614" y="1376"/>
                    </a:lnTo>
                    <a:lnTo>
                      <a:pt x="621" y="1378"/>
                    </a:lnTo>
                    <a:lnTo>
                      <a:pt x="627" y="1381"/>
                    </a:lnTo>
                    <a:lnTo>
                      <a:pt x="634" y="1385"/>
                    </a:lnTo>
                    <a:lnTo>
                      <a:pt x="641" y="1390"/>
                    </a:lnTo>
                    <a:lnTo>
                      <a:pt x="648" y="1395"/>
                    </a:lnTo>
                    <a:lnTo>
                      <a:pt x="654" y="1403"/>
                    </a:lnTo>
                    <a:lnTo>
                      <a:pt x="661" y="1410"/>
                    </a:lnTo>
                    <a:lnTo>
                      <a:pt x="670" y="1421"/>
                    </a:lnTo>
                    <a:lnTo>
                      <a:pt x="680" y="1431"/>
                    </a:lnTo>
                    <a:lnTo>
                      <a:pt x="691" y="1438"/>
                    </a:lnTo>
                    <a:lnTo>
                      <a:pt x="703" y="1447"/>
                    </a:lnTo>
                    <a:lnTo>
                      <a:pt x="716" y="1455"/>
                    </a:lnTo>
                    <a:lnTo>
                      <a:pt x="728" y="1463"/>
                    </a:lnTo>
                    <a:lnTo>
                      <a:pt x="739" y="1472"/>
                    </a:lnTo>
                    <a:lnTo>
                      <a:pt x="750" y="1482"/>
                    </a:lnTo>
                    <a:lnTo>
                      <a:pt x="753" y="1487"/>
                    </a:lnTo>
                    <a:lnTo>
                      <a:pt x="756" y="1498"/>
                    </a:lnTo>
                    <a:lnTo>
                      <a:pt x="761" y="1512"/>
                    </a:lnTo>
                    <a:lnTo>
                      <a:pt x="765" y="1528"/>
                    </a:lnTo>
                    <a:lnTo>
                      <a:pt x="772" y="1557"/>
                    </a:lnTo>
                    <a:lnTo>
                      <a:pt x="774" y="1571"/>
                    </a:lnTo>
                    <a:lnTo>
                      <a:pt x="779" y="1572"/>
                    </a:lnTo>
                    <a:lnTo>
                      <a:pt x="783" y="1574"/>
                    </a:lnTo>
                    <a:lnTo>
                      <a:pt x="789" y="1578"/>
                    </a:lnTo>
                    <a:lnTo>
                      <a:pt x="794" y="1581"/>
                    </a:lnTo>
                    <a:lnTo>
                      <a:pt x="805" y="1590"/>
                    </a:lnTo>
                    <a:lnTo>
                      <a:pt x="816" y="1600"/>
                    </a:lnTo>
                    <a:lnTo>
                      <a:pt x="828" y="1610"/>
                    </a:lnTo>
                    <a:lnTo>
                      <a:pt x="840" y="1619"/>
                    </a:lnTo>
                    <a:lnTo>
                      <a:pt x="846" y="1623"/>
                    </a:lnTo>
                    <a:lnTo>
                      <a:pt x="853" y="1626"/>
                    </a:lnTo>
                    <a:lnTo>
                      <a:pt x="859" y="1628"/>
                    </a:lnTo>
                    <a:lnTo>
                      <a:pt x="866" y="1630"/>
                    </a:lnTo>
                    <a:lnTo>
                      <a:pt x="866" y="1630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07" name="Freeform 22">
                <a:extLst>
                  <a:ext uri="{FF2B5EF4-FFF2-40B4-BE49-F238E27FC236}">
                    <a16:creationId xmlns:a16="http://schemas.microsoft.com/office/drawing/2014/main" id="{27A0F0F4-9055-4EEB-B156-96830E1E71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25301" y="-1266420"/>
                <a:ext cx="906463" cy="646113"/>
              </a:xfrm>
              <a:custGeom>
                <a:avLst/>
                <a:gdLst>
                  <a:gd name="T0" fmla="*/ 1012 w 2284"/>
                  <a:gd name="T1" fmla="*/ 1447 h 1630"/>
                  <a:gd name="T2" fmla="*/ 1020 w 2284"/>
                  <a:gd name="T3" fmla="*/ 1306 h 1630"/>
                  <a:gd name="T4" fmla="*/ 1071 w 2284"/>
                  <a:gd name="T5" fmla="*/ 1295 h 1630"/>
                  <a:gd name="T6" fmla="*/ 1197 w 2284"/>
                  <a:gd name="T7" fmla="*/ 1285 h 1630"/>
                  <a:gd name="T8" fmla="*/ 1338 w 2284"/>
                  <a:gd name="T9" fmla="*/ 1232 h 1630"/>
                  <a:gd name="T10" fmla="*/ 1360 w 2284"/>
                  <a:gd name="T11" fmla="*/ 1248 h 1630"/>
                  <a:gd name="T12" fmla="*/ 1402 w 2284"/>
                  <a:gd name="T13" fmla="*/ 1339 h 1630"/>
                  <a:gd name="T14" fmla="*/ 1493 w 2284"/>
                  <a:gd name="T15" fmla="*/ 1394 h 1630"/>
                  <a:gd name="T16" fmla="*/ 1610 w 2284"/>
                  <a:gd name="T17" fmla="*/ 1419 h 1630"/>
                  <a:gd name="T18" fmla="*/ 1721 w 2284"/>
                  <a:gd name="T19" fmla="*/ 1407 h 1630"/>
                  <a:gd name="T20" fmla="*/ 1812 w 2284"/>
                  <a:gd name="T21" fmla="*/ 1328 h 1630"/>
                  <a:gd name="T22" fmla="*/ 1865 w 2284"/>
                  <a:gd name="T23" fmla="*/ 1295 h 1630"/>
                  <a:gd name="T24" fmla="*/ 1939 w 2284"/>
                  <a:gd name="T25" fmla="*/ 1350 h 1630"/>
                  <a:gd name="T26" fmla="*/ 2016 w 2284"/>
                  <a:gd name="T27" fmla="*/ 1299 h 1630"/>
                  <a:gd name="T28" fmla="*/ 2207 w 2284"/>
                  <a:gd name="T29" fmla="*/ 1217 h 1630"/>
                  <a:gd name="T30" fmla="*/ 2254 w 2284"/>
                  <a:gd name="T31" fmla="*/ 830 h 1630"/>
                  <a:gd name="T32" fmla="*/ 2192 w 2284"/>
                  <a:gd name="T33" fmla="*/ 789 h 1630"/>
                  <a:gd name="T34" fmla="*/ 2127 w 2284"/>
                  <a:gd name="T35" fmla="*/ 793 h 1630"/>
                  <a:gd name="T36" fmla="*/ 2024 w 2284"/>
                  <a:gd name="T37" fmla="*/ 820 h 1630"/>
                  <a:gd name="T38" fmla="*/ 1852 w 2284"/>
                  <a:gd name="T39" fmla="*/ 867 h 1630"/>
                  <a:gd name="T40" fmla="*/ 1753 w 2284"/>
                  <a:gd name="T41" fmla="*/ 884 h 1630"/>
                  <a:gd name="T42" fmla="*/ 1655 w 2284"/>
                  <a:gd name="T43" fmla="*/ 857 h 1630"/>
                  <a:gd name="T44" fmla="*/ 1518 w 2284"/>
                  <a:gd name="T45" fmla="*/ 830 h 1630"/>
                  <a:gd name="T46" fmla="*/ 1370 w 2284"/>
                  <a:gd name="T47" fmla="*/ 750 h 1630"/>
                  <a:gd name="T48" fmla="*/ 1102 w 2284"/>
                  <a:gd name="T49" fmla="*/ 524 h 1630"/>
                  <a:gd name="T50" fmla="*/ 1005 w 2284"/>
                  <a:gd name="T51" fmla="*/ 436 h 1630"/>
                  <a:gd name="T52" fmla="*/ 932 w 2284"/>
                  <a:gd name="T53" fmla="*/ 370 h 1630"/>
                  <a:gd name="T54" fmla="*/ 900 w 2284"/>
                  <a:gd name="T55" fmla="*/ 263 h 1630"/>
                  <a:gd name="T56" fmla="*/ 850 w 2284"/>
                  <a:gd name="T57" fmla="*/ 161 h 1630"/>
                  <a:gd name="T58" fmla="*/ 844 w 2284"/>
                  <a:gd name="T59" fmla="*/ 74 h 1630"/>
                  <a:gd name="T60" fmla="*/ 887 w 2284"/>
                  <a:gd name="T61" fmla="*/ 8 h 1630"/>
                  <a:gd name="T62" fmla="*/ 751 w 2284"/>
                  <a:gd name="T63" fmla="*/ 0 h 1630"/>
                  <a:gd name="T64" fmla="*/ 665 w 2284"/>
                  <a:gd name="T65" fmla="*/ 52 h 1630"/>
                  <a:gd name="T66" fmla="*/ 579 w 2284"/>
                  <a:gd name="T67" fmla="*/ 87 h 1630"/>
                  <a:gd name="T68" fmla="*/ 444 w 2284"/>
                  <a:gd name="T69" fmla="*/ 109 h 1630"/>
                  <a:gd name="T70" fmla="*/ 361 w 2284"/>
                  <a:gd name="T71" fmla="*/ 128 h 1630"/>
                  <a:gd name="T72" fmla="*/ 311 w 2284"/>
                  <a:gd name="T73" fmla="*/ 126 h 1630"/>
                  <a:gd name="T74" fmla="*/ 284 w 2284"/>
                  <a:gd name="T75" fmla="*/ 170 h 1630"/>
                  <a:gd name="T76" fmla="*/ 226 w 2284"/>
                  <a:gd name="T77" fmla="*/ 368 h 1630"/>
                  <a:gd name="T78" fmla="*/ 173 w 2284"/>
                  <a:gd name="T79" fmla="*/ 525 h 1630"/>
                  <a:gd name="T80" fmla="*/ 106 w 2284"/>
                  <a:gd name="T81" fmla="*/ 718 h 1630"/>
                  <a:gd name="T82" fmla="*/ 55 w 2284"/>
                  <a:gd name="T83" fmla="*/ 876 h 1630"/>
                  <a:gd name="T84" fmla="*/ 13 w 2284"/>
                  <a:gd name="T85" fmla="*/ 993 h 1630"/>
                  <a:gd name="T86" fmla="*/ 168 w 2284"/>
                  <a:gd name="T87" fmla="*/ 1056 h 1630"/>
                  <a:gd name="T88" fmla="*/ 297 w 2284"/>
                  <a:gd name="T89" fmla="*/ 1090 h 1630"/>
                  <a:gd name="T90" fmla="*/ 415 w 2284"/>
                  <a:gd name="T91" fmla="*/ 1110 h 1630"/>
                  <a:gd name="T92" fmla="*/ 455 w 2284"/>
                  <a:gd name="T93" fmla="*/ 1139 h 1630"/>
                  <a:gd name="T94" fmla="*/ 438 w 2284"/>
                  <a:gd name="T95" fmla="*/ 1239 h 1630"/>
                  <a:gd name="T96" fmla="*/ 463 w 2284"/>
                  <a:gd name="T97" fmla="*/ 1347 h 1630"/>
                  <a:gd name="T98" fmla="*/ 495 w 2284"/>
                  <a:gd name="T99" fmla="*/ 1387 h 1630"/>
                  <a:gd name="T100" fmla="*/ 567 w 2284"/>
                  <a:gd name="T101" fmla="*/ 1377 h 1630"/>
                  <a:gd name="T102" fmla="*/ 634 w 2284"/>
                  <a:gd name="T103" fmla="*/ 1385 h 1630"/>
                  <a:gd name="T104" fmla="*/ 691 w 2284"/>
                  <a:gd name="T105" fmla="*/ 1438 h 1630"/>
                  <a:gd name="T106" fmla="*/ 756 w 2284"/>
                  <a:gd name="T107" fmla="*/ 1498 h 1630"/>
                  <a:gd name="T108" fmla="*/ 789 w 2284"/>
                  <a:gd name="T109" fmla="*/ 1578 h 1630"/>
                  <a:gd name="T110" fmla="*/ 853 w 2284"/>
                  <a:gd name="T111" fmla="*/ 1626 h 1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284" h="1630">
                    <a:moveTo>
                      <a:pt x="866" y="1630"/>
                    </a:moveTo>
                    <a:lnTo>
                      <a:pt x="987" y="1570"/>
                    </a:lnTo>
                    <a:lnTo>
                      <a:pt x="994" y="1549"/>
                    </a:lnTo>
                    <a:lnTo>
                      <a:pt x="999" y="1525"/>
                    </a:lnTo>
                    <a:lnTo>
                      <a:pt x="1005" y="1500"/>
                    </a:lnTo>
                    <a:lnTo>
                      <a:pt x="1009" y="1474"/>
                    </a:lnTo>
                    <a:lnTo>
                      <a:pt x="1012" y="1447"/>
                    </a:lnTo>
                    <a:lnTo>
                      <a:pt x="1014" y="1422"/>
                    </a:lnTo>
                    <a:lnTo>
                      <a:pt x="1015" y="1396"/>
                    </a:lnTo>
                    <a:lnTo>
                      <a:pt x="1016" y="1374"/>
                    </a:lnTo>
                    <a:lnTo>
                      <a:pt x="1016" y="1343"/>
                    </a:lnTo>
                    <a:lnTo>
                      <a:pt x="1018" y="1321"/>
                    </a:lnTo>
                    <a:lnTo>
                      <a:pt x="1019" y="1313"/>
                    </a:lnTo>
                    <a:lnTo>
                      <a:pt x="1020" y="1306"/>
                    </a:lnTo>
                    <a:lnTo>
                      <a:pt x="1022" y="1301"/>
                    </a:lnTo>
                    <a:lnTo>
                      <a:pt x="1025" y="1297"/>
                    </a:lnTo>
                    <a:lnTo>
                      <a:pt x="1029" y="1295"/>
                    </a:lnTo>
                    <a:lnTo>
                      <a:pt x="1035" y="1293"/>
                    </a:lnTo>
                    <a:lnTo>
                      <a:pt x="1041" y="1293"/>
                    </a:lnTo>
                    <a:lnTo>
                      <a:pt x="1050" y="1293"/>
                    </a:lnTo>
                    <a:lnTo>
                      <a:pt x="1071" y="1295"/>
                    </a:lnTo>
                    <a:lnTo>
                      <a:pt x="1099" y="1299"/>
                    </a:lnTo>
                    <a:lnTo>
                      <a:pt x="1109" y="1300"/>
                    </a:lnTo>
                    <a:lnTo>
                      <a:pt x="1119" y="1300"/>
                    </a:lnTo>
                    <a:lnTo>
                      <a:pt x="1131" y="1300"/>
                    </a:lnTo>
                    <a:lnTo>
                      <a:pt x="1144" y="1298"/>
                    </a:lnTo>
                    <a:lnTo>
                      <a:pt x="1170" y="1293"/>
                    </a:lnTo>
                    <a:lnTo>
                      <a:pt x="1197" y="1285"/>
                    </a:lnTo>
                    <a:lnTo>
                      <a:pt x="1224" y="1277"/>
                    </a:lnTo>
                    <a:lnTo>
                      <a:pt x="1249" y="1268"/>
                    </a:lnTo>
                    <a:lnTo>
                      <a:pt x="1273" y="1259"/>
                    </a:lnTo>
                    <a:lnTo>
                      <a:pt x="1293" y="1250"/>
                    </a:lnTo>
                    <a:lnTo>
                      <a:pt x="1316" y="1241"/>
                    </a:lnTo>
                    <a:lnTo>
                      <a:pt x="1332" y="1234"/>
                    </a:lnTo>
                    <a:lnTo>
                      <a:pt x="1338" y="1232"/>
                    </a:lnTo>
                    <a:lnTo>
                      <a:pt x="1344" y="1231"/>
                    </a:lnTo>
                    <a:lnTo>
                      <a:pt x="1348" y="1231"/>
                    </a:lnTo>
                    <a:lnTo>
                      <a:pt x="1351" y="1232"/>
                    </a:lnTo>
                    <a:lnTo>
                      <a:pt x="1353" y="1234"/>
                    </a:lnTo>
                    <a:lnTo>
                      <a:pt x="1357" y="1237"/>
                    </a:lnTo>
                    <a:lnTo>
                      <a:pt x="1358" y="1242"/>
                    </a:lnTo>
                    <a:lnTo>
                      <a:pt x="1360" y="1248"/>
                    </a:lnTo>
                    <a:lnTo>
                      <a:pt x="1364" y="1263"/>
                    </a:lnTo>
                    <a:lnTo>
                      <a:pt x="1369" y="1285"/>
                    </a:lnTo>
                    <a:lnTo>
                      <a:pt x="1373" y="1297"/>
                    </a:lnTo>
                    <a:lnTo>
                      <a:pt x="1378" y="1308"/>
                    </a:lnTo>
                    <a:lnTo>
                      <a:pt x="1385" y="1318"/>
                    </a:lnTo>
                    <a:lnTo>
                      <a:pt x="1392" y="1329"/>
                    </a:lnTo>
                    <a:lnTo>
                      <a:pt x="1402" y="1339"/>
                    </a:lnTo>
                    <a:lnTo>
                      <a:pt x="1412" y="1349"/>
                    </a:lnTo>
                    <a:lnTo>
                      <a:pt x="1424" y="1357"/>
                    </a:lnTo>
                    <a:lnTo>
                      <a:pt x="1436" y="1366"/>
                    </a:lnTo>
                    <a:lnTo>
                      <a:pt x="1450" y="1374"/>
                    </a:lnTo>
                    <a:lnTo>
                      <a:pt x="1464" y="1381"/>
                    </a:lnTo>
                    <a:lnTo>
                      <a:pt x="1478" y="1388"/>
                    </a:lnTo>
                    <a:lnTo>
                      <a:pt x="1493" y="1394"/>
                    </a:lnTo>
                    <a:lnTo>
                      <a:pt x="1510" y="1399"/>
                    </a:lnTo>
                    <a:lnTo>
                      <a:pt x="1526" y="1405"/>
                    </a:lnTo>
                    <a:lnTo>
                      <a:pt x="1542" y="1409"/>
                    </a:lnTo>
                    <a:lnTo>
                      <a:pt x="1559" y="1412"/>
                    </a:lnTo>
                    <a:lnTo>
                      <a:pt x="1577" y="1416"/>
                    </a:lnTo>
                    <a:lnTo>
                      <a:pt x="1593" y="1418"/>
                    </a:lnTo>
                    <a:lnTo>
                      <a:pt x="1610" y="1419"/>
                    </a:lnTo>
                    <a:lnTo>
                      <a:pt x="1627" y="1420"/>
                    </a:lnTo>
                    <a:lnTo>
                      <a:pt x="1644" y="1420"/>
                    </a:lnTo>
                    <a:lnTo>
                      <a:pt x="1660" y="1419"/>
                    </a:lnTo>
                    <a:lnTo>
                      <a:pt x="1676" y="1417"/>
                    </a:lnTo>
                    <a:lnTo>
                      <a:pt x="1692" y="1415"/>
                    </a:lnTo>
                    <a:lnTo>
                      <a:pt x="1706" y="1411"/>
                    </a:lnTo>
                    <a:lnTo>
                      <a:pt x="1721" y="1407"/>
                    </a:lnTo>
                    <a:lnTo>
                      <a:pt x="1734" y="1403"/>
                    </a:lnTo>
                    <a:lnTo>
                      <a:pt x="1746" y="1396"/>
                    </a:lnTo>
                    <a:lnTo>
                      <a:pt x="1758" y="1390"/>
                    </a:lnTo>
                    <a:lnTo>
                      <a:pt x="1769" y="1382"/>
                    </a:lnTo>
                    <a:lnTo>
                      <a:pt x="1777" y="1374"/>
                    </a:lnTo>
                    <a:lnTo>
                      <a:pt x="1786" y="1364"/>
                    </a:lnTo>
                    <a:lnTo>
                      <a:pt x="1812" y="1328"/>
                    </a:lnTo>
                    <a:lnTo>
                      <a:pt x="1830" y="1304"/>
                    </a:lnTo>
                    <a:lnTo>
                      <a:pt x="1837" y="1298"/>
                    </a:lnTo>
                    <a:lnTo>
                      <a:pt x="1842" y="1293"/>
                    </a:lnTo>
                    <a:lnTo>
                      <a:pt x="1848" y="1290"/>
                    </a:lnTo>
                    <a:lnTo>
                      <a:pt x="1853" y="1289"/>
                    </a:lnTo>
                    <a:lnTo>
                      <a:pt x="1858" y="1291"/>
                    </a:lnTo>
                    <a:lnTo>
                      <a:pt x="1865" y="1295"/>
                    </a:lnTo>
                    <a:lnTo>
                      <a:pt x="1871" y="1300"/>
                    </a:lnTo>
                    <a:lnTo>
                      <a:pt x="1880" y="1308"/>
                    </a:lnTo>
                    <a:lnTo>
                      <a:pt x="1890" y="1316"/>
                    </a:lnTo>
                    <a:lnTo>
                      <a:pt x="1903" y="1326"/>
                    </a:lnTo>
                    <a:lnTo>
                      <a:pt x="1918" y="1337"/>
                    </a:lnTo>
                    <a:lnTo>
                      <a:pt x="1935" y="1349"/>
                    </a:lnTo>
                    <a:lnTo>
                      <a:pt x="1939" y="1350"/>
                    </a:lnTo>
                    <a:lnTo>
                      <a:pt x="1941" y="1350"/>
                    </a:lnTo>
                    <a:lnTo>
                      <a:pt x="1945" y="1349"/>
                    </a:lnTo>
                    <a:lnTo>
                      <a:pt x="1948" y="1348"/>
                    </a:lnTo>
                    <a:lnTo>
                      <a:pt x="1957" y="1344"/>
                    </a:lnTo>
                    <a:lnTo>
                      <a:pt x="1967" y="1338"/>
                    </a:lnTo>
                    <a:lnTo>
                      <a:pt x="1990" y="1321"/>
                    </a:lnTo>
                    <a:lnTo>
                      <a:pt x="2016" y="1299"/>
                    </a:lnTo>
                    <a:lnTo>
                      <a:pt x="2041" y="1276"/>
                    </a:lnTo>
                    <a:lnTo>
                      <a:pt x="2065" y="1254"/>
                    </a:lnTo>
                    <a:lnTo>
                      <a:pt x="2076" y="1244"/>
                    </a:lnTo>
                    <a:lnTo>
                      <a:pt x="2087" y="1236"/>
                    </a:lnTo>
                    <a:lnTo>
                      <a:pt x="2096" y="1229"/>
                    </a:lnTo>
                    <a:lnTo>
                      <a:pt x="2104" y="1225"/>
                    </a:lnTo>
                    <a:lnTo>
                      <a:pt x="2207" y="1217"/>
                    </a:lnTo>
                    <a:lnTo>
                      <a:pt x="2284" y="1147"/>
                    </a:lnTo>
                    <a:lnTo>
                      <a:pt x="2284" y="1147"/>
                    </a:lnTo>
                    <a:lnTo>
                      <a:pt x="2279" y="835"/>
                    </a:lnTo>
                    <a:lnTo>
                      <a:pt x="2279" y="835"/>
                    </a:lnTo>
                    <a:lnTo>
                      <a:pt x="2271" y="835"/>
                    </a:lnTo>
                    <a:lnTo>
                      <a:pt x="2263" y="832"/>
                    </a:lnTo>
                    <a:lnTo>
                      <a:pt x="2254" y="830"/>
                    </a:lnTo>
                    <a:lnTo>
                      <a:pt x="2245" y="826"/>
                    </a:lnTo>
                    <a:lnTo>
                      <a:pt x="2235" y="821"/>
                    </a:lnTo>
                    <a:lnTo>
                      <a:pt x="2224" y="814"/>
                    </a:lnTo>
                    <a:lnTo>
                      <a:pt x="2213" y="805"/>
                    </a:lnTo>
                    <a:lnTo>
                      <a:pt x="2200" y="795"/>
                    </a:lnTo>
                    <a:lnTo>
                      <a:pt x="2195" y="793"/>
                    </a:lnTo>
                    <a:lnTo>
                      <a:pt x="2192" y="789"/>
                    </a:lnTo>
                    <a:lnTo>
                      <a:pt x="2188" y="788"/>
                    </a:lnTo>
                    <a:lnTo>
                      <a:pt x="2184" y="787"/>
                    </a:lnTo>
                    <a:lnTo>
                      <a:pt x="2174" y="786"/>
                    </a:lnTo>
                    <a:lnTo>
                      <a:pt x="2163" y="786"/>
                    </a:lnTo>
                    <a:lnTo>
                      <a:pt x="2152" y="787"/>
                    </a:lnTo>
                    <a:lnTo>
                      <a:pt x="2140" y="789"/>
                    </a:lnTo>
                    <a:lnTo>
                      <a:pt x="2127" y="793"/>
                    </a:lnTo>
                    <a:lnTo>
                      <a:pt x="2115" y="797"/>
                    </a:lnTo>
                    <a:lnTo>
                      <a:pt x="2090" y="804"/>
                    </a:lnTo>
                    <a:lnTo>
                      <a:pt x="2065" y="812"/>
                    </a:lnTo>
                    <a:lnTo>
                      <a:pt x="2055" y="815"/>
                    </a:lnTo>
                    <a:lnTo>
                      <a:pt x="2044" y="817"/>
                    </a:lnTo>
                    <a:lnTo>
                      <a:pt x="2034" y="820"/>
                    </a:lnTo>
                    <a:lnTo>
                      <a:pt x="2024" y="820"/>
                    </a:lnTo>
                    <a:lnTo>
                      <a:pt x="1998" y="825"/>
                    </a:lnTo>
                    <a:lnTo>
                      <a:pt x="1973" y="830"/>
                    </a:lnTo>
                    <a:lnTo>
                      <a:pt x="1948" y="836"/>
                    </a:lnTo>
                    <a:lnTo>
                      <a:pt x="1925" y="842"/>
                    </a:lnTo>
                    <a:lnTo>
                      <a:pt x="1901" y="850"/>
                    </a:lnTo>
                    <a:lnTo>
                      <a:pt x="1877" y="857"/>
                    </a:lnTo>
                    <a:lnTo>
                      <a:pt x="1852" y="867"/>
                    </a:lnTo>
                    <a:lnTo>
                      <a:pt x="1827" y="877"/>
                    </a:lnTo>
                    <a:lnTo>
                      <a:pt x="1813" y="881"/>
                    </a:lnTo>
                    <a:lnTo>
                      <a:pt x="1800" y="884"/>
                    </a:lnTo>
                    <a:lnTo>
                      <a:pt x="1788" y="886"/>
                    </a:lnTo>
                    <a:lnTo>
                      <a:pt x="1776" y="886"/>
                    </a:lnTo>
                    <a:lnTo>
                      <a:pt x="1764" y="885"/>
                    </a:lnTo>
                    <a:lnTo>
                      <a:pt x="1753" y="884"/>
                    </a:lnTo>
                    <a:lnTo>
                      <a:pt x="1744" y="882"/>
                    </a:lnTo>
                    <a:lnTo>
                      <a:pt x="1733" y="879"/>
                    </a:lnTo>
                    <a:lnTo>
                      <a:pt x="1712" y="871"/>
                    </a:lnTo>
                    <a:lnTo>
                      <a:pt x="1690" y="865"/>
                    </a:lnTo>
                    <a:lnTo>
                      <a:pt x="1680" y="862"/>
                    </a:lnTo>
                    <a:lnTo>
                      <a:pt x="1668" y="858"/>
                    </a:lnTo>
                    <a:lnTo>
                      <a:pt x="1655" y="857"/>
                    </a:lnTo>
                    <a:lnTo>
                      <a:pt x="1642" y="856"/>
                    </a:lnTo>
                    <a:lnTo>
                      <a:pt x="1620" y="855"/>
                    </a:lnTo>
                    <a:lnTo>
                      <a:pt x="1599" y="852"/>
                    </a:lnTo>
                    <a:lnTo>
                      <a:pt x="1579" y="849"/>
                    </a:lnTo>
                    <a:lnTo>
                      <a:pt x="1558" y="843"/>
                    </a:lnTo>
                    <a:lnTo>
                      <a:pt x="1538" y="838"/>
                    </a:lnTo>
                    <a:lnTo>
                      <a:pt x="1518" y="830"/>
                    </a:lnTo>
                    <a:lnTo>
                      <a:pt x="1499" y="823"/>
                    </a:lnTo>
                    <a:lnTo>
                      <a:pt x="1478" y="814"/>
                    </a:lnTo>
                    <a:lnTo>
                      <a:pt x="1460" y="804"/>
                    </a:lnTo>
                    <a:lnTo>
                      <a:pt x="1440" y="795"/>
                    </a:lnTo>
                    <a:lnTo>
                      <a:pt x="1422" y="784"/>
                    </a:lnTo>
                    <a:lnTo>
                      <a:pt x="1404" y="773"/>
                    </a:lnTo>
                    <a:lnTo>
                      <a:pt x="1370" y="750"/>
                    </a:lnTo>
                    <a:lnTo>
                      <a:pt x="1338" y="726"/>
                    </a:lnTo>
                    <a:lnTo>
                      <a:pt x="1178" y="598"/>
                    </a:lnTo>
                    <a:lnTo>
                      <a:pt x="1163" y="586"/>
                    </a:lnTo>
                    <a:lnTo>
                      <a:pt x="1150" y="574"/>
                    </a:lnTo>
                    <a:lnTo>
                      <a:pt x="1137" y="561"/>
                    </a:lnTo>
                    <a:lnTo>
                      <a:pt x="1125" y="548"/>
                    </a:lnTo>
                    <a:lnTo>
                      <a:pt x="1102" y="524"/>
                    </a:lnTo>
                    <a:lnTo>
                      <a:pt x="1080" y="500"/>
                    </a:lnTo>
                    <a:lnTo>
                      <a:pt x="1070" y="488"/>
                    </a:lnTo>
                    <a:lnTo>
                      <a:pt x="1058" y="476"/>
                    </a:lnTo>
                    <a:lnTo>
                      <a:pt x="1046" y="465"/>
                    </a:lnTo>
                    <a:lnTo>
                      <a:pt x="1033" y="456"/>
                    </a:lnTo>
                    <a:lnTo>
                      <a:pt x="1020" y="446"/>
                    </a:lnTo>
                    <a:lnTo>
                      <a:pt x="1005" y="436"/>
                    </a:lnTo>
                    <a:lnTo>
                      <a:pt x="988" y="429"/>
                    </a:lnTo>
                    <a:lnTo>
                      <a:pt x="971" y="421"/>
                    </a:lnTo>
                    <a:lnTo>
                      <a:pt x="960" y="411"/>
                    </a:lnTo>
                    <a:lnTo>
                      <a:pt x="951" y="402"/>
                    </a:lnTo>
                    <a:lnTo>
                      <a:pt x="944" y="392"/>
                    </a:lnTo>
                    <a:lnTo>
                      <a:pt x="937" y="382"/>
                    </a:lnTo>
                    <a:lnTo>
                      <a:pt x="932" y="370"/>
                    </a:lnTo>
                    <a:lnTo>
                      <a:pt x="928" y="359"/>
                    </a:lnTo>
                    <a:lnTo>
                      <a:pt x="924" y="349"/>
                    </a:lnTo>
                    <a:lnTo>
                      <a:pt x="921" y="337"/>
                    </a:lnTo>
                    <a:lnTo>
                      <a:pt x="916" y="312"/>
                    </a:lnTo>
                    <a:lnTo>
                      <a:pt x="909" y="288"/>
                    </a:lnTo>
                    <a:lnTo>
                      <a:pt x="905" y="276"/>
                    </a:lnTo>
                    <a:lnTo>
                      <a:pt x="900" y="263"/>
                    </a:lnTo>
                    <a:lnTo>
                      <a:pt x="895" y="251"/>
                    </a:lnTo>
                    <a:lnTo>
                      <a:pt x="889" y="240"/>
                    </a:lnTo>
                    <a:lnTo>
                      <a:pt x="877" y="218"/>
                    </a:lnTo>
                    <a:lnTo>
                      <a:pt x="865" y="195"/>
                    </a:lnTo>
                    <a:lnTo>
                      <a:pt x="859" y="183"/>
                    </a:lnTo>
                    <a:lnTo>
                      <a:pt x="854" y="173"/>
                    </a:lnTo>
                    <a:lnTo>
                      <a:pt x="850" y="161"/>
                    </a:lnTo>
                    <a:lnTo>
                      <a:pt x="846" y="149"/>
                    </a:lnTo>
                    <a:lnTo>
                      <a:pt x="843" y="137"/>
                    </a:lnTo>
                    <a:lnTo>
                      <a:pt x="842" y="125"/>
                    </a:lnTo>
                    <a:lnTo>
                      <a:pt x="841" y="112"/>
                    </a:lnTo>
                    <a:lnTo>
                      <a:pt x="841" y="100"/>
                    </a:lnTo>
                    <a:lnTo>
                      <a:pt x="842" y="87"/>
                    </a:lnTo>
                    <a:lnTo>
                      <a:pt x="844" y="74"/>
                    </a:lnTo>
                    <a:lnTo>
                      <a:pt x="847" y="61"/>
                    </a:lnTo>
                    <a:lnTo>
                      <a:pt x="853" y="48"/>
                    </a:lnTo>
                    <a:lnTo>
                      <a:pt x="860" y="38"/>
                    </a:lnTo>
                    <a:lnTo>
                      <a:pt x="873" y="25"/>
                    </a:lnTo>
                    <a:lnTo>
                      <a:pt x="879" y="18"/>
                    </a:lnTo>
                    <a:lnTo>
                      <a:pt x="884" y="13"/>
                    </a:lnTo>
                    <a:lnTo>
                      <a:pt x="887" y="8"/>
                    </a:lnTo>
                    <a:lnTo>
                      <a:pt x="889" y="5"/>
                    </a:lnTo>
                    <a:lnTo>
                      <a:pt x="874" y="2"/>
                    </a:lnTo>
                    <a:lnTo>
                      <a:pt x="858" y="1"/>
                    </a:lnTo>
                    <a:lnTo>
                      <a:pt x="840" y="0"/>
                    </a:lnTo>
                    <a:lnTo>
                      <a:pt x="821" y="0"/>
                    </a:lnTo>
                    <a:lnTo>
                      <a:pt x="783" y="0"/>
                    </a:lnTo>
                    <a:lnTo>
                      <a:pt x="751" y="0"/>
                    </a:lnTo>
                    <a:lnTo>
                      <a:pt x="741" y="1"/>
                    </a:lnTo>
                    <a:lnTo>
                      <a:pt x="732" y="3"/>
                    </a:lnTo>
                    <a:lnTo>
                      <a:pt x="724" y="6"/>
                    </a:lnTo>
                    <a:lnTo>
                      <a:pt x="715" y="12"/>
                    </a:lnTo>
                    <a:lnTo>
                      <a:pt x="698" y="24"/>
                    </a:lnTo>
                    <a:lnTo>
                      <a:pt x="682" y="38"/>
                    </a:lnTo>
                    <a:lnTo>
                      <a:pt x="665" y="52"/>
                    </a:lnTo>
                    <a:lnTo>
                      <a:pt x="648" y="66"/>
                    </a:lnTo>
                    <a:lnTo>
                      <a:pt x="639" y="71"/>
                    </a:lnTo>
                    <a:lnTo>
                      <a:pt x="630" y="76"/>
                    </a:lnTo>
                    <a:lnTo>
                      <a:pt x="620" y="81"/>
                    </a:lnTo>
                    <a:lnTo>
                      <a:pt x="610" y="84"/>
                    </a:lnTo>
                    <a:lnTo>
                      <a:pt x="594" y="86"/>
                    </a:lnTo>
                    <a:lnTo>
                      <a:pt x="579" y="87"/>
                    </a:lnTo>
                    <a:lnTo>
                      <a:pt x="562" y="87"/>
                    </a:lnTo>
                    <a:lnTo>
                      <a:pt x="547" y="87"/>
                    </a:lnTo>
                    <a:lnTo>
                      <a:pt x="532" y="87"/>
                    </a:lnTo>
                    <a:lnTo>
                      <a:pt x="517" y="87"/>
                    </a:lnTo>
                    <a:lnTo>
                      <a:pt x="502" y="89"/>
                    </a:lnTo>
                    <a:lnTo>
                      <a:pt x="485" y="93"/>
                    </a:lnTo>
                    <a:lnTo>
                      <a:pt x="444" y="109"/>
                    </a:lnTo>
                    <a:lnTo>
                      <a:pt x="415" y="122"/>
                    </a:lnTo>
                    <a:lnTo>
                      <a:pt x="407" y="125"/>
                    </a:lnTo>
                    <a:lnTo>
                      <a:pt x="400" y="126"/>
                    </a:lnTo>
                    <a:lnTo>
                      <a:pt x="392" y="128"/>
                    </a:lnTo>
                    <a:lnTo>
                      <a:pt x="382" y="128"/>
                    </a:lnTo>
                    <a:lnTo>
                      <a:pt x="373" y="128"/>
                    </a:lnTo>
                    <a:lnTo>
                      <a:pt x="361" y="128"/>
                    </a:lnTo>
                    <a:lnTo>
                      <a:pt x="349" y="126"/>
                    </a:lnTo>
                    <a:lnTo>
                      <a:pt x="334" y="124"/>
                    </a:lnTo>
                    <a:lnTo>
                      <a:pt x="328" y="123"/>
                    </a:lnTo>
                    <a:lnTo>
                      <a:pt x="323" y="123"/>
                    </a:lnTo>
                    <a:lnTo>
                      <a:pt x="319" y="124"/>
                    </a:lnTo>
                    <a:lnTo>
                      <a:pt x="314" y="125"/>
                    </a:lnTo>
                    <a:lnTo>
                      <a:pt x="311" y="126"/>
                    </a:lnTo>
                    <a:lnTo>
                      <a:pt x="309" y="129"/>
                    </a:lnTo>
                    <a:lnTo>
                      <a:pt x="307" y="132"/>
                    </a:lnTo>
                    <a:lnTo>
                      <a:pt x="304" y="136"/>
                    </a:lnTo>
                    <a:lnTo>
                      <a:pt x="301" y="143"/>
                    </a:lnTo>
                    <a:lnTo>
                      <a:pt x="297" y="152"/>
                    </a:lnTo>
                    <a:lnTo>
                      <a:pt x="291" y="161"/>
                    </a:lnTo>
                    <a:lnTo>
                      <a:pt x="284" y="170"/>
                    </a:lnTo>
                    <a:lnTo>
                      <a:pt x="273" y="190"/>
                    </a:lnTo>
                    <a:lnTo>
                      <a:pt x="264" y="209"/>
                    </a:lnTo>
                    <a:lnTo>
                      <a:pt x="257" y="231"/>
                    </a:lnTo>
                    <a:lnTo>
                      <a:pt x="250" y="253"/>
                    </a:lnTo>
                    <a:lnTo>
                      <a:pt x="240" y="298"/>
                    </a:lnTo>
                    <a:lnTo>
                      <a:pt x="231" y="344"/>
                    </a:lnTo>
                    <a:lnTo>
                      <a:pt x="226" y="368"/>
                    </a:lnTo>
                    <a:lnTo>
                      <a:pt x="222" y="392"/>
                    </a:lnTo>
                    <a:lnTo>
                      <a:pt x="217" y="415"/>
                    </a:lnTo>
                    <a:lnTo>
                      <a:pt x="211" y="438"/>
                    </a:lnTo>
                    <a:lnTo>
                      <a:pt x="204" y="461"/>
                    </a:lnTo>
                    <a:lnTo>
                      <a:pt x="195" y="483"/>
                    </a:lnTo>
                    <a:lnTo>
                      <a:pt x="185" y="504"/>
                    </a:lnTo>
                    <a:lnTo>
                      <a:pt x="173" y="525"/>
                    </a:lnTo>
                    <a:lnTo>
                      <a:pt x="164" y="541"/>
                    </a:lnTo>
                    <a:lnTo>
                      <a:pt x="155" y="559"/>
                    </a:lnTo>
                    <a:lnTo>
                      <a:pt x="147" y="578"/>
                    </a:lnTo>
                    <a:lnTo>
                      <a:pt x="140" y="597"/>
                    </a:lnTo>
                    <a:lnTo>
                      <a:pt x="128" y="636"/>
                    </a:lnTo>
                    <a:lnTo>
                      <a:pt x="116" y="677"/>
                    </a:lnTo>
                    <a:lnTo>
                      <a:pt x="106" y="718"/>
                    </a:lnTo>
                    <a:lnTo>
                      <a:pt x="95" y="759"/>
                    </a:lnTo>
                    <a:lnTo>
                      <a:pt x="89" y="778"/>
                    </a:lnTo>
                    <a:lnTo>
                      <a:pt x="83" y="798"/>
                    </a:lnTo>
                    <a:lnTo>
                      <a:pt x="76" y="817"/>
                    </a:lnTo>
                    <a:lnTo>
                      <a:pt x="68" y="835"/>
                    </a:lnTo>
                    <a:lnTo>
                      <a:pt x="62" y="854"/>
                    </a:lnTo>
                    <a:lnTo>
                      <a:pt x="55" y="876"/>
                    </a:lnTo>
                    <a:lnTo>
                      <a:pt x="49" y="898"/>
                    </a:lnTo>
                    <a:lnTo>
                      <a:pt x="42" y="921"/>
                    </a:lnTo>
                    <a:lnTo>
                      <a:pt x="35" y="945"/>
                    </a:lnTo>
                    <a:lnTo>
                      <a:pt x="27" y="966"/>
                    </a:lnTo>
                    <a:lnTo>
                      <a:pt x="23" y="976"/>
                    </a:lnTo>
                    <a:lnTo>
                      <a:pt x="17" y="986"/>
                    </a:lnTo>
                    <a:lnTo>
                      <a:pt x="13" y="993"/>
                    </a:lnTo>
                    <a:lnTo>
                      <a:pt x="7" y="1001"/>
                    </a:lnTo>
                    <a:lnTo>
                      <a:pt x="6" y="1015"/>
                    </a:lnTo>
                    <a:lnTo>
                      <a:pt x="4" y="1029"/>
                    </a:lnTo>
                    <a:lnTo>
                      <a:pt x="2" y="1042"/>
                    </a:lnTo>
                    <a:lnTo>
                      <a:pt x="0" y="1056"/>
                    </a:lnTo>
                    <a:lnTo>
                      <a:pt x="0" y="1056"/>
                    </a:lnTo>
                    <a:lnTo>
                      <a:pt x="168" y="1056"/>
                    </a:lnTo>
                    <a:lnTo>
                      <a:pt x="178" y="1054"/>
                    </a:lnTo>
                    <a:lnTo>
                      <a:pt x="188" y="1054"/>
                    </a:lnTo>
                    <a:lnTo>
                      <a:pt x="199" y="1055"/>
                    </a:lnTo>
                    <a:lnTo>
                      <a:pt x="212" y="1057"/>
                    </a:lnTo>
                    <a:lnTo>
                      <a:pt x="238" y="1066"/>
                    </a:lnTo>
                    <a:lnTo>
                      <a:pt x="267" y="1078"/>
                    </a:lnTo>
                    <a:lnTo>
                      <a:pt x="297" y="1090"/>
                    </a:lnTo>
                    <a:lnTo>
                      <a:pt x="326" y="1100"/>
                    </a:lnTo>
                    <a:lnTo>
                      <a:pt x="341" y="1105"/>
                    </a:lnTo>
                    <a:lnTo>
                      <a:pt x="355" y="1108"/>
                    </a:lnTo>
                    <a:lnTo>
                      <a:pt x="371" y="1109"/>
                    </a:lnTo>
                    <a:lnTo>
                      <a:pt x="384" y="1109"/>
                    </a:lnTo>
                    <a:lnTo>
                      <a:pt x="401" y="1109"/>
                    </a:lnTo>
                    <a:lnTo>
                      <a:pt x="415" y="1110"/>
                    </a:lnTo>
                    <a:lnTo>
                      <a:pt x="427" y="1111"/>
                    </a:lnTo>
                    <a:lnTo>
                      <a:pt x="436" y="1113"/>
                    </a:lnTo>
                    <a:lnTo>
                      <a:pt x="443" y="1117"/>
                    </a:lnTo>
                    <a:lnTo>
                      <a:pt x="449" y="1121"/>
                    </a:lnTo>
                    <a:lnTo>
                      <a:pt x="452" y="1126"/>
                    </a:lnTo>
                    <a:lnTo>
                      <a:pt x="454" y="1132"/>
                    </a:lnTo>
                    <a:lnTo>
                      <a:pt x="455" y="1139"/>
                    </a:lnTo>
                    <a:lnTo>
                      <a:pt x="455" y="1148"/>
                    </a:lnTo>
                    <a:lnTo>
                      <a:pt x="454" y="1156"/>
                    </a:lnTo>
                    <a:lnTo>
                      <a:pt x="452" y="1167"/>
                    </a:lnTo>
                    <a:lnTo>
                      <a:pt x="446" y="1191"/>
                    </a:lnTo>
                    <a:lnTo>
                      <a:pt x="440" y="1219"/>
                    </a:lnTo>
                    <a:lnTo>
                      <a:pt x="439" y="1229"/>
                    </a:lnTo>
                    <a:lnTo>
                      <a:pt x="438" y="1239"/>
                    </a:lnTo>
                    <a:lnTo>
                      <a:pt x="438" y="1248"/>
                    </a:lnTo>
                    <a:lnTo>
                      <a:pt x="438" y="1257"/>
                    </a:lnTo>
                    <a:lnTo>
                      <a:pt x="440" y="1275"/>
                    </a:lnTo>
                    <a:lnTo>
                      <a:pt x="443" y="1294"/>
                    </a:lnTo>
                    <a:lnTo>
                      <a:pt x="449" y="1312"/>
                    </a:lnTo>
                    <a:lnTo>
                      <a:pt x="455" y="1329"/>
                    </a:lnTo>
                    <a:lnTo>
                      <a:pt x="463" y="1347"/>
                    </a:lnTo>
                    <a:lnTo>
                      <a:pt x="470" y="1363"/>
                    </a:lnTo>
                    <a:lnTo>
                      <a:pt x="473" y="1369"/>
                    </a:lnTo>
                    <a:lnTo>
                      <a:pt x="478" y="1375"/>
                    </a:lnTo>
                    <a:lnTo>
                      <a:pt x="482" y="1379"/>
                    </a:lnTo>
                    <a:lnTo>
                      <a:pt x="485" y="1382"/>
                    </a:lnTo>
                    <a:lnTo>
                      <a:pt x="491" y="1384"/>
                    </a:lnTo>
                    <a:lnTo>
                      <a:pt x="495" y="1387"/>
                    </a:lnTo>
                    <a:lnTo>
                      <a:pt x="501" y="1388"/>
                    </a:lnTo>
                    <a:lnTo>
                      <a:pt x="506" y="1389"/>
                    </a:lnTo>
                    <a:lnTo>
                      <a:pt x="517" y="1388"/>
                    </a:lnTo>
                    <a:lnTo>
                      <a:pt x="528" y="1385"/>
                    </a:lnTo>
                    <a:lnTo>
                      <a:pt x="541" y="1383"/>
                    </a:lnTo>
                    <a:lnTo>
                      <a:pt x="554" y="1380"/>
                    </a:lnTo>
                    <a:lnTo>
                      <a:pt x="567" y="1377"/>
                    </a:lnTo>
                    <a:lnTo>
                      <a:pt x="580" y="1375"/>
                    </a:lnTo>
                    <a:lnTo>
                      <a:pt x="594" y="1374"/>
                    </a:lnTo>
                    <a:lnTo>
                      <a:pt x="607" y="1375"/>
                    </a:lnTo>
                    <a:lnTo>
                      <a:pt x="614" y="1376"/>
                    </a:lnTo>
                    <a:lnTo>
                      <a:pt x="621" y="1378"/>
                    </a:lnTo>
                    <a:lnTo>
                      <a:pt x="627" y="1381"/>
                    </a:lnTo>
                    <a:lnTo>
                      <a:pt x="634" y="1385"/>
                    </a:lnTo>
                    <a:lnTo>
                      <a:pt x="641" y="1390"/>
                    </a:lnTo>
                    <a:lnTo>
                      <a:pt x="648" y="1395"/>
                    </a:lnTo>
                    <a:lnTo>
                      <a:pt x="654" y="1403"/>
                    </a:lnTo>
                    <a:lnTo>
                      <a:pt x="661" y="1410"/>
                    </a:lnTo>
                    <a:lnTo>
                      <a:pt x="670" y="1421"/>
                    </a:lnTo>
                    <a:lnTo>
                      <a:pt x="680" y="1431"/>
                    </a:lnTo>
                    <a:lnTo>
                      <a:pt x="691" y="1438"/>
                    </a:lnTo>
                    <a:lnTo>
                      <a:pt x="703" y="1447"/>
                    </a:lnTo>
                    <a:lnTo>
                      <a:pt x="716" y="1455"/>
                    </a:lnTo>
                    <a:lnTo>
                      <a:pt x="728" y="1463"/>
                    </a:lnTo>
                    <a:lnTo>
                      <a:pt x="739" y="1472"/>
                    </a:lnTo>
                    <a:lnTo>
                      <a:pt x="750" y="1482"/>
                    </a:lnTo>
                    <a:lnTo>
                      <a:pt x="753" y="1487"/>
                    </a:lnTo>
                    <a:lnTo>
                      <a:pt x="756" y="1498"/>
                    </a:lnTo>
                    <a:lnTo>
                      <a:pt x="761" y="1512"/>
                    </a:lnTo>
                    <a:lnTo>
                      <a:pt x="765" y="1528"/>
                    </a:lnTo>
                    <a:lnTo>
                      <a:pt x="772" y="1557"/>
                    </a:lnTo>
                    <a:lnTo>
                      <a:pt x="774" y="1571"/>
                    </a:lnTo>
                    <a:lnTo>
                      <a:pt x="779" y="1572"/>
                    </a:lnTo>
                    <a:lnTo>
                      <a:pt x="783" y="1574"/>
                    </a:lnTo>
                    <a:lnTo>
                      <a:pt x="789" y="1578"/>
                    </a:lnTo>
                    <a:lnTo>
                      <a:pt x="794" y="1581"/>
                    </a:lnTo>
                    <a:lnTo>
                      <a:pt x="805" y="1590"/>
                    </a:lnTo>
                    <a:lnTo>
                      <a:pt x="816" y="1600"/>
                    </a:lnTo>
                    <a:lnTo>
                      <a:pt x="828" y="1610"/>
                    </a:lnTo>
                    <a:lnTo>
                      <a:pt x="840" y="1619"/>
                    </a:lnTo>
                    <a:lnTo>
                      <a:pt x="846" y="1623"/>
                    </a:lnTo>
                    <a:lnTo>
                      <a:pt x="853" y="1626"/>
                    </a:lnTo>
                    <a:lnTo>
                      <a:pt x="859" y="1628"/>
                    </a:lnTo>
                    <a:lnTo>
                      <a:pt x="866" y="1630"/>
                    </a:lnTo>
                    <a:lnTo>
                      <a:pt x="866" y="1630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08" name="Freeform 23">
                <a:extLst>
                  <a:ext uri="{FF2B5EF4-FFF2-40B4-BE49-F238E27FC236}">
                    <a16:creationId xmlns:a16="http://schemas.microsoft.com/office/drawing/2014/main" id="{75235789-B8C5-4CD1-91FA-CA72496322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90338" y="-848908"/>
                <a:ext cx="679449" cy="828676"/>
              </a:xfrm>
              <a:custGeom>
                <a:avLst/>
                <a:gdLst>
                  <a:gd name="T0" fmla="*/ 91 w 1709"/>
                  <a:gd name="T1" fmla="*/ 1533 h 2088"/>
                  <a:gd name="T2" fmla="*/ 118 w 1709"/>
                  <a:gd name="T3" fmla="*/ 1590 h 2088"/>
                  <a:gd name="T4" fmla="*/ 204 w 1709"/>
                  <a:gd name="T5" fmla="*/ 1569 h 2088"/>
                  <a:gd name="T6" fmla="*/ 310 w 1709"/>
                  <a:gd name="T7" fmla="*/ 1633 h 2088"/>
                  <a:gd name="T8" fmla="*/ 349 w 1709"/>
                  <a:gd name="T9" fmla="*/ 1672 h 2088"/>
                  <a:gd name="T10" fmla="*/ 290 w 1709"/>
                  <a:gd name="T11" fmla="*/ 1716 h 2088"/>
                  <a:gd name="T12" fmla="*/ 322 w 1709"/>
                  <a:gd name="T13" fmla="*/ 1772 h 2088"/>
                  <a:gd name="T14" fmla="*/ 305 w 1709"/>
                  <a:gd name="T15" fmla="*/ 1838 h 2088"/>
                  <a:gd name="T16" fmla="*/ 273 w 1709"/>
                  <a:gd name="T17" fmla="*/ 1930 h 2088"/>
                  <a:gd name="T18" fmla="*/ 421 w 1709"/>
                  <a:gd name="T19" fmla="*/ 1999 h 2088"/>
                  <a:gd name="T20" fmla="*/ 550 w 1709"/>
                  <a:gd name="T21" fmla="*/ 2083 h 2088"/>
                  <a:gd name="T22" fmla="*/ 699 w 1709"/>
                  <a:gd name="T23" fmla="*/ 1992 h 2088"/>
                  <a:gd name="T24" fmla="*/ 709 w 1709"/>
                  <a:gd name="T25" fmla="*/ 1943 h 2088"/>
                  <a:gd name="T26" fmla="*/ 662 w 1709"/>
                  <a:gd name="T27" fmla="*/ 1892 h 2088"/>
                  <a:gd name="T28" fmla="*/ 730 w 1709"/>
                  <a:gd name="T29" fmla="*/ 1758 h 2088"/>
                  <a:gd name="T30" fmla="*/ 784 w 1709"/>
                  <a:gd name="T31" fmla="*/ 1730 h 2088"/>
                  <a:gd name="T32" fmla="*/ 864 w 1709"/>
                  <a:gd name="T33" fmla="*/ 1789 h 2088"/>
                  <a:gd name="T34" fmla="*/ 891 w 1709"/>
                  <a:gd name="T35" fmla="*/ 1855 h 2088"/>
                  <a:gd name="T36" fmla="*/ 957 w 1709"/>
                  <a:gd name="T37" fmla="*/ 1903 h 2088"/>
                  <a:gd name="T38" fmla="*/ 1022 w 1709"/>
                  <a:gd name="T39" fmla="*/ 1927 h 2088"/>
                  <a:gd name="T40" fmla="*/ 1210 w 1709"/>
                  <a:gd name="T41" fmla="*/ 1906 h 2088"/>
                  <a:gd name="T42" fmla="*/ 1231 w 1709"/>
                  <a:gd name="T43" fmla="*/ 1859 h 2088"/>
                  <a:gd name="T44" fmla="*/ 1210 w 1709"/>
                  <a:gd name="T45" fmla="*/ 1749 h 2088"/>
                  <a:gd name="T46" fmla="*/ 1276 w 1709"/>
                  <a:gd name="T47" fmla="*/ 1619 h 2088"/>
                  <a:gd name="T48" fmla="*/ 1279 w 1709"/>
                  <a:gd name="T49" fmla="*/ 1488 h 2088"/>
                  <a:gd name="T50" fmla="*/ 1344 w 1709"/>
                  <a:gd name="T51" fmla="*/ 1353 h 2088"/>
                  <a:gd name="T52" fmla="*/ 1287 w 1709"/>
                  <a:gd name="T53" fmla="*/ 1315 h 2088"/>
                  <a:gd name="T54" fmla="*/ 1269 w 1709"/>
                  <a:gd name="T55" fmla="*/ 1271 h 2088"/>
                  <a:gd name="T56" fmla="*/ 1331 w 1709"/>
                  <a:gd name="T57" fmla="*/ 1198 h 2088"/>
                  <a:gd name="T58" fmla="*/ 1298 w 1709"/>
                  <a:gd name="T59" fmla="*/ 1149 h 2088"/>
                  <a:gd name="T60" fmla="*/ 1199 w 1709"/>
                  <a:gd name="T61" fmla="*/ 1059 h 2088"/>
                  <a:gd name="T62" fmla="*/ 1158 w 1709"/>
                  <a:gd name="T63" fmla="*/ 993 h 2088"/>
                  <a:gd name="T64" fmla="*/ 1232 w 1709"/>
                  <a:gd name="T65" fmla="*/ 881 h 2088"/>
                  <a:gd name="T66" fmla="*/ 1343 w 1709"/>
                  <a:gd name="T67" fmla="*/ 903 h 2088"/>
                  <a:gd name="T68" fmla="*/ 1346 w 1709"/>
                  <a:gd name="T69" fmla="*/ 973 h 2088"/>
                  <a:gd name="T70" fmla="*/ 1364 w 1709"/>
                  <a:gd name="T71" fmla="*/ 1017 h 2088"/>
                  <a:gd name="T72" fmla="*/ 1469 w 1709"/>
                  <a:gd name="T73" fmla="*/ 1016 h 2088"/>
                  <a:gd name="T74" fmla="*/ 1557 w 1709"/>
                  <a:gd name="T75" fmla="*/ 966 h 2088"/>
                  <a:gd name="T76" fmla="*/ 1589 w 1709"/>
                  <a:gd name="T77" fmla="*/ 881 h 2088"/>
                  <a:gd name="T78" fmla="*/ 1522 w 1709"/>
                  <a:gd name="T79" fmla="*/ 758 h 2088"/>
                  <a:gd name="T80" fmla="*/ 1521 w 1709"/>
                  <a:gd name="T81" fmla="*/ 706 h 2088"/>
                  <a:gd name="T82" fmla="*/ 1635 w 1709"/>
                  <a:gd name="T83" fmla="*/ 663 h 2088"/>
                  <a:gd name="T84" fmla="*/ 1708 w 1709"/>
                  <a:gd name="T85" fmla="*/ 587 h 2088"/>
                  <a:gd name="T86" fmla="*/ 1648 w 1709"/>
                  <a:gd name="T87" fmla="*/ 536 h 2088"/>
                  <a:gd name="T88" fmla="*/ 1599 w 1709"/>
                  <a:gd name="T89" fmla="*/ 444 h 2088"/>
                  <a:gd name="T90" fmla="*/ 1513 w 1709"/>
                  <a:gd name="T91" fmla="*/ 367 h 2088"/>
                  <a:gd name="T92" fmla="*/ 1450 w 1709"/>
                  <a:gd name="T93" fmla="*/ 321 h 2088"/>
                  <a:gd name="T94" fmla="*/ 1344 w 1709"/>
                  <a:gd name="T95" fmla="*/ 334 h 2088"/>
                  <a:gd name="T96" fmla="*/ 1298 w 1709"/>
                  <a:gd name="T97" fmla="*/ 275 h 2088"/>
                  <a:gd name="T98" fmla="*/ 1289 w 1709"/>
                  <a:gd name="T99" fmla="*/ 137 h 2088"/>
                  <a:gd name="T100" fmla="*/ 1279 w 1709"/>
                  <a:gd name="T101" fmla="*/ 59 h 2088"/>
                  <a:gd name="T102" fmla="*/ 1140 w 1709"/>
                  <a:gd name="T103" fmla="*/ 36 h 2088"/>
                  <a:gd name="T104" fmla="*/ 843 w 1709"/>
                  <a:gd name="T105" fmla="*/ 2 h 2088"/>
                  <a:gd name="T106" fmla="*/ 744 w 1709"/>
                  <a:gd name="T107" fmla="*/ 257 h 2088"/>
                  <a:gd name="T108" fmla="*/ 560 w 1709"/>
                  <a:gd name="T109" fmla="*/ 606 h 2088"/>
                  <a:gd name="T110" fmla="*/ 431 w 1709"/>
                  <a:gd name="T111" fmla="*/ 822 h 2088"/>
                  <a:gd name="T112" fmla="*/ 314 w 1709"/>
                  <a:gd name="T113" fmla="*/ 1036 h 2088"/>
                  <a:gd name="T114" fmla="*/ 128 w 1709"/>
                  <a:gd name="T115" fmla="*/ 1261 h 20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09" h="2088">
                    <a:moveTo>
                      <a:pt x="0" y="1340"/>
                    </a:moveTo>
                    <a:lnTo>
                      <a:pt x="63" y="1368"/>
                    </a:lnTo>
                    <a:lnTo>
                      <a:pt x="70" y="1388"/>
                    </a:lnTo>
                    <a:lnTo>
                      <a:pt x="76" y="1409"/>
                    </a:lnTo>
                    <a:lnTo>
                      <a:pt x="81" y="1434"/>
                    </a:lnTo>
                    <a:lnTo>
                      <a:pt x="84" y="1459"/>
                    </a:lnTo>
                    <a:lnTo>
                      <a:pt x="88" y="1485"/>
                    </a:lnTo>
                    <a:lnTo>
                      <a:pt x="90" y="1510"/>
                    </a:lnTo>
                    <a:lnTo>
                      <a:pt x="91" y="1533"/>
                    </a:lnTo>
                    <a:lnTo>
                      <a:pt x="92" y="1554"/>
                    </a:lnTo>
                    <a:lnTo>
                      <a:pt x="92" y="1567"/>
                    </a:lnTo>
                    <a:lnTo>
                      <a:pt x="95" y="1576"/>
                    </a:lnTo>
                    <a:lnTo>
                      <a:pt x="96" y="1579"/>
                    </a:lnTo>
                    <a:lnTo>
                      <a:pt x="98" y="1582"/>
                    </a:lnTo>
                    <a:lnTo>
                      <a:pt x="102" y="1585"/>
                    </a:lnTo>
                    <a:lnTo>
                      <a:pt x="104" y="1586"/>
                    </a:lnTo>
                    <a:lnTo>
                      <a:pt x="110" y="1590"/>
                    </a:lnTo>
                    <a:lnTo>
                      <a:pt x="118" y="1590"/>
                    </a:lnTo>
                    <a:lnTo>
                      <a:pt x="126" y="1590"/>
                    </a:lnTo>
                    <a:lnTo>
                      <a:pt x="134" y="1587"/>
                    </a:lnTo>
                    <a:lnTo>
                      <a:pt x="153" y="1582"/>
                    </a:lnTo>
                    <a:lnTo>
                      <a:pt x="170" y="1575"/>
                    </a:lnTo>
                    <a:lnTo>
                      <a:pt x="179" y="1572"/>
                    </a:lnTo>
                    <a:lnTo>
                      <a:pt x="186" y="1570"/>
                    </a:lnTo>
                    <a:lnTo>
                      <a:pt x="193" y="1568"/>
                    </a:lnTo>
                    <a:lnTo>
                      <a:pt x="198" y="1568"/>
                    </a:lnTo>
                    <a:lnTo>
                      <a:pt x="204" y="1569"/>
                    </a:lnTo>
                    <a:lnTo>
                      <a:pt x="207" y="1571"/>
                    </a:lnTo>
                    <a:lnTo>
                      <a:pt x="209" y="1576"/>
                    </a:lnTo>
                    <a:lnTo>
                      <a:pt x="211" y="1580"/>
                    </a:lnTo>
                    <a:lnTo>
                      <a:pt x="213" y="1590"/>
                    </a:lnTo>
                    <a:lnTo>
                      <a:pt x="217" y="1598"/>
                    </a:lnTo>
                    <a:lnTo>
                      <a:pt x="226" y="1604"/>
                    </a:lnTo>
                    <a:lnTo>
                      <a:pt x="249" y="1611"/>
                    </a:lnTo>
                    <a:lnTo>
                      <a:pt x="279" y="1621"/>
                    </a:lnTo>
                    <a:lnTo>
                      <a:pt x="310" y="1633"/>
                    </a:lnTo>
                    <a:lnTo>
                      <a:pt x="324" y="1638"/>
                    </a:lnTo>
                    <a:lnTo>
                      <a:pt x="336" y="1645"/>
                    </a:lnTo>
                    <a:lnTo>
                      <a:pt x="345" y="1651"/>
                    </a:lnTo>
                    <a:lnTo>
                      <a:pt x="352" y="1657"/>
                    </a:lnTo>
                    <a:lnTo>
                      <a:pt x="353" y="1660"/>
                    </a:lnTo>
                    <a:lnTo>
                      <a:pt x="354" y="1663"/>
                    </a:lnTo>
                    <a:lnTo>
                      <a:pt x="353" y="1666"/>
                    </a:lnTo>
                    <a:lnTo>
                      <a:pt x="352" y="1668"/>
                    </a:lnTo>
                    <a:lnTo>
                      <a:pt x="349" y="1672"/>
                    </a:lnTo>
                    <a:lnTo>
                      <a:pt x="344" y="1675"/>
                    </a:lnTo>
                    <a:lnTo>
                      <a:pt x="338" y="1677"/>
                    </a:lnTo>
                    <a:lnTo>
                      <a:pt x="330" y="1680"/>
                    </a:lnTo>
                    <a:lnTo>
                      <a:pt x="321" y="1685"/>
                    </a:lnTo>
                    <a:lnTo>
                      <a:pt x="310" y="1690"/>
                    </a:lnTo>
                    <a:lnTo>
                      <a:pt x="301" y="1698"/>
                    </a:lnTo>
                    <a:lnTo>
                      <a:pt x="295" y="1706"/>
                    </a:lnTo>
                    <a:lnTo>
                      <a:pt x="291" y="1711"/>
                    </a:lnTo>
                    <a:lnTo>
                      <a:pt x="290" y="1716"/>
                    </a:lnTo>
                    <a:lnTo>
                      <a:pt x="289" y="1720"/>
                    </a:lnTo>
                    <a:lnTo>
                      <a:pt x="288" y="1726"/>
                    </a:lnTo>
                    <a:lnTo>
                      <a:pt x="289" y="1730"/>
                    </a:lnTo>
                    <a:lnTo>
                      <a:pt x="291" y="1735"/>
                    </a:lnTo>
                    <a:lnTo>
                      <a:pt x="295" y="1741"/>
                    </a:lnTo>
                    <a:lnTo>
                      <a:pt x="299" y="1745"/>
                    </a:lnTo>
                    <a:lnTo>
                      <a:pt x="309" y="1756"/>
                    </a:lnTo>
                    <a:lnTo>
                      <a:pt x="317" y="1765"/>
                    </a:lnTo>
                    <a:lnTo>
                      <a:pt x="322" y="1772"/>
                    </a:lnTo>
                    <a:lnTo>
                      <a:pt x="325" y="1779"/>
                    </a:lnTo>
                    <a:lnTo>
                      <a:pt x="325" y="1785"/>
                    </a:lnTo>
                    <a:lnTo>
                      <a:pt x="323" y="1794"/>
                    </a:lnTo>
                    <a:lnTo>
                      <a:pt x="317" y="1805"/>
                    </a:lnTo>
                    <a:lnTo>
                      <a:pt x="311" y="1819"/>
                    </a:lnTo>
                    <a:lnTo>
                      <a:pt x="311" y="1824"/>
                    </a:lnTo>
                    <a:lnTo>
                      <a:pt x="310" y="1829"/>
                    </a:lnTo>
                    <a:lnTo>
                      <a:pt x="309" y="1834"/>
                    </a:lnTo>
                    <a:lnTo>
                      <a:pt x="305" y="1838"/>
                    </a:lnTo>
                    <a:lnTo>
                      <a:pt x="300" y="1848"/>
                    </a:lnTo>
                    <a:lnTo>
                      <a:pt x="293" y="1857"/>
                    </a:lnTo>
                    <a:lnTo>
                      <a:pt x="289" y="1866"/>
                    </a:lnTo>
                    <a:lnTo>
                      <a:pt x="286" y="1874"/>
                    </a:lnTo>
                    <a:lnTo>
                      <a:pt x="283" y="1881"/>
                    </a:lnTo>
                    <a:lnTo>
                      <a:pt x="282" y="1890"/>
                    </a:lnTo>
                    <a:lnTo>
                      <a:pt x="278" y="1905"/>
                    </a:lnTo>
                    <a:lnTo>
                      <a:pt x="274" y="1922"/>
                    </a:lnTo>
                    <a:lnTo>
                      <a:pt x="273" y="1930"/>
                    </a:lnTo>
                    <a:lnTo>
                      <a:pt x="273" y="1937"/>
                    </a:lnTo>
                    <a:lnTo>
                      <a:pt x="273" y="1946"/>
                    </a:lnTo>
                    <a:lnTo>
                      <a:pt x="273" y="1955"/>
                    </a:lnTo>
                    <a:lnTo>
                      <a:pt x="274" y="1962"/>
                    </a:lnTo>
                    <a:lnTo>
                      <a:pt x="274" y="1971"/>
                    </a:lnTo>
                    <a:lnTo>
                      <a:pt x="274" y="1978"/>
                    </a:lnTo>
                    <a:lnTo>
                      <a:pt x="273" y="1985"/>
                    </a:lnTo>
                    <a:lnTo>
                      <a:pt x="273" y="1985"/>
                    </a:lnTo>
                    <a:lnTo>
                      <a:pt x="421" y="1999"/>
                    </a:lnTo>
                    <a:lnTo>
                      <a:pt x="428" y="2001"/>
                    </a:lnTo>
                    <a:lnTo>
                      <a:pt x="435" y="2005"/>
                    </a:lnTo>
                    <a:lnTo>
                      <a:pt x="445" y="2012"/>
                    </a:lnTo>
                    <a:lnTo>
                      <a:pt x="455" y="2018"/>
                    </a:lnTo>
                    <a:lnTo>
                      <a:pt x="477" y="2034"/>
                    </a:lnTo>
                    <a:lnTo>
                      <a:pt x="500" y="2051"/>
                    </a:lnTo>
                    <a:lnTo>
                      <a:pt x="522" y="2066"/>
                    </a:lnTo>
                    <a:lnTo>
                      <a:pt x="542" y="2079"/>
                    </a:lnTo>
                    <a:lnTo>
                      <a:pt x="550" y="2083"/>
                    </a:lnTo>
                    <a:lnTo>
                      <a:pt x="557" y="2086"/>
                    </a:lnTo>
                    <a:lnTo>
                      <a:pt x="563" y="2088"/>
                    </a:lnTo>
                    <a:lnTo>
                      <a:pt x="567" y="2086"/>
                    </a:lnTo>
                    <a:lnTo>
                      <a:pt x="584" y="2075"/>
                    </a:lnTo>
                    <a:lnTo>
                      <a:pt x="604" y="2059"/>
                    </a:lnTo>
                    <a:lnTo>
                      <a:pt x="628" y="2043"/>
                    </a:lnTo>
                    <a:lnTo>
                      <a:pt x="652" y="2025"/>
                    </a:lnTo>
                    <a:lnTo>
                      <a:pt x="676" y="2008"/>
                    </a:lnTo>
                    <a:lnTo>
                      <a:pt x="699" y="1992"/>
                    </a:lnTo>
                    <a:lnTo>
                      <a:pt x="710" y="1987"/>
                    </a:lnTo>
                    <a:lnTo>
                      <a:pt x="720" y="1982"/>
                    </a:lnTo>
                    <a:lnTo>
                      <a:pt x="729" y="1977"/>
                    </a:lnTo>
                    <a:lnTo>
                      <a:pt x="737" y="1975"/>
                    </a:lnTo>
                    <a:lnTo>
                      <a:pt x="737" y="1968"/>
                    </a:lnTo>
                    <a:lnTo>
                      <a:pt x="733" y="1961"/>
                    </a:lnTo>
                    <a:lnTo>
                      <a:pt x="729" y="1956"/>
                    </a:lnTo>
                    <a:lnTo>
                      <a:pt x="723" y="1950"/>
                    </a:lnTo>
                    <a:lnTo>
                      <a:pt x="709" y="1943"/>
                    </a:lnTo>
                    <a:lnTo>
                      <a:pt x="693" y="1935"/>
                    </a:lnTo>
                    <a:lnTo>
                      <a:pt x="686" y="1932"/>
                    </a:lnTo>
                    <a:lnTo>
                      <a:pt x="678" y="1928"/>
                    </a:lnTo>
                    <a:lnTo>
                      <a:pt x="672" y="1923"/>
                    </a:lnTo>
                    <a:lnTo>
                      <a:pt x="666" y="1919"/>
                    </a:lnTo>
                    <a:lnTo>
                      <a:pt x="663" y="1914"/>
                    </a:lnTo>
                    <a:lnTo>
                      <a:pt x="661" y="1907"/>
                    </a:lnTo>
                    <a:lnTo>
                      <a:pt x="661" y="1901"/>
                    </a:lnTo>
                    <a:lnTo>
                      <a:pt x="662" y="1892"/>
                    </a:lnTo>
                    <a:lnTo>
                      <a:pt x="670" y="1876"/>
                    </a:lnTo>
                    <a:lnTo>
                      <a:pt x="677" y="1860"/>
                    </a:lnTo>
                    <a:lnTo>
                      <a:pt x="687" y="1845"/>
                    </a:lnTo>
                    <a:lnTo>
                      <a:pt x="697" y="1829"/>
                    </a:lnTo>
                    <a:lnTo>
                      <a:pt x="705" y="1814"/>
                    </a:lnTo>
                    <a:lnTo>
                      <a:pt x="714" y="1798"/>
                    </a:lnTo>
                    <a:lnTo>
                      <a:pt x="722" y="1782"/>
                    </a:lnTo>
                    <a:lnTo>
                      <a:pt x="728" y="1766"/>
                    </a:lnTo>
                    <a:lnTo>
                      <a:pt x="730" y="1758"/>
                    </a:lnTo>
                    <a:lnTo>
                      <a:pt x="733" y="1752"/>
                    </a:lnTo>
                    <a:lnTo>
                      <a:pt x="737" y="1746"/>
                    </a:lnTo>
                    <a:lnTo>
                      <a:pt x="741" y="1742"/>
                    </a:lnTo>
                    <a:lnTo>
                      <a:pt x="745" y="1738"/>
                    </a:lnTo>
                    <a:lnTo>
                      <a:pt x="750" y="1734"/>
                    </a:lnTo>
                    <a:lnTo>
                      <a:pt x="755" y="1732"/>
                    </a:lnTo>
                    <a:lnTo>
                      <a:pt x="761" y="1731"/>
                    </a:lnTo>
                    <a:lnTo>
                      <a:pt x="771" y="1729"/>
                    </a:lnTo>
                    <a:lnTo>
                      <a:pt x="784" y="1730"/>
                    </a:lnTo>
                    <a:lnTo>
                      <a:pt x="796" y="1732"/>
                    </a:lnTo>
                    <a:lnTo>
                      <a:pt x="809" y="1735"/>
                    </a:lnTo>
                    <a:lnTo>
                      <a:pt x="821" y="1741"/>
                    </a:lnTo>
                    <a:lnTo>
                      <a:pt x="833" y="1746"/>
                    </a:lnTo>
                    <a:lnTo>
                      <a:pt x="844" y="1752"/>
                    </a:lnTo>
                    <a:lnTo>
                      <a:pt x="853" y="1757"/>
                    </a:lnTo>
                    <a:lnTo>
                      <a:pt x="867" y="1766"/>
                    </a:lnTo>
                    <a:lnTo>
                      <a:pt x="872" y="1769"/>
                    </a:lnTo>
                    <a:lnTo>
                      <a:pt x="864" y="1789"/>
                    </a:lnTo>
                    <a:lnTo>
                      <a:pt x="857" y="1807"/>
                    </a:lnTo>
                    <a:lnTo>
                      <a:pt x="854" y="1821"/>
                    </a:lnTo>
                    <a:lnTo>
                      <a:pt x="852" y="1830"/>
                    </a:lnTo>
                    <a:lnTo>
                      <a:pt x="852" y="1839"/>
                    </a:lnTo>
                    <a:lnTo>
                      <a:pt x="854" y="1845"/>
                    </a:lnTo>
                    <a:lnTo>
                      <a:pt x="857" y="1849"/>
                    </a:lnTo>
                    <a:lnTo>
                      <a:pt x="861" y="1852"/>
                    </a:lnTo>
                    <a:lnTo>
                      <a:pt x="874" y="1854"/>
                    </a:lnTo>
                    <a:lnTo>
                      <a:pt x="891" y="1855"/>
                    </a:lnTo>
                    <a:lnTo>
                      <a:pt x="899" y="1856"/>
                    </a:lnTo>
                    <a:lnTo>
                      <a:pt x="908" y="1859"/>
                    </a:lnTo>
                    <a:lnTo>
                      <a:pt x="918" y="1862"/>
                    </a:lnTo>
                    <a:lnTo>
                      <a:pt x="926" y="1866"/>
                    </a:lnTo>
                    <a:lnTo>
                      <a:pt x="934" y="1870"/>
                    </a:lnTo>
                    <a:lnTo>
                      <a:pt x="939" y="1877"/>
                    </a:lnTo>
                    <a:lnTo>
                      <a:pt x="945" y="1882"/>
                    </a:lnTo>
                    <a:lnTo>
                      <a:pt x="949" y="1889"/>
                    </a:lnTo>
                    <a:lnTo>
                      <a:pt x="957" y="1903"/>
                    </a:lnTo>
                    <a:lnTo>
                      <a:pt x="965" y="1915"/>
                    </a:lnTo>
                    <a:lnTo>
                      <a:pt x="970" y="1920"/>
                    </a:lnTo>
                    <a:lnTo>
                      <a:pt x="974" y="1926"/>
                    </a:lnTo>
                    <a:lnTo>
                      <a:pt x="979" y="1929"/>
                    </a:lnTo>
                    <a:lnTo>
                      <a:pt x="985" y="1932"/>
                    </a:lnTo>
                    <a:lnTo>
                      <a:pt x="992" y="1933"/>
                    </a:lnTo>
                    <a:lnTo>
                      <a:pt x="1001" y="1933"/>
                    </a:lnTo>
                    <a:lnTo>
                      <a:pt x="1011" y="1931"/>
                    </a:lnTo>
                    <a:lnTo>
                      <a:pt x="1022" y="1927"/>
                    </a:lnTo>
                    <a:lnTo>
                      <a:pt x="1030" y="1924"/>
                    </a:lnTo>
                    <a:lnTo>
                      <a:pt x="1042" y="1922"/>
                    </a:lnTo>
                    <a:lnTo>
                      <a:pt x="1055" y="1921"/>
                    </a:lnTo>
                    <a:lnTo>
                      <a:pt x="1069" y="1919"/>
                    </a:lnTo>
                    <a:lnTo>
                      <a:pt x="1102" y="1918"/>
                    </a:lnTo>
                    <a:lnTo>
                      <a:pt x="1137" y="1916"/>
                    </a:lnTo>
                    <a:lnTo>
                      <a:pt x="1169" y="1913"/>
                    </a:lnTo>
                    <a:lnTo>
                      <a:pt x="1198" y="1909"/>
                    </a:lnTo>
                    <a:lnTo>
                      <a:pt x="1210" y="1906"/>
                    </a:lnTo>
                    <a:lnTo>
                      <a:pt x="1220" y="1903"/>
                    </a:lnTo>
                    <a:lnTo>
                      <a:pt x="1223" y="1901"/>
                    </a:lnTo>
                    <a:lnTo>
                      <a:pt x="1227" y="1899"/>
                    </a:lnTo>
                    <a:lnTo>
                      <a:pt x="1230" y="1896"/>
                    </a:lnTo>
                    <a:lnTo>
                      <a:pt x="1231" y="1894"/>
                    </a:lnTo>
                    <a:lnTo>
                      <a:pt x="1234" y="1886"/>
                    </a:lnTo>
                    <a:lnTo>
                      <a:pt x="1234" y="1877"/>
                    </a:lnTo>
                    <a:lnTo>
                      <a:pt x="1234" y="1868"/>
                    </a:lnTo>
                    <a:lnTo>
                      <a:pt x="1231" y="1859"/>
                    </a:lnTo>
                    <a:lnTo>
                      <a:pt x="1224" y="1838"/>
                    </a:lnTo>
                    <a:lnTo>
                      <a:pt x="1215" y="1818"/>
                    </a:lnTo>
                    <a:lnTo>
                      <a:pt x="1211" y="1807"/>
                    </a:lnTo>
                    <a:lnTo>
                      <a:pt x="1208" y="1796"/>
                    </a:lnTo>
                    <a:lnTo>
                      <a:pt x="1205" y="1785"/>
                    </a:lnTo>
                    <a:lnTo>
                      <a:pt x="1205" y="1775"/>
                    </a:lnTo>
                    <a:lnTo>
                      <a:pt x="1205" y="1765"/>
                    </a:lnTo>
                    <a:lnTo>
                      <a:pt x="1208" y="1755"/>
                    </a:lnTo>
                    <a:lnTo>
                      <a:pt x="1210" y="1749"/>
                    </a:lnTo>
                    <a:lnTo>
                      <a:pt x="1212" y="1744"/>
                    </a:lnTo>
                    <a:lnTo>
                      <a:pt x="1217" y="1740"/>
                    </a:lnTo>
                    <a:lnTo>
                      <a:pt x="1221" y="1735"/>
                    </a:lnTo>
                    <a:lnTo>
                      <a:pt x="1221" y="1735"/>
                    </a:lnTo>
                    <a:lnTo>
                      <a:pt x="1271" y="1665"/>
                    </a:lnTo>
                    <a:lnTo>
                      <a:pt x="1274" y="1653"/>
                    </a:lnTo>
                    <a:lnTo>
                      <a:pt x="1275" y="1641"/>
                    </a:lnTo>
                    <a:lnTo>
                      <a:pt x="1276" y="1630"/>
                    </a:lnTo>
                    <a:lnTo>
                      <a:pt x="1276" y="1619"/>
                    </a:lnTo>
                    <a:lnTo>
                      <a:pt x="1274" y="1596"/>
                    </a:lnTo>
                    <a:lnTo>
                      <a:pt x="1272" y="1573"/>
                    </a:lnTo>
                    <a:lnTo>
                      <a:pt x="1271" y="1563"/>
                    </a:lnTo>
                    <a:lnTo>
                      <a:pt x="1270" y="1551"/>
                    </a:lnTo>
                    <a:lnTo>
                      <a:pt x="1270" y="1539"/>
                    </a:lnTo>
                    <a:lnTo>
                      <a:pt x="1270" y="1527"/>
                    </a:lnTo>
                    <a:lnTo>
                      <a:pt x="1272" y="1514"/>
                    </a:lnTo>
                    <a:lnTo>
                      <a:pt x="1274" y="1501"/>
                    </a:lnTo>
                    <a:lnTo>
                      <a:pt x="1279" y="1488"/>
                    </a:lnTo>
                    <a:lnTo>
                      <a:pt x="1284" y="1473"/>
                    </a:lnTo>
                    <a:lnTo>
                      <a:pt x="1301" y="1444"/>
                    </a:lnTo>
                    <a:lnTo>
                      <a:pt x="1326" y="1406"/>
                    </a:lnTo>
                    <a:lnTo>
                      <a:pt x="1332" y="1396"/>
                    </a:lnTo>
                    <a:lnTo>
                      <a:pt x="1336" y="1387"/>
                    </a:lnTo>
                    <a:lnTo>
                      <a:pt x="1340" y="1378"/>
                    </a:lnTo>
                    <a:lnTo>
                      <a:pt x="1343" y="1369"/>
                    </a:lnTo>
                    <a:lnTo>
                      <a:pt x="1344" y="1361"/>
                    </a:lnTo>
                    <a:lnTo>
                      <a:pt x="1344" y="1353"/>
                    </a:lnTo>
                    <a:lnTo>
                      <a:pt x="1343" y="1350"/>
                    </a:lnTo>
                    <a:lnTo>
                      <a:pt x="1341" y="1347"/>
                    </a:lnTo>
                    <a:lnTo>
                      <a:pt x="1339" y="1343"/>
                    </a:lnTo>
                    <a:lnTo>
                      <a:pt x="1337" y="1340"/>
                    </a:lnTo>
                    <a:lnTo>
                      <a:pt x="1329" y="1335"/>
                    </a:lnTo>
                    <a:lnTo>
                      <a:pt x="1319" y="1329"/>
                    </a:lnTo>
                    <a:lnTo>
                      <a:pt x="1307" y="1324"/>
                    </a:lnTo>
                    <a:lnTo>
                      <a:pt x="1294" y="1319"/>
                    </a:lnTo>
                    <a:lnTo>
                      <a:pt x="1287" y="1315"/>
                    </a:lnTo>
                    <a:lnTo>
                      <a:pt x="1282" y="1312"/>
                    </a:lnTo>
                    <a:lnTo>
                      <a:pt x="1276" y="1309"/>
                    </a:lnTo>
                    <a:lnTo>
                      <a:pt x="1272" y="1305"/>
                    </a:lnTo>
                    <a:lnTo>
                      <a:pt x="1269" y="1300"/>
                    </a:lnTo>
                    <a:lnTo>
                      <a:pt x="1266" y="1296"/>
                    </a:lnTo>
                    <a:lnTo>
                      <a:pt x="1264" y="1290"/>
                    </a:lnTo>
                    <a:lnTo>
                      <a:pt x="1264" y="1284"/>
                    </a:lnTo>
                    <a:lnTo>
                      <a:pt x="1266" y="1278"/>
                    </a:lnTo>
                    <a:lnTo>
                      <a:pt x="1269" y="1271"/>
                    </a:lnTo>
                    <a:lnTo>
                      <a:pt x="1274" y="1265"/>
                    </a:lnTo>
                    <a:lnTo>
                      <a:pt x="1280" y="1259"/>
                    </a:lnTo>
                    <a:lnTo>
                      <a:pt x="1294" y="1246"/>
                    </a:lnTo>
                    <a:lnTo>
                      <a:pt x="1308" y="1233"/>
                    </a:lnTo>
                    <a:lnTo>
                      <a:pt x="1314" y="1227"/>
                    </a:lnTo>
                    <a:lnTo>
                      <a:pt x="1321" y="1219"/>
                    </a:lnTo>
                    <a:lnTo>
                      <a:pt x="1325" y="1213"/>
                    </a:lnTo>
                    <a:lnTo>
                      <a:pt x="1328" y="1205"/>
                    </a:lnTo>
                    <a:lnTo>
                      <a:pt x="1331" y="1198"/>
                    </a:lnTo>
                    <a:lnTo>
                      <a:pt x="1331" y="1189"/>
                    </a:lnTo>
                    <a:lnTo>
                      <a:pt x="1329" y="1186"/>
                    </a:lnTo>
                    <a:lnTo>
                      <a:pt x="1328" y="1181"/>
                    </a:lnTo>
                    <a:lnTo>
                      <a:pt x="1326" y="1177"/>
                    </a:lnTo>
                    <a:lnTo>
                      <a:pt x="1324" y="1173"/>
                    </a:lnTo>
                    <a:lnTo>
                      <a:pt x="1319" y="1166"/>
                    </a:lnTo>
                    <a:lnTo>
                      <a:pt x="1312" y="1160"/>
                    </a:lnTo>
                    <a:lnTo>
                      <a:pt x="1306" y="1154"/>
                    </a:lnTo>
                    <a:lnTo>
                      <a:pt x="1298" y="1149"/>
                    </a:lnTo>
                    <a:lnTo>
                      <a:pt x="1282" y="1138"/>
                    </a:lnTo>
                    <a:lnTo>
                      <a:pt x="1264" y="1126"/>
                    </a:lnTo>
                    <a:lnTo>
                      <a:pt x="1247" y="1116"/>
                    </a:lnTo>
                    <a:lnTo>
                      <a:pt x="1231" y="1103"/>
                    </a:lnTo>
                    <a:lnTo>
                      <a:pt x="1224" y="1095"/>
                    </a:lnTo>
                    <a:lnTo>
                      <a:pt x="1218" y="1087"/>
                    </a:lnTo>
                    <a:lnTo>
                      <a:pt x="1211" y="1080"/>
                    </a:lnTo>
                    <a:lnTo>
                      <a:pt x="1207" y="1070"/>
                    </a:lnTo>
                    <a:lnTo>
                      <a:pt x="1199" y="1059"/>
                    </a:lnTo>
                    <a:lnTo>
                      <a:pt x="1190" y="1049"/>
                    </a:lnTo>
                    <a:lnTo>
                      <a:pt x="1180" y="1038"/>
                    </a:lnTo>
                    <a:lnTo>
                      <a:pt x="1170" y="1027"/>
                    </a:lnTo>
                    <a:lnTo>
                      <a:pt x="1166" y="1022"/>
                    </a:lnTo>
                    <a:lnTo>
                      <a:pt x="1163" y="1016"/>
                    </a:lnTo>
                    <a:lnTo>
                      <a:pt x="1159" y="1011"/>
                    </a:lnTo>
                    <a:lnTo>
                      <a:pt x="1158" y="1005"/>
                    </a:lnTo>
                    <a:lnTo>
                      <a:pt x="1157" y="999"/>
                    </a:lnTo>
                    <a:lnTo>
                      <a:pt x="1158" y="993"/>
                    </a:lnTo>
                    <a:lnTo>
                      <a:pt x="1160" y="987"/>
                    </a:lnTo>
                    <a:lnTo>
                      <a:pt x="1164" y="981"/>
                    </a:lnTo>
                    <a:lnTo>
                      <a:pt x="1178" y="958"/>
                    </a:lnTo>
                    <a:lnTo>
                      <a:pt x="1198" y="924"/>
                    </a:lnTo>
                    <a:lnTo>
                      <a:pt x="1210" y="907"/>
                    </a:lnTo>
                    <a:lnTo>
                      <a:pt x="1220" y="893"/>
                    </a:lnTo>
                    <a:lnTo>
                      <a:pt x="1224" y="888"/>
                    </a:lnTo>
                    <a:lnTo>
                      <a:pt x="1229" y="883"/>
                    </a:lnTo>
                    <a:lnTo>
                      <a:pt x="1232" y="881"/>
                    </a:lnTo>
                    <a:lnTo>
                      <a:pt x="1234" y="880"/>
                    </a:lnTo>
                    <a:lnTo>
                      <a:pt x="1242" y="879"/>
                    </a:lnTo>
                    <a:lnTo>
                      <a:pt x="1257" y="881"/>
                    </a:lnTo>
                    <a:lnTo>
                      <a:pt x="1275" y="883"/>
                    </a:lnTo>
                    <a:lnTo>
                      <a:pt x="1289" y="885"/>
                    </a:lnTo>
                    <a:lnTo>
                      <a:pt x="1307" y="890"/>
                    </a:lnTo>
                    <a:lnTo>
                      <a:pt x="1322" y="894"/>
                    </a:lnTo>
                    <a:lnTo>
                      <a:pt x="1334" y="898"/>
                    </a:lnTo>
                    <a:lnTo>
                      <a:pt x="1343" y="903"/>
                    </a:lnTo>
                    <a:lnTo>
                      <a:pt x="1346" y="907"/>
                    </a:lnTo>
                    <a:lnTo>
                      <a:pt x="1349" y="910"/>
                    </a:lnTo>
                    <a:lnTo>
                      <a:pt x="1351" y="915"/>
                    </a:lnTo>
                    <a:lnTo>
                      <a:pt x="1352" y="920"/>
                    </a:lnTo>
                    <a:lnTo>
                      <a:pt x="1353" y="927"/>
                    </a:lnTo>
                    <a:lnTo>
                      <a:pt x="1353" y="934"/>
                    </a:lnTo>
                    <a:lnTo>
                      <a:pt x="1353" y="942"/>
                    </a:lnTo>
                    <a:lnTo>
                      <a:pt x="1352" y="951"/>
                    </a:lnTo>
                    <a:lnTo>
                      <a:pt x="1346" y="973"/>
                    </a:lnTo>
                    <a:lnTo>
                      <a:pt x="1341" y="992"/>
                    </a:lnTo>
                    <a:lnTo>
                      <a:pt x="1341" y="997"/>
                    </a:lnTo>
                    <a:lnTo>
                      <a:pt x="1341" y="1000"/>
                    </a:lnTo>
                    <a:lnTo>
                      <a:pt x="1343" y="1004"/>
                    </a:lnTo>
                    <a:lnTo>
                      <a:pt x="1345" y="1008"/>
                    </a:lnTo>
                    <a:lnTo>
                      <a:pt x="1348" y="1011"/>
                    </a:lnTo>
                    <a:lnTo>
                      <a:pt x="1352" y="1013"/>
                    </a:lnTo>
                    <a:lnTo>
                      <a:pt x="1358" y="1016"/>
                    </a:lnTo>
                    <a:lnTo>
                      <a:pt x="1364" y="1017"/>
                    </a:lnTo>
                    <a:lnTo>
                      <a:pt x="1376" y="1020"/>
                    </a:lnTo>
                    <a:lnTo>
                      <a:pt x="1387" y="1022"/>
                    </a:lnTo>
                    <a:lnTo>
                      <a:pt x="1399" y="1024"/>
                    </a:lnTo>
                    <a:lnTo>
                      <a:pt x="1411" y="1024"/>
                    </a:lnTo>
                    <a:lnTo>
                      <a:pt x="1423" y="1024"/>
                    </a:lnTo>
                    <a:lnTo>
                      <a:pt x="1435" y="1023"/>
                    </a:lnTo>
                    <a:lnTo>
                      <a:pt x="1447" y="1020"/>
                    </a:lnTo>
                    <a:lnTo>
                      <a:pt x="1458" y="1018"/>
                    </a:lnTo>
                    <a:lnTo>
                      <a:pt x="1469" y="1016"/>
                    </a:lnTo>
                    <a:lnTo>
                      <a:pt x="1481" y="1013"/>
                    </a:lnTo>
                    <a:lnTo>
                      <a:pt x="1492" y="1009"/>
                    </a:lnTo>
                    <a:lnTo>
                      <a:pt x="1503" y="1004"/>
                    </a:lnTo>
                    <a:lnTo>
                      <a:pt x="1513" y="999"/>
                    </a:lnTo>
                    <a:lnTo>
                      <a:pt x="1523" y="993"/>
                    </a:lnTo>
                    <a:lnTo>
                      <a:pt x="1532" y="988"/>
                    </a:lnTo>
                    <a:lnTo>
                      <a:pt x="1541" y="981"/>
                    </a:lnTo>
                    <a:lnTo>
                      <a:pt x="1549" y="974"/>
                    </a:lnTo>
                    <a:lnTo>
                      <a:pt x="1557" y="966"/>
                    </a:lnTo>
                    <a:lnTo>
                      <a:pt x="1565" y="959"/>
                    </a:lnTo>
                    <a:lnTo>
                      <a:pt x="1570" y="950"/>
                    </a:lnTo>
                    <a:lnTo>
                      <a:pt x="1575" y="942"/>
                    </a:lnTo>
                    <a:lnTo>
                      <a:pt x="1581" y="932"/>
                    </a:lnTo>
                    <a:lnTo>
                      <a:pt x="1584" y="922"/>
                    </a:lnTo>
                    <a:lnTo>
                      <a:pt x="1587" y="912"/>
                    </a:lnTo>
                    <a:lnTo>
                      <a:pt x="1589" y="903"/>
                    </a:lnTo>
                    <a:lnTo>
                      <a:pt x="1590" y="892"/>
                    </a:lnTo>
                    <a:lnTo>
                      <a:pt x="1589" y="881"/>
                    </a:lnTo>
                    <a:lnTo>
                      <a:pt x="1586" y="869"/>
                    </a:lnTo>
                    <a:lnTo>
                      <a:pt x="1584" y="857"/>
                    </a:lnTo>
                    <a:lnTo>
                      <a:pt x="1580" y="846"/>
                    </a:lnTo>
                    <a:lnTo>
                      <a:pt x="1574" y="834"/>
                    </a:lnTo>
                    <a:lnTo>
                      <a:pt x="1567" y="822"/>
                    </a:lnTo>
                    <a:lnTo>
                      <a:pt x="1552" y="799"/>
                    </a:lnTo>
                    <a:lnTo>
                      <a:pt x="1536" y="777"/>
                    </a:lnTo>
                    <a:lnTo>
                      <a:pt x="1529" y="768"/>
                    </a:lnTo>
                    <a:lnTo>
                      <a:pt x="1522" y="758"/>
                    </a:lnTo>
                    <a:lnTo>
                      <a:pt x="1517" y="749"/>
                    </a:lnTo>
                    <a:lnTo>
                      <a:pt x="1514" y="740"/>
                    </a:lnTo>
                    <a:lnTo>
                      <a:pt x="1512" y="732"/>
                    </a:lnTo>
                    <a:lnTo>
                      <a:pt x="1512" y="723"/>
                    </a:lnTo>
                    <a:lnTo>
                      <a:pt x="1512" y="720"/>
                    </a:lnTo>
                    <a:lnTo>
                      <a:pt x="1513" y="716"/>
                    </a:lnTo>
                    <a:lnTo>
                      <a:pt x="1515" y="713"/>
                    </a:lnTo>
                    <a:lnTo>
                      <a:pt x="1518" y="709"/>
                    </a:lnTo>
                    <a:lnTo>
                      <a:pt x="1521" y="706"/>
                    </a:lnTo>
                    <a:lnTo>
                      <a:pt x="1526" y="703"/>
                    </a:lnTo>
                    <a:lnTo>
                      <a:pt x="1530" y="700"/>
                    </a:lnTo>
                    <a:lnTo>
                      <a:pt x="1536" y="696"/>
                    </a:lnTo>
                    <a:lnTo>
                      <a:pt x="1551" y="691"/>
                    </a:lnTo>
                    <a:lnTo>
                      <a:pt x="1568" y="686"/>
                    </a:lnTo>
                    <a:lnTo>
                      <a:pt x="1589" y="680"/>
                    </a:lnTo>
                    <a:lnTo>
                      <a:pt x="1611" y="673"/>
                    </a:lnTo>
                    <a:lnTo>
                      <a:pt x="1623" y="668"/>
                    </a:lnTo>
                    <a:lnTo>
                      <a:pt x="1635" y="663"/>
                    </a:lnTo>
                    <a:lnTo>
                      <a:pt x="1646" y="658"/>
                    </a:lnTo>
                    <a:lnTo>
                      <a:pt x="1658" y="651"/>
                    </a:lnTo>
                    <a:lnTo>
                      <a:pt x="1668" y="645"/>
                    </a:lnTo>
                    <a:lnTo>
                      <a:pt x="1677" y="637"/>
                    </a:lnTo>
                    <a:lnTo>
                      <a:pt x="1686" y="628"/>
                    </a:lnTo>
                    <a:lnTo>
                      <a:pt x="1694" y="620"/>
                    </a:lnTo>
                    <a:lnTo>
                      <a:pt x="1700" y="610"/>
                    </a:lnTo>
                    <a:lnTo>
                      <a:pt x="1704" y="599"/>
                    </a:lnTo>
                    <a:lnTo>
                      <a:pt x="1708" y="587"/>
                    </a:lnTo>
                    <a:lnTo>
                      <a:pt x="1709" y="576"/>
                    </a:lnTo>
                    <a:lnTo>
                      <a:pt x="1709" y="576"/>
                    </a:lnTo>
                    <a:lnTo>
                      <a:pt x="1702" y="574"/>
                    </a:lnTo>
                    <a:lnTo>
                      <a:pt x="1696" y="572"/>
                    </a:lnTo>
                    <a:lnTo>
                      <a:pt x="1689" y="569"/>
                    </a:lnTo>
                    <a:lnTo>
                      <a:pt x="1683" y="565"/>
                    </a:lnTo>
                    <a:lnTo>
                      <a:pt x="1671" y="556"/>
                    </a:lnTo>
                    <a:lnTo>
                      <a:pt x="1659" y="546"/>
                    </a:lnTo>
                    <a:lnTo>
                      <a:pt x="1648" y="536"/>
                    </a:lnTo>
                    <a:lnTo>
                      <a:pt x="1637" y="527"/>
                    </a:lnTo>
                    <a:lnTo>
                      <a:pt x="1632" y="524"/>
                    </a:lnTo>
                    <a:lnTo>
                      <a:pt x="1626" y="520"/>
                    </a:lnTo>
                    <a:lnTo>
                      <a:pt x="1622" y="518"/>
                    </a:lnTo>
                    <a:lnTo>
                      <a:pt x="1617" y="517"/>
                    </a:lnTo>
                    <a:lnTo>
                      <a:pt x="1615" y="503"/>
                    </a:lnTo>
                    <a:lnTo>
                      <a:pt x="1608" y="474"/>
                    </a:lnTo>
                    <a:lnTo>
                      <a:pt x="1604" y="458"/>
                    </a:lnTo>
                    <a:lnTo>
                      <a:pt x="1599" y="444"/>
                    </a:lnTo>
                    <a:lnTo>
                      <a:pt x="1596" y="433"/>
                    </a:lnTo>
                    <a:lnTo>
                      <a:pt x="1593" y="428"/>
                    </a:lnTo>
                    <a:lnTo>
                      <a:pt x="1582" y="418"/>
                    </a:lnTo>
                    <a:lnTo>
                      <a:pt x="1571" y="409"/>
                    </a:lnTo>
                    <a:lnTo>
                      <a:pt x="1559" y="401"/>
                    </a:lnTo>
                    <a:lnTo>
                      <a:pt x="1546" y="393"/>
                    </a:lnTo>
                    <a:lnTo>
                      <a:pt x="1534" y="384"/>
                    </a:lnTo>
                    <a:lnTo>
                      <a:pt x="1523" y="377"/>
                    </a:lnTo>
                    <a:lnTo>
                      <a:pt x="1513" y="367"/>
                    </a:lnTo>
                    <a:lnTo>
                      <a:pt x="1504" y="356"/>
                    </a:lnTo>
                    <a:lnTo>
                      <a:pt x="1497" y="349"/>
                    </a:lnTo>
                    <a:lnTo>
                      <a:pt x="1491" y="341"/>
                    </a:lnTo>
                    <a:lnTo>
                      <a:pt x="1484" y="336"/>
                    </a:lnTo>
                    <a:lnTo>
                      <a:pt x="1477" y="331"/>
                    </a:lnTo>
                    <a:lnTo>
                      <a:pt x="1470" y="327"/>
                    </a:lnTo>
                    <a:lnTo>
                      <a:pt x="1464" y="324"/>
                    </a:lnTo>
                    <a:lnTo>
                      <a:pt x="1457" y="322"/>
                    </a:lnTo>
                    <a:lnTo>
                      <a:pt x="1450" y="321"/>
                    </a:lnTo>
                    <a:lnTo>
                      <a:pt x="1437" y="320"/>
                    </a:lnTo>
                    <a:lnTo>
                      <a:pt x="1423" y="321"/>
                    </a:lnTo>
                    <a:lnTo>
                      <a:pt x="1410" y="323"/>
                    </a:lnTo>
                    <a:lnTo>
                      <a:pt x="1397" y="326"/>
                    </a:lnTo>
                    <a:lnTo>
                      <a:pt x="1384" y="329"/>
                    </a:lnTo>
                    <a:lnTo>
                      <a:pt x="1371" y="331"/>
                    </a:lnTo>
                    <a:lnTo>
                      <a:pt x="1360" y="334"/>
                    </a:lnTo>
                    <a:lnTo>
                      <a:pt x="1349" y="335"/>
                    </a:lnTo>
                    <a:lnTo>
                      <a:pt x="1344" y="334"/>
                    </a:lnTo>
                    <a:lnTo>
                      <a:pt x="1338" y="333"/>
                    </a:lnTo>
                    <a:lnTo>
                      <a:pt x="1334" y="330"/>
                    </a:lnTo>
                    <a:lnTo>
                      <a:pt x="1328" y="328"/>
                    </a:lnTo>
                    <a:lnTo>
                      <a:pt x="1325" y="325"/>
                    </a:lnTo>
                    <a:lnTo>
                      <a:pt x="1321" y="321"/>
                    </a:lnTo>
                    <a:lnTo>
                      <a:pt x="1316" y="315"/>
                    </a:lnTo>
                    <a:lnTo>
                      <a:pt x="1313" y="309"/>
                    </a:lnTo>
                    <a:lnTo>
                      <a:pt x="1306" y="293"/>
                    </a:lnTo>
                    <a:lnTo>
                      <a:pt x="1298" y="275"/>
                    </a:lnTo>
                    <a:lnTo>
                      <a:pt x="1292" y="258"/>
                    </a:lnTo>
                    <a:lnTo>
                      <a:pt x="1286" y="240"/>
                    </a:lnTo>
                    <a:lnTo>
                      <a:pt x="1283" y="221"/>
                    </a:lnTo>
                    <a:lnTo>
                      <a:pt x="1281" y="203"/>
                    </a:lnTo>
                    <a:lnTo>
                      <a:pt x="1281" y="194"/>
                    </a:lnTo>
                    <a:lnTo>
                      <a:pt x="1281" y="185"/>
                    </a:lnTo>
                    <a:lnTo>
                      <a:pt x="1282" y="175"/>
                    </a:lnTo>
                    <a:lnTo>
                      <a:pt x="1283" y="165"/>
                    </a:lnTo>
                    <a:lnTo>
                      <a:pt x="1289" y="137"/>
                    </a:lnTo>
                    <a:lnTo>
                      <a:pt x="1295" y="113"/>
                    </a:lnTo>
                    <a:lnTo>
                      <a:pt x="1297" y="102"/>
                    </a:lnTo>
                    <a:lnTo>
                      <a:pt x="1298" y="94"/>
                    </a:lnTo>
                    <a:lnTo>
                      <a:pt x="1298" y="85"/>
                    </a:lnTo>
                    <a:lnTo>
                      <a:pt x="1297" y="78"/>
                    </a:lnTo>
                    <a:lnTo>
                      <a:pt x="1295" y="72"/>
                    </a:lnTo>
                    <a:lnTo>
                      <a:pt x="1292" y="67"/>
                    </a:lnTo>
                    <a:lnTo>
                      <a:pt x="1286" y="63"/>
                    </a:lnTo>
                    <a:lnTo>
                      <a:pt x="1279" y="59"/>
                    </a:lnTo>
                    <a:lnTo>
                      <a:pt x="1270" y="57"/>
                    </a:lnTo>
                    <a:lnTo>
                      <a:pt x="1258" y="56"/>
                    </a:lnTo>
                    <a:lnTo>
                      <a:pt x="1244" y="55"/>
                    </a:lnTo>
                    <a:lnTo>
                      <a:pt x="1227" y="55"/>
                    </a:lnTo>
                    <a:lnTo>
                      <a:pt x="1214" y="55"/>
                    </a:lnTo>
                    <a:lnTo>
                      <a:pt x="1198" y="54"/>
                    </a:lnTo>
                    <a:lnTo>
                      <a:pt x="1184" y="51"/>
                    </a:lnTo>
                    <a:lnTo>
                      <a:pt x="1169" y="46"/>
                    </a:lnTo>
                    <a:lnTo>
                      <a:pt x="1140" y="36"/>
                    </a:lnTo>
                    <a:lnTo>
                      <a:pt x="1110" y="24"/>
                    </a:lnTo>
                    <a:lnTo>
                      <a:pt x="1081" y="12"/>
                    </a:lnTo>
                    <a:lnTo>
                      <a:pt x="1055" y="3"/>
                    </a:lnTo>
                    <a:lnTo>
                      <a:pt x="1042" y="1"/>
                    </a:lnTo>
                    <a:lnTo>
                      <a:pt x="1031" y="0"/>
                    </a:lnTo>
                    <a:lnTo>
                      <a:pt x="1021" y="0"/>
                    </a:lnTo>
                    <a:lnTo>
                      <a:pt x="1011" y="2"/>
                    </a:lnTo>
                    <a:lnTo>
                      <a:pt x="843" y="2"/>
                    </a:lnTo>
                    <a:lnTo>
                      <a:pt x="843" y="2"/>
                    </a:lnTo>
                    <a:lnTo>
                      <a:pt x="837" y="28"/>
                    </a:lnTo>
                    <a:lnTo>
                      <a:pt x="831" y="54"/>
                    </a:lnTo>
                    <a:lnTo>
                      <a:pt x="822" y="80"/>
                    </a:lnTo>
                    <a:lnTo>
                      <a:pt x="814" y="106"/>
                    </a:lnTo>
                    <a:lnTo>
                      <a:pt x="804" y="132"/>
                    </a:lnTo>
                    <a:lnTo>
                      <a:pt x="793" y="156"/>
                    </a:lnTo>
                    <a:lnTo>
                      <a:pt x="781" y="182"/>
                    </a:lnTo>
                    <a:lnTo>
                      <a:pt x="769" y="207"/>
                    </a:lnTo>
                    <a:lnTo>
                      <a:pt x="744" y="257"/>
                    </a:lnTo>
                    <a:lnTo>
                      <a:pt x="717" y="304"/>
                    </a:lnTo>
                    <a:lnTo>
                      <a:pt x="691" y="351"/>
                    </a:lnTo>
                    <a:lnTo>
                      <a:pt x="664" y="395"/>
                    </a:lnTo>
                    <a:lnTo>
                      <a:pt x="649" y="421"/>
                    </a:lnTo>
                    <a:lnTo>
                      <a:pt x="635" y="448"/>
                    </a:lnTo>
                    <a:lnTo>
                      <a:pt x="621" y="475"/>
                    </a:lnTo>
                    <a:lnTo>
                      <a:pt x="608" y="501"/>
                    </a:lnTo>
                    <a:lnTo>
                      <a:pt x="584" y="554"/>
                    </a:lnTo>
                    <a:lnTo>
                      <a:pt x="560" y="606"/>
                    </a:lnTo>
                    <a:lnTo>
                      <a:pt x="548" y="632"/>
                    </a:lnTo>
                    <a:lnTo>
                      <a:pt x="535" y="658"/>
                    </a:lnTo>
                    <a:lnTo>
                      <a:pt x="522" y="682"/>
                    </a:lnTo>
                    <a:lnTo>
                      <a:pt x="507" y="707"/>
                    </a:lnTo>
                    <a:lnTo>
                      <a:pt x="492" y="732"/>
                    </a:lnTo>
                    <a:lnTo>
                      <a:pt x="474" y="757"/>
                    </a:lnTo>
                    <a:lnTo>
                      <a:pt x="456" y="781"/>
                    </a:lnTo>
                    <a:lnTo>
                      <a:pt x="435" y="804"/>
                    </a:lnTo>
                    <a:lnTo>
                      <a:pt x="431" y="822"/>
                    </a:lnTo>
                    <a:lnTo>
                      <a:pt x="426" y="839"/>
                    </a:lnTo>
                    <a:lnTo>
                      <a:pt x="420" y="855"/>
                    </a:lnTo>
                    <a:lnTo>
                      <a:pt x="414" y="871"/>
                    </a:lnTo>
                    <a:lnTo>
                      <a:pt x="401" y="902"/>
                    </a:lnTo>
                    <a:lnTo>
                      <a:pt x="386" y="931"/>
                    </a:lnTo>
                    <a:lnTo>
                      <a:pt x="369" y="959"/>
                    </a:lnTo>
                    <a:lnTo>
                      <a:pt x="352" y="986"/>
                    </a:lnTo>
                    <a:lnTo>
                      <a:pt x="334" y="1011"/>
                    </a:lnTo>
                    <a:lnTo>
                      <a:pt x="314" y="1036"/>
                    </a:lnTo>
                    <a:lnTo>
                      <a:pt x="273" y="1085"/>
                    </a:lnTo>
                    <a:lnTo>
                      <a:pt x="230" y="1134"/>
                    </a:lnTo>
                    <a:lnTo>
                      <a:pt x="209" y="1159"/>
                    </a:lnTo>
                    <a:lnTo>
                      <a:pt x="187" y="1185"/>
                    </a:lnTo>
                    <a:lnTo>
                      <a:pt x="167" y="1212"/>
                    </a:lnTo>
                    <a:lnTo>
                      <a:pt x="146" y="1240"/>
                    </a:lnTo>
                    <a:lnTo>
                      <a:pt x="141" y="1247"/>
                    </a:lnTo>
                    <a:lnTo>
                      <a:pt x="134" y="1254"/>
                    </a:lnTo>
                    <a:lnTo>
                      <a:pt x="128" y="1261"/>
                    </a:lnTo>
                    <a:lnTo>
                      <a:pt x="119" y="1268"/>
                    </a:lnTo>
                    <a:lnTo>
                      <a:pt x="102" y="1281"/>
                    </a:lnTo>
                    <a:lnTo>
                      <a:pt x="83" y="1293"/>
                    </a:lnTo>
                    <a:lnTo>
                      <a:pt x="41" y="1316"/>
                    </a:lnTo>
                    <a:lnTo>
                      <a:pt x="0" y="1340"/>
                    </a:lnTo>
                    <a:lnTo>
                      <a:pt x="0" y="1340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09" name="Freeform 24">
                <a:extLst>
                  <a:ext uri="{FF2B5EF4-FFF2-40B4-BE49-F238E27FC236}">
                    <a16:creationId xmlns:a16="http://schemas.microsoft.com/office/drawing/2014/main" id="{A12405B6-9F05-4A35-B2BB-6F6C8C9387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90338" y="-848908"/>
                <a:ext cx="679449" cy="828676"/>
              </a:xfrm>
              <a:custGeom>
                <a:avLst/>
                <a:gdLst>
                  <a:gd name="T0" fmla="*/ 91 w 1709"/>
                  <a:gd name="T1" fmla="*/ 1533 h 2088"/>
                  <a:gd name="T2" fmla="*/ 118 w 1709"/>
                  <a:gd name="T3" fmla="*/ 1590 h 2088"/>
                  <a:gd name="T4" fmla="*/ 204 w 1709"/>
                  <a:gd name="T5" fmla="*/ 1569 h 2088"/>
                  <a:gd name="T6" fmla="*/ 310 w 1709"/>
                  <a:gd name="T7" fmla="*/ 1633 h 2088"/>
                  <a:gd name="T8" fmla="*/ 349 w 1709"/>
                  <a:gd name="T9" fmla="*/ 1672 h 2088"/>
                  <a:gd name="T10" fmla="*/ 290 w 1709"/>
                  <a:gd name="T11" fmla="*/ 1716 h 2088"/>
                  <a:gd name="T12" fmla="*/ 322 w 1709"/>
                  <a:gd name="T13" fmla="*/ 1772 h 2088"/>
                  <a:gd name="T14" fmla="*/ 305 w 1709"/>
                  <a:gd name="T15" fmla="*/ 1838 h 2088"/>
                  <a:gd name="T16" fmla="*/ 273 w 1709"/>
                  <a:gd name="T17" fmla="*/ 1930 h 2088"/>
                  <a:gd name="T18" fmla="*/ 421 w 1709"/>
                  <a:gd name="T19" fmla="*/ 1999 h 2088"/>
                  <a:gd name="T20" fmla="*/ 550 w 1709"/>
                  <a:gd name="T21" fmla="*/ 2083 h 2088"/>
                  <a:gd name="T22" fmla="*/ 699 w 1709"/>
                  <a:gd name="T23" fmla="*/ 1992 h 2088"/>
                  <a:gd name="T24" fmla="*/ 709 w 1709"/>
                  <a:gd name="T25" fmla="*/ 1943 h 2088"/>
                  <a:gd name="T26" fmla="*/ 662 w 1709"/>
                  <a:gd name="T27" fmla="*/ 1892 h 2088"/>
                  <a:gd name="T28" fmla="*/ 730 w 1709"/>
                  <a:gd name="T29" fmla="*/ 1758 h 2088"/>
                  <a:gd name="T30" fmla="*/ 784 w 1709"/>
                  <a:gd name="T31" fmla="*/ 1730 h 2088"/>
                  <a:gd name="T32" fmla="*/ 864 w 1709"/>
                  <a:gd name="T33" fmla="*/ 1789 h 2088"/>
                  <a:gd name="T34" fmla="*/ 891 w 1709"/>
                  <a:gd name="T35" fmla="*/ 1855 h 2088"/>
                  <a:gd name="T36" fmla="*/ 957 w 1709"/>
                  <a:gd name="T37" fmla="*/ 1903 h 2088"/>
                  <a:gd name="T38" fmla="*/ 1022 w 1709"/>
                  <a:gd name="T39" fmla="*/ 1927 h 2088"/>
                  <a:gd name="T40" fmla="*/ 1210 w 1709"/>
                  <a:gd name="T41" fmla="*/ 1906 h 2088"/>
                  <a:gd name="T42" fmla="*/ 1231 w 1709"/>
                  <a:gd name="T43" fmla="*/ 1859 h 2088"/>
                  <a:gd name="T44" fmla="*/ 1210 w 1709"/>
                  <a:gd name="T45" fmla="*/ 1749 h 2088"/>
                  <a:gd name="T46" fmla="*/ 1276 w 1709"/>
                  <a:gd name="T47" fmla="*/ 1619 h 2088"/>
                  <a:gd name="T48" fmla="*/ 1279 w 1709"/>
                  <a:gd name="T49" fmla="*/ 1488 h 2088"/>
                  <a:gd name="T50" fmla="*/ 1344 w 1709"/>
                  <a:gd name="T51" fmla="*/ 1353 h 2088"/>
                  <a:gd name="T52" fmla="*/ 1287 w 1709"/>
                  <a:gd name="T53" fmla="*/ 1315 h 2088"/>
                  <a:gd name="T54" fmla="*/ 1269 w 1709"/>
                  <a:gd name="T55" fmla="*/ 1271 h 2088"/>
                  <a:gd name="T56" fmla="*/ 1331 w 1709"/>
                  <a:gd name="T57" fmla="*/ 1198 h 2088"/>
                  <a:gd name="T58" fmla="*/ 1298 w 1709"/>
                  <a:gd name="T59" fmla="*/ 1149 h 2088"/>
                  <a:gd name="T60" fmla="*/ 1199 w 1709"/>
                  <a:gd name="T61" fmla="*/ 1059 h 2088"/>
                  <a:gd name="T62" fmla="*/ 1158 w 1709"/>
                  <a:gd name="T63" fmla="*/ 993 h 2088"/>
                  <a:gd name="T64" fmla="*/ 1232 w 1709"/>
                  <a:gd name="T65" fmla="*/ 881 h 2088"/>
                  <a:gd name="T66" fmla="*/ 1343 w 1709"/>
                  <a:gd name="T67" fmla="*/ 903 h 2088"/>
                  <a:gd name="T68" fmla="*/ 1346 w 1709"/>
                  <a:gd name="T69" fmla="*/ 973 h 2088"/>
                  <a:gd name="T70" fmla="*/ 1364 w 1709"/>
                  <a:gd name="T71" fmla="*/ 1017 h 2088"/>
                  <a:gd name="T72" fmla="*/ 1469 w 1709"/>
                  <a:gd name="T73" fmla="*/ 1016 h 2088"/>
                  <a:gd name="T74" fmla="*/ 1557 w 1709"/>
                  <a:gd name="T75" fmla="*/ 966 h 2088"/>
                  <a:gd name="T76" fmla="*/ 1589 w 1709"/>
                  <a:gd name="T77" fmla="*/ 881 h 2088"/>
                  <a:gd name="T78" fmla="*/ 1522 w 1709"/>
                  <a:gd name="T79" fmla="*/ 758 h 2088"/>
                  <a:gd name="T80" fmla="*/ 1521 w 1709"/>
                  <a:gd name="T81" fmla="*/ 706 h 2088"/>
                  <a:gd name="T82" fmla="*/ 1635 w 1709"/>
                  <a:gd name="T83" fmla="*/ 663 h 2088"/>
                  <a:gd name="T84" fmla="*/ 1708 w 1709"/>
                  <a:gd name="T85" fmla="*/ 587 h 2088"/>
                  <a:gd name="T86" fmla="*/ 1648 w 1709"/>
                  <a:gd name="T87" fmla="*/ 536 h 2088"/>
                  <a:gd name="T88" fmla="*/ 1599 w 1709"/>
                  <a:gd name="T89" fmla="*/ 444 h 2088"/>
                  <a:gd name="T90" fmla="*/ 1513 w 1709"/>
                  <a:gd name="T91" fmla="*/ 367 h 2088"/>
                  <a:gd name="T92" fmla="*/ 1450 w 1709"/>
                  <a:gd name="T93" fmla="*/ 321 h 2088"/>
                  <a:gd name="T94" fmla="*/ 1344 w 1709"/>
                  <a:gd name="T95" fmla="*/ 334 h 2088"/>
                  <a:gd name="T96" fmla="*/ 1298 w 1709"/>
                  <a:gd name="T97" fmla="*/ 275 h 2088"/>
                  <a:gd name="T98" fmla="*/ 1289 w 1709"/>
                  <a:gd name="T99" fmla="*/ 137 h 2088"/>
                  <a:gd name="T100" fmla="*/ 1279 w 1709"/>
                  <a:gd name="T101" fmla="*/ 59 h 2088"/>
                  <a:gd name="T102" fmla="*/ 1140 w 1709"/>
                  <a:gd name="T103" fmla="*/ 36 h 2088"/>
                  <a:gd name="T104" fmla="*/ 843 w 1709"/>
                  <a:gd name="T105" fmla="*/ 2 h 2088"/>
                  <a:gd name="T106" fmla="*/ 744 w 1709"/>
                  <a:gd name="T107" fmla="*/ 257 h 2088"/>
                  <a:gd name="T108" fmla="*/ 560 w 1709"/>
                  <a:gd name="T109" fmla="*/ 606 h 2088"/>
                  <a:gd name="T110" fmla="*/ 431 w 1709"/>
                  <a:gd name="T111" fmla="*/ 822 h 2088"/>
                  <a:gd name="T112" fmla="*/ 314 w 1709"/>
                  <a:gd name="T113" fmla="*/ 1036 h 2088"/>
                  <a:gd name="T114" fmla="*/ 128 w 1709"/>
                  <a:gd name="T115" fmla="*/ 1261 h 20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09" h="2088">
                    <a:moveTo>
                      <a:pt x="0" y="1340"/>
                    </a:moveTo>
                    <a:lnTo>
                      <a:pt x="63" y="1368"/>
                    </a:lnTo>
                    <a:lnTo>
                      <a:pt x="70" y="1388"/>
                    </a:lnTo>
                    <a:lnTo>
                      <a:pt x="76" y="1409"/>
                    </a:lnTo>
                    <a:lnTo>
                      <a:pt x="81" y="1434"/>
                    </a:lnTo>
                    <a:lnTo>
                      <a:pt x="84" y="1459"/>
                    </a:lnTo>
                    <a:lnTo>
                      <a:pt x="88" y="1485"/>
                    </a:lnTo>
                    <a:lnTo>
                      <a:pt x="90" y="1510"/>
                    </a:lnTo>
                    <a:lnTo>
                      <a:pt x="91" y="1533"/>
                    </a:lnTo>
                    <a:lnTo>
                      <a:pt x="92" y="1554"/>
                    </a:lnTo>
                    <a:lnTo>
                      <a:pt x="92" y="1567"/>
                    </a:lnTo>
                    <a:lnTo>
                      <a:pt x="95" y="1576"/>
                    </a:lnTo>
                    <a:lnTo>
                      <a:pt x="96" y="1579"/>
                    </a:lnTo>
                    <a:lnTo>
                      <a:pt x="98" y="1582"/>
                    </a:lnTo>
                    <a:lnTo>
                      <a:pt x="102" y="1585"/>
                    </a:lnTo>
                    <a:lnTo>
                      <a:pt x="104" y="1586"/>
                    </a:lnTo>
                    <a:lnTo>
                      <a:pt x="110" y="1590"/>
                    </a:lnTo>
                    <a:lnTo>
                      <a:pt x="118" y="1590"/>
                    </a:lnTo>
                    <a:lnTo>
                      <a:pt x="126" y="1590"/>
                    </a:lnTo>
                    <a:lnTo>
                      <a:pt x="134" y="1587"/>
                    </a:lnTo>
                    <a:lnTo>
                      <a:pt x="153" y="1582"/>
                    </a:lnTo>
                    <a:lnTo>
                      <a:pt x="170" y="1575"/>
                    </a:lnTo>
                    <a:lnTo>
                      <a:pt x="179" y="1572"/>
                    </a:lnTo>
                    <a:lnTo>
                      <a:pt x="186" y="1570"/>
                    </a:lnTo>
                    <a:lnTo>
                      <a:pt x="193" y="1568"/>
                    </a:lnTo>
                    <a:lnTo>
                      <a:pt x="198" y="1568"/>
                    </a:lnTo>
                    <a:lnTo>
                      <a:pt x="204" y="1569"/>
                    </a:lnTo>
                    <a:lnTo>
                      <a:pt x="207" y="1571"/>
                    </a:lnTo>
                    <a:lnTo>
                      <a:pt x="209" y="1576"/>
                    </a:lnTo>
                    <a:lnTo>
                      <a:pt x="211" y="1580"/>
                    </a:lnTo>
                    <a:lnTo>
                      <a:pt x="213" y="1590"/>
                    </a:lnTo>
                    <a:lnTo>
                      <a:pt x="217" y="1598"/>
                    </a:lnTo>
                    <a:lnTo>
                      <a:pt x="226" y="1604"/>
                    </a:lnTo>
                    <a:lnTo>
                      <a:pt x="249" y="1611"/>
                    </a:lnTo>
                    <a:lnTo>
                      <a:pt x="279" y="1621"/>
                    </a:lnTo>
                    <a:lnTo>
                      <a:pt x="310" y="1633"/>
                    </a:lnTo>
                    <a:lnTo>
                      <a:pt x="324" y="1638"/>
                    </a:lnTo>
                    <a:lnTo>
                      <a:pt x="336" y="1645"/>
                    </a:lnTo>
                    <a:lnTo>
                      <a:pt x="345" y="1651"/>
                    </a:lnTo>
                    <a:lnTo>
                      <a:pt x="352" y="1657"/>
                    </a:lnTo>
                    <a:lnTo>
                      <a:pt x="353" y="1660"/>
                    </a:lnTo>
                    <a:lnTo>
                      <a:pt x="354" y="1663"/>
                    </a:lnTo>
                    <a:lnTo>
                      <a:pt x="353" y="1666"/>
                    </a:lnTo>
                    <a:lnTo>
                      <a:pt x="352" y="1668"/>
                    </a:lnTo>
                    <a:lnTo>
                      <a:pt x="349" y="1672"/>
                    </a:lnTo>
                    <a:lnTo>
                      <a:pt x="344" y="1675"/>
                    </a:lnTo>
                    <a:lnTo>
                      <a:pt x="338" y="1677"/>
                    </a:lnTo>
                    <a:lnTo>
                      <a:pt x="330" y="1680"/>
                    </a:lnTo>
                    <a:lnTo>
                      <a:pt x="321" y="1685"/>
                    </a:lnTo>
                    <a:lnTo>
                      <a:pt x="310" y="1690"/>
                    </a:lnTo>
                    <a:lnTo>
                      <a:pt x="301" y="1698"/>
                    </a:lnTo>
                    <a:lnTo>
                      <a:pt x="295" y="1706"/>
                    </a:lnTo>
                    <a:lnTo>
                      <a:pt x="291" y="1711"/>
                    </a:lnTo>
                    <a:lnTo>
                      <a:pt x="290" y="1716"/>
                    </a:lnTo>
                    <a:lnTo>
                      <a:pt x="289" y="1720"/>
                    </a:lnTo>
                    <a:lnTo>
                      <a:pt x="288" y="1726"/>
                    </a:lnTo>
                    <a:lnTo>
                      <a:pt x="289" y="1730"/>
                    </a:lnTo>
                    <a:lnTo>
                      <a:pt x="291" y="1735"/>
                    </a:lnTo>
                    <a:lnTo>
                      <a:pt x="295" y="1741"/>
                    </a:lnTo>
                    <a:lnTo>
                      <a:pt x="299" y="1745"/>
                    </a:lnTo>
                    <a:lnTo>
                      <a:pt x="309" y="1756"/>
                    </a:lnTo>
                    <a:lnTo>
                      <a:pt x="317" y="1765"/>
                    </a:lnTo>
                    <a:lnTo>
                      <a:pt x="322" y="1772"/>
                    </a:lnTo>
                    <a:lnTo>
                      <a:pt x="325" y="1779"/>
                    </a:lnTo>
                    <a:lnTo>
                      <a:pt x="325" y="1785"/>
                    </a:lnTo>
                    <a:lnTo>
                      <a:pt x="323" y="1794"/>
                    </a:lnTo>
                    <a:lnTo>
                      <a:pt x="317" y="1805"/>
                    </a:lnTo>
                    <a:lnTo>
                      <a:pt x="311" y="1819"/>
                    </a:lnTo>
                    <a:lnTo>
                      <a:pt x="311" y="1824"/>
                    </a:lnTo>
                    <a:lnTo>
                      <a:pt x="310" y="1829"/>
                    </a:lnTo>
                    <a:lnTo>
                      <a:pt x="309" y="1834"/>
                    </a:lnTo>
                    <a:lnTo>
                      <a:pt x="305" y="1838"/>
                    </a:lnTo>
                    <a:lnTo>
                      <a:pt x="300" y="1848"/>
                    </a:lnTo>
                    <a:lnTo>
                      <a:pt x="293" y="1857"/>
                    </a:lnTo>
                    <a:lnTo>
                      <a:pt x="289" y="1866"/>
                    </a:lnTo>
                    <a:lnTo>
                      <a:pt x="286" y="1874"/>
                    </a:lnTo>
                    <a:lnTo>
                      <a:pt x="283" y="1881"/>
                    </a:lnTo>
                    <a:lnTo>
                      <a:pt x="282" y="1890"/>
                    </a:lnTo>
                    <a:lnTo>
                      <a:pt x="278" y="1905"/>
                    </a:lnTo>
                    <a:lnTo>
                      <a:pt x="274" y="1922"/>
                    </a:lnTo>
                    <a:lnTo>
                      <a:pt x="273" y="1930"/>
                    </a:lnTo>
                    <a:lnTo>
                      <a:pt x="273" y="1937"/>
                    </a:lnTo>
                    <a:lnTo>
                      <a:pt x="273" y="1946"/>
                    </a:lnTo>
                    <a:lnTo>
                      <a:pt x="273" y="1955"/>
                    </a:lnTo>
                    <a:lnTo>
                      <a:pt x="274" y="1962"/>
                    </a:lnTo>
                    <a:lnTo>
                      <a:pt x="274" y="1971"/>
                    </a:lnTo>
                    <a:lnTo>
                      <a:pt x="274" y="1978"/>
                    </a:lnTo>
                    <a:lnTo>
                      <a:pt x="273" y="1985"/>
                    </a:lnTo>
                    <a:lnTo>
                      <a:pt x="273" y="1985"/>
                    </a:lnTo>
                    <a:lnTo>
                      <a:pt x="421" y="1999"/>
                    </a:lnTo>
                    <a:lnTo>
                      <a:pt x="428" y="2001"/>
                    </a:lnTo>
                    <a:lnTo>
                      <a:pt x="435" y="2005"/>
                    </a:lnTo>
                    <a:lnTo>
                      <a:pt x="445" y="2012"/>
                    </a:lnTo>
                    <a:lnTo>
                      <a:pt x="455" y="2018"/>
                    </a:lnTo>
                    <a:lnTo>
                      <a:pt x="477" y="2034"/>
                    </a:lnTo>
                    <a:lnTo>
                      <a:pt x="500" y="2051"/>
                    </a:lnTo>
                    <a:lnTo>
                      <a:pt x="522" y="2066"/>
                    </a:lnTo>
                    <a:lnTo>
                      <a:pt x="542" y="2079"/>
                    </a:lnTo>
                    <a:lnTo>
                      <a:pt x="550" y="2083"/>
                    </a:lnTo>
                    <a:lnTo>
                      <a:pt x="557" y="2086"/>
                    </a:lnTo>
                    <a:lnTo>
                      <a:pt x="563" y="2088"/>
                    </a:lnTo>
                    <a:lnTo>
                      <a:pt x="567" y="2086"/>
                    </a:lnTo>
                    <a:lnTo>
                      <a:pt x="584" y="2075"/>
                    </a:lnTo>
                    <a:lnTo>
                      <a:pt x="604" y="2059"/>
                    </a:lnTo>
                    <a:lnTo>
                      <a:pt x="628" y="2043"/>
                    </a:lnTo>
                    <a:lnTo>
                      <a:pt x="652" y="2025"/>
                    </a:lnTo>
                    <a:lnTo>
                      <a:pt x="676" y="2008"/>
                    </a:lnTo>
                    <a:lnTo>
                      <a:pt x="699" y="1992"/>
                    </a:lnTo>
                    <a:lnTo>
                      <a:pt x="710" y="1987"/>
                    </a:lnTo>
                    <a:lnTo>
                      <a:pt x="720" y="1982"/>
                    </a:lnTo>
                    <a:lnTo>
                      <a:pt x="729" y="1977"/>
                    </a:lnTo>
                    <a:lnTo>
                      <a:pt x="737" y="1975"/>
                    </a:lnTo>
                    <a:lnTo>
                      <a:pt x="737" y="1968"/>
                    </a:lnTo>
                    <a:lnTo>
                      <a:pt x="733" y="1961"/>
                    </a:lnTo>
                    <a:lnTo>
                      <a:pt x="729" y="1956"/>
                    </a:lnTo>
                    <a:lnTo>
                      <a:pt x="723" y="1950"/>
                    </a:lnTo>
                    <a:lnTo>
                      <a:pt x="709" y="1943"/>
                    </a:lnTo>
                    <a:lnTo>
                      <a:pt x="693" y="1935"/>
                    </a:lnTo>
                    <a:lnTo>
                      <a:pt x="686" y="1932"/>
                    </a:lnTo>
                    <a:lnTo>
                      <a:pt x="678" y="1928"/>
                    </a:lnTo>
                    <a:lnTo>
                      <a:pt x="672" y="1923"/>
                    </a:lnTo>
                    <a:lnTo>
                      <a:pt x="666" y="1919"/>
                    </a:lnTo>
                    <a:lnTo>
                      <a:pt x="663" y="1914"/>
                    </a:lnTo>
                    <a:lnTo>
                      <a:pt x="661" y="1907"/>
                    </a:lnTo>
                    <a:lnTo>
                      <a:pt x="661" y="1901"/>
                    </a:lnTo>
                    <a:lnTo>
                      <a:pt x="662" y="1892"/>
                    </a:lnTo>
                    <a:lnTo>
                      <a:pt x="670" y="1876"/>
                    </a:lnTo>
                    <a:lnTo>
                      <a:pt x="677" y="1860"/>
                    </a:lnTo>
                    <a:lnTo>
                      <a:pt x="687" y="1845"/>
                    </a:lnTo>
                    <a:lnTo>
                      <a:pt x="697" y="1829"/>
                    </a:lnTo>
                    <a:lnTo>
                      <a:pt x="705" y="1814"/>
                    </a:lnTo>
                    <a:lnTo>
                      <a:pt x="714" y="1798"/>
                    </a:lnTo>
                    <a:lnTo>
                      <a:pt x="722" y="1782"/>
                    </a:lnTo>
                    <a:lnTo>
                      <a:pt x="728" y="1766"/>
                    </a:lnTo>
                    <a:lnTo>
                      <a:pt x="730" y="1758"/>
                    </a:lnTo>
                    <a:lnTo>
                      <a:pt x="733" y="1752"/>
                    </a:lnTo>
                    <a:lnTo>
                      <a:pt x="737" y="1746"/>
                    </a:lnTo>
                    <a:lnTo>
                      <a:pt x="741" y="1742"/>
                    </a:lnTo>
                    <a:lnTo>
                      <a:pt x="745" y="1738"/>
                    </a:lnTo>
                    <a:lnTo>
                      <a:pt x="750" y="1734"/>
                    </a:lnTo>
                    <a:lnTo>
                      <a:pt x="755" y="1732"/>
                    </a:lnTo>
                    <a:lnTo>
                      <a:pt x="761" y="1731"/>
                    </a:lnTo>
                    <a:lnTo>
                      <a:pt x="771" y="1729"/>
                    </a:lnTo>
                    <a:lnTo>
                      <a:pt x="784" y="1730"/>
                    </a:lnTo>
                    <a:lnTo>
                      <a:pt x="796" y="1732"/>
                    </a:lnTo>
                    <a:lnTo>
                      <a:pt x="809" y="1735"/>
                    </a:lnTo>
                    <a:lnTo>
                      <a:pt x="821" y="1741"/>
                    </a:lnTo>
                    <a:lnTo>
                      <a:pt x="833" y="1746"/>
                    </a:lnTo>
                    <a:lnTo>
                      <a:pt x="844" y="1752"/>
                    </a:lnTo>
                    <a:lnTo>
                      <a:pt x="853" y="1757"/>
                    </a:lnTo>
                    <a:lnTo>
                      <a:pt x="867" y="1766"/>
                    </a:lnTo>
                    <a:lnTo>
                      <a:pt x="872" y="1769"/>
                    </a:lnTo>
                    <a:lnTo>
                      <a:pt x="864" y="1789"/>
                    </a:lnTo>
                    <a:lnTo>
                      <a:pt x="857" y="1807"/>
                    </a:lnTo>
                    <a:lnTo>
                      <a:pt x="854" y="1821"/>
                    </a:lnTo>
                    <a:lnTo>
                      <a:pt x="852" y="1830"/>
                    </a:lnTo>
                    <a:lnTo>
                      <a:pt x="852" y="1839"/>
                    </a:lnTo>
                    <a:lnTo>
                      <a:pt x="854" y="1845"/>
                    </a:lnTo>
                    <a:lnTo>
                      <a:pt x="857" y="1849"/>
                    </a:lnTo>
                    <a:lnTo>
                      <a:pt x="861" y="1852"/>
                    </a:lnTo>
                    <a:lnTo>
                      <a:pt x="874" y="1854"/>
                    </a:lnTo>
                    <a:lnTo>
                      <a:pt x="891" y="1855"/>
                    </a:lnTo>
                    <a:lnTo>
                      <a:pt x="899" y="1856"/>
                    </a:lnTo>
                    <a:lnTo>
                      <a:pt x="908" y="1859"/>
                    </a:lnTo>
                    <a:lnTo>
                      <a:pt x="918" y="1862"/>
                    </a:lnTo>
                    <a:lnTo>
                      <a:pt x="926" y="1866"/>
                    </a:lnTo>
                    <a:lnTo>
                      <a:pt x="934" y="1870"/>
                    </a:lnTo>
                    <a:lnTo>
                      <a:pt x="939" y="1877"/>
                    </a:lnTo>
                    <a:lnTo>
                      <a:pt x="945" y="1882"/>
                    </a:lnTo>
                    <a:lnTo>
                      <a:pt x="949" y="1889"/>
                    </a:lnTo>
                    <a:lnTo>
                      <a:pt x="957" y="1903"/>
                    </a:lnTo>
                    <a:lnTo>
                      <a:pt x="965" y="1915"/>
                    </a:lnTo>
                    <a:lnTo>
                      <a:pt x="970" y="1920"/>
                    </a:lnTo>
                    <a:lnTo>
                      <a:pt x="974" y="1926"/>
                    </a:lnTo>
                    <a:lnTo>
                      <a:pt x="979" y="1929"/>
                    </a:lnTo>
                    <a:lnTo>
                      <a:pt x="985" y="1932"/>
                    </a:lnTo>
                    <a:lnTo>
                      <a:pt x="992" y="1933"/>
                    </a:lnTo>
                    <a:lnTo>
                      <a:pt x="1001" y="1933"/>
                    </a:lnTo>
                    <a:lnTo>
                      <a:pt x="1011" y="1931"/>
                    </a:lnTo>
                    <a:lnTo>
                      <a:pt x="1022" y="1927"/>
                    </a:lnTo>
                    <a:lnTo>
                      <a:pt x="1030" y="1924"/>
                    </a:lnTo>
                    <a:lnTo>
                      <a:pt x="1042" y="1922"/>
                    </a:lnTo>
                    <a:lnTo>
                      <a:pt x="1055" y="1921"/>
                    </a:lnTo>
                    <a:lnTo>
                      <a:pt x="1069" y="1919"/>
                    </a:lnTo>
                    <a:lnTo>
                      <a:pt x="1102" y="1918"/>
                    </a:lnTo>
                    <a:lnTo>
                      <a:pt x="1137" y="1916"/>
                    </a:lnTo>
                    <a:lnTo>
                      <a:pt x="1169" y="1913"/>
                    </a:lnTo>
                    <a:lnTo>
                      <a:pt x="1198" y="1909"/>
                    </a:lnTo>
                    <a:lnTo>
                      <a:pt x="1210" y="1906"/>
                    </a:lnTo>
                    <a:lnTo>
                      <a:pt x="1220" y="1903"/>
                    </a:lnTo>
                    <a:lnTo>
                      <a:pt x="1223" y="1901"/>
                    </a:lnTo>
                    <a:lnTo>
                      <a:pt x="1227" y="1899"/>
                    </a:lnTo>
                    <a:lnTo>
                      <a:pt x="1230" y="1896"/>
                    </a:lnTo>
                    <a:lnTo>
                      <a:pt x="1231" y="1894"/>
                    </a:lnTo>
                    <a:lnTo>
                      <a:pt x="1234" y="1886"/>
                    </a:lnTo>
                    <a:lnTo>
                      <a:pt x="1234" y="1877"/>
                    </a:lnTo>
                    <a:lnTo>
                      <a:pt x="1234" y="1868"/>
                    </a:lnTo>
                    <a:lnTo>
                      <a:pt x="1231" y="1859"/>
                    </a:lnTo>
                    <a:lnTo>
                      <a:pt x="1224" y="1838"/>
                    </a:lnTo>
                    <a:lnTo>
                      <a:pt x="1215" y="1818"/>
                    </a:lnTo>
                    <a:lnTo>
                      <a:pt x="1211" y="1807"/>
                    </a:lnTo>
                    <a:lnTo>
                      <a:pt x="1208" y="1796"/>
                    </a:lnTo>
                    <a:lnTo>
                      <a:pt x="1205" y="1785"/>
                    </a:lnTo>
                    <a:lnTo>
                      <a:pt x="1205" y="1775"/>
                    </a:lnTo>
                    <a:lnTo>
                      <a:pt x="1205" y="1765"/>
                    </a:lnTo>
                    <a:lnTo>
                      <a:pt x="1208" y="1755"/>
                    </a:lnTo>
                    <a:lnTo>
                      <a:pt x="1210" y="1749"/>
                    </a:lnTo>
                    <a:lnTo>
                      <a:pt x="1212" y="1744"/>
                    </a:lnTo>
                    <a:lnTo>
                      <a:pt x="1217" y="1740"/>
                    </a:lnTo>
                    <a:lnTo>
                      <a:pt x="1221" y="1735"/>
                    </a:lnTo>
                    <a:lnTo>
                      <a:pt x="1221" y="1735"/>
                    </a:lnTo>
                    <a:lnTo>
                      <a:pt x="1271" y="1665"/>
                    </a:lnTo>
                    <a:lnTo>
                      <a:pt x="1274" y="1653"/>
                    </a:lnTo>
                    <a:lnTo>
                      <a:pt x="1275" y="1641"/>
                    </a:lnTo>
                    <a:lnTo>
                      <a:pt x="1276" y="1630"/>
                    </a:lnTo>
                    <a:lnTo>
                      <a:pt x="1276" y="1619"/>
                    </a:lnTo>
                    <a:lnTo>
                      <a:pt x="1274" y="1596"/>
                    </a:lnTo>
                    <a:lnTo>
                      <a:pt x="1272" y="1573"/>
                    </a:lnTo>
                    <a:lnTo>
                      <a:pt x="1271" y="1563"/>
                    </a:lnTo>
                    <a:lnTo>
                      <a:pt x="1270" y="1551"/>
                    </a:lnTo>
                    <a:lnTo>
                      <a:pt x="1270" y="1539"/>
                    </a:lnTo>
                    <a:lnTo>
                      <a:pt x="1270" y="1527"/>
                    </a:lnTo>
                    <a:lnTo>
                      <a:pt x="1272" y="1514"/>
                    </a:lnTo>
                    <a:lnTo>
                      <a:pt x="1274" y="1501"/>
                    </a:lnTo>
                    <a:lnTo>
                      <a:pt x="1279" y="1488"/>
                    </a:lnTo>
                    <a:lnTo>
                      <a:pt x="1284" y="1473"/>
                    </a:lnTo>
                    <a:lnTo>
                      <a:pt x="1301" y="1444"/>
                    </a:lnTo>
                    <a:lnTo>
                      <a:pt x="1326" y="1406"/>
                    </a:lnTo>
                    <a:lnTo>
                      <a:pt x="1332" y="1396"/>
                    </a:lnTo>
                    <a:lnTo>
                      <a:pt x="1336" y="1387"/>
                    </a:lnTo>
                    <a:lnTo>
                      <a:pt x="1340" y="1378"/>
                    </a:lnTo>
                    <a:lnTo>
                      <a:pt x="1343" y="1369"/>
                    </a:lnTo>
                    <a:lnTo>
                      <a:pt x="1344" y="1361"/>
                    </a:lnTo>
                    <a:lnTo>
                      <a:pt x="1344" y="1353"/>
                    </a:lnTo>
                    <a:lnTo>
                      <a:pt x="1343" y="1350"/>
                    </a:lnTo>
                    <a:lnTo>
                      <a:pt x="1341" y="1347"/>
                    </a:lnTo>
                    <a:lnTo>
                      <a:pt x="1339" y="1343"/>
                    </a:lnTo>
                    <a:lnTo>
                      <a:pt x="1337" y="1340"/>
                    </a:lnTo>
                    <a:lnTo>
                      <a:pt x="1329" y="1335"/>
                    </a:lnTo>
                    <a:lnTo>
                      <a:pt x="1319" y="1329"/>
                    </a:lnTo>
                    <a:lnTo>
                      <a:pt x="1307" y="1324"/>
                    </a:lnTo>
                    <a:lnTo>
                      <a:pt x="1294" y="1319"/>
                    </a:lnTo>
                    <a:lnTo>
                      <a:pt x="1287" y="1315"/>
                    </a:lnTo>
                    <a:lnTo>
                      <a:pt x="1282" y="1312"/>
                    </a:lnTo>
                    <a:lnTo>
                      <a:pt x="1276" y="1309"/>
                    </a:lnTo>
                    <a:lnTo>
                      <a:pt x="1272" y="1305"/>
                    </a:lnTo>
                    <a:lnTo>
                      <a:pt x="1269" y="1300"/>
                    </a:lnTo>
                    <a:lnTo>
                      <a:pt x="1266" y="1296"/>
                    </a:lnTo>
                    <a:lnTo>
                      <a:pt x="1264" y="1290"/>
                    </a:lnTo>
                    <a:lnTo>
                      <a:pt x="1264" y="1284"/>
                    </a:lnTo>
                    <a:lnTo>
                      <a:pt x="1266" y="1278"/>
                    </a:lnTo>
                    <a:lnTo>
                      <a:pt x="1269" y="1271"/>
                    </a:lnTo>
                    <a:lnTo>
                      <a:pt x="1274" y="1265"/>
                    </a:lnTo>
                    <a:lnTo>
                      <a:pt x="1280" y="1259"/>
                    </a:lnTo>
                    <a:lnTo>
                      <a:pt x="1294" y="1246"/>
                    </a:lnTo>
                    <a:lnTo>
                      <a:pt x="1308" y="1233"/>
                    </a:lnTo>
                    <a:lnTo>
                      <a:pt x="1314" y="1227"/>
                    </a:lnTo>
                    <a:lnTo>
                      <a:pt x="1321" y="1219"/>
                    </a:lnTo>
                    <a:lnTo>
                      <a:pt x="1325" y="1213"/>
                    </a:lnTo>
                    <a:lnTo>
                      <a:pt x="1328" y="1205"/>
                    </a:lnTo>
                    <a:lnTo>
                      <a:pt x="1331" y="1198"/>
                    </a:lnTo>
                    <a:lnTo>
                      <a:pt x="1331" y="1189"/>
                    </a:lnTo>
                    <a:lnTo>
                      <a:pt x="1329" y="1186"/>
                    </a:lnTo>
                    <a:lnTo>
                      <a:pt x="1328" y="1181"/>
                    </a:lnTo>
                    <a:lnTo>
                      <a:pt x="1326" y="1177"/>
                    </a:lnTo>
                    <a:lnTo>
                      <a:pt x="1324" y="1173"/>
                    </a:lnTo>
                    <a:lnTo>
                      <a:pt x="1319" y="1166"/>
                    </a:lnTo>
                    <a:lnTo>
                      <a:pt x="1312" y="1160"/>
                    </a:lnTo>
                    <a:lnTo>
                      <a:pt x="1306" y="1154"/>
                    </a:lnTo>
                    <a:lnTo>
                      <a:pt x="1298" y="1149"/>
                    </a:lnTo>
                    <a:lnTo>
                      <a:pt x="1282" y="1138"/>
                    </a:lnTo>
                    <a:lnTo>
                      <a:pt x="1264" y="1126"/>
                    </a:lnTo>
                    <a:lnTo>
                      <a:pt x="1247" y="1116"/>
                    </a:lnTo>
                    <a:lnTo>
                      <a:pt x="1231" y="1103"/>
                    </a:lnTo>
                    <a:lnTo>
                      <a:pt x="1224" y="1095"/>
                    </a:lnTo>
                    <a:lnTo>
                      <a:pt x="1218" y="1087"/>
                    </a:lnTo>
                    <a:lnTo>
                      <a:pt x="1211" y="1080"/>
                    </a:lnTo>
                    <a:lnTo>
                      <a:pt x="1207" y="1070"/>
                    </a:lnTo>
                    <a:lnTo>
                      <a:pt x="1199" y="1059"/>
                    </a:lnTo>
                    <a:lnTo>
                      <a:pt x="1190" y="1049"/>
                    </a:lnTo>
                    <a:lnTo>
                      <a:pt x="1180" y="1038"/>
                    </a:lnTo>
                    <a:lnTo>
                      <a:pt x="1170" y="1027"/>
                    </a:lnTo>
                    <a:lnTo>
                      <a:pt x="1166" y="1022"/>
                    </a:lnTo>
                    <a:lnTo>
                      <a:pt x="1163" y="1016"/>
                    </a:lnTo>
                    <a:lnTo>
                      <a:pt x="1159" y="1011"/>
                    </a:lnTo>
                    <a:lnTo>
                      <a:pt x="1158" y="1005"/>
                    </a:lnTo>
                    <a:lnTo>
                      <a:pt x="1157" y="999"/>
                    </a:lnTo>
                    <a:lnTo>
                      <a:pt x="1158" y="993"/>
                    </a:lnTo>
                    <a:lnTo>
                      <a:pt x="1160" y="987"/>
                    </a:lnTo>
                    <a:lnTo>
                      <a:pt x="1164" y="981"/>
                    </a:lnTo>
                    <a:lnTo>
                      <a:pt x="1178" y="958"/>
                    </a:lnTo>
                    <a:lnTo>
                      <a:pt x="1198" y="924"/>
                    </a:lnTo>
                    <a:lnTo>
                      <a:pt x="1210" y="907"/>
                    </a:lnTo>
                    <a:lnTo>
                      <a:pt x="1220" y="893"/>
                    </a:lnTo>
                    <a:lnTo>
                      <a:pt x="1224" y="888"/>
                    </a:lnTo>
                    <a:lnTo>
                      <a:pt x="1229" y="883"/>
                    </a:lnTo>
                    <a:lnTo>
                      <a:pt x="1232" y="881"/>
                    </a:lnTo>
                    <a:lnTo>
                      <a:pt x="1234" y="880"/>
                    </a:lnTo>
                    <a:lnTo>
                      <a:pt x="1242" y="879"/>
                    </a:lnTo>
                    <a:lnTo>
                      <a:pt x="1257" y="881"/>
                    </a:lnTo>
                    <a:lnTo>
                      <a:pt x="1275" y="883"/>
                    </a:lnTo>
                    <a:lnTo>
                      <a:pt x="1289" y="885"/>
                    </a:lnTo>
                    <a:lnTo>
                      <a:pt x="1307" y="890"/>
                    </a:lnTo>
                    <a:lnTo>
                      <a:pt x="1322" y="894"/>
                    </a:lnTo>
                    <a:lnTo>
                      <a:pt x="1334" y="898"/>
                    </a:lnTo>
                    <a:lnTo>
                      <a:pt x="1343" y="903"/>
                    </a:lnTo>
                    <a:lnTo>
                      <a:pt x="1346" y="907"/>
                    </a:lnTo>
                    <a:lnTo>
                      <a:pt x="1349" y="910"/>
                    </a:lnTo>
                    <a:lnTo>
                      <a:pt x="1351" y="915"/>
                    </a:lnTo>
                    <a:lnTo>
                      <a:pt x="1352" y="920"/>
                    </a:lnTo>
                    <a:lnTo>
                      <a:pt x="1353" y="927"/>
                    </a:lnTo>
                    <a:lnTo>
                      <a:pt x="1353" y="934"/>
                    </a:lnTo>
                    <a:lnTo>
                      <a:pt x="1353" y="942"/>
                    </a:lnTo>
                    <a:lnTo>
                      <a:pt x="1352" y="951"/>
                    </a:lnTo>
                    <a:lnTo>
                      <a:pt x="1346" y="973"/>
                    </a:lnTo>
                    <a:lnTo>
                      <a:pt x="1341" y="992"/>
                    </a:lnTo>
                    <a:lnTo>
                      <a:pt x="1341" y="997"/>
                    </a:lnTo>
                    <a:lnTo>
                      <a:pt x="1341" y="1000"/>
                    </a:lnTo>
                    <a:lnTo>
                      <a:pt x="1343" y="1004"/>
                    </a:lnTo>
                    <a:lnTo>
                      <a:pt x="1345" y="1008"/>
                    </a:lnTo>
                    <a:lnTo>
                      <a:pt x="1348" y="1011"/>
                    </a:lnTo>
                    <a:lnTo>
                      <a:pt x="1352" y="1013"/>
                    </a:lnTo>
                    <a:lnTo>
                      <a:pt x="1358" y="1016"/>
                    </a:lnTo>
                    <a:lnTo>
                      <a:pt x="1364" y="1017"/>
                    </a:lnTo>
                    <a:lnTo>
                      <a:pt x="1376" y="1020"/>
                    </a:lnTo>
                    <a:lnTo>
                      <a:pt x="1387" y="1022"/>
                    </a:lnTo>
                    <a:lnTo>
                      <a:pt x="1399" y="1024"/>
                    </a:lnTo>
                    <a:lnTo>
                      <a:pt x="1411" y="1024"/>
                    </a:lnTo>
                    <a:lnTo>
                      <a:pt x="1423" y="1024"/>
                    </a:lnTo>
                    <a:lnTo>
                      <a:pt x="1435" y="1023"/>
                    </a:lnTo>
                    <a:lnTo>
                      <a:pt x="1447" y="1020"/>
                    </a:lnTo>
                    <a:lnTo>
                      <a:pt x="1458" y="1018"/>
                    </a:lnTo>
                    <a:lnTo>
                      <a:pt x="1469" y="1016"/>
                    </a:lnTo>
                    <a:lnTo>
                      <a:pt x="1481" y="1013"/>
                    </a:lnTo>
                    <a:lnTo>
                      <a:pt x="1492" y="1009"/>
                    </a:lnTo>
                    <a:lnTo>
                      <a:pt x="1503" y="1004"/>
                    </a:lnTo>
                    <a:lnTo>
                      <a:pt x="1513" y="999"/>
                    </a:lnTo>
                    <a:lnTo>
                      <a:pt x="1523" y="993"/>
                    </a:lnTo>
                    <a:lnTo>
                      <a:pt x="1532" y="988"/>
                    </a:lnTo>
                    <a:lnTo>
                      <a:pt x="1541" y="981"/>
                    </a:lnTo>
                    <a:lnTo>
                      <a:pt x="1549" y="974"/>
                    </a:lnTo>
                    <a:lnTo>
                      <a:pt x="1557" y="966"/>
                    </a:lnTo>
                    <a:lnTo>
                      <a:pt x="1565" y="959"/>
                    </a:lnTo>
                    <a:lnTo>
                      <a:pt x="1570" y="950"/>
                    </a:lnTo>
                    <a:lnTo>
                      <a:pt x="1575" y="942"/>
                    </a:lnTo>
                    <a:lnTo>
                      <a:pt x="1581" y="932"/>
                    </a:lnTo>
                    <a:lnTo>
                      <a:pt x="1584" y="922"/>
                    </a:lnTo>
                    <a:lnTo>
                      <a:pt x="1587" y="912"/>
                    </a:lnTo>
                    <a:lnTo>
                      <a:pt x="1589" y="903"/>
                    </a:lnTo>
                    <a:lnTo>
                      <a:pt x="1590" y="892"/>
                    </a:lnTo>
                    <a:lnTo>
                      <a:pt x="1589" y="881"/>
                    </a:lnTo>
                    <a:lnTo>
                      <a:pt x="1586" y="869"/>
                    </a:lnTo>
                    <a:lnTo>
                      <a:pt x="1584" y="857"/>
                    </a:lnTo>
                    <a:lnTo>
                      <a:pt x="1580" y="846"/>
                    </a:lnTo>
                    <a:lnTo>
                      <a:pt x="1574" y="834"/>
                    </a:lnTo>
                    <a:lnTo>
                      <a:pt x="1567" y="822"/>
                    </a:lnTo>
                    <a:lnTo>
                      <a:pt x="1552" y="799"/>
                    </a:lnTo>
                    <a:lnTo>
                      <a:pt x="1536" y="777"/>
                    </a:lnTo>
                    <a:lnTo>
                      <a:pt x="1529" y="768"/>
                    </a:lnTo>
                    <a:lnTo>
                      <a:pt x="1522" y="758"/>
                    </a:lnTo>
                    <a:lnTo>
                      <a:pt x="1517" y="749"/>
                    </a:lnTo>
                    <a:lnTo>
                      <a:pt x="1514" y="740"/>
                    </a:lnTo>
                    <a:lnTo>
                      <a:pt x="1512" y="732"/>
                    </a:lnTo>
                    <a:lnTo>
                      <a:pt x="1512" y="723"/>
                    </a:lnTo>
                    <a:lnTo>
                      <a:pt x="1512" y="720"/>
                    </a:lnTo>
                    <a:lnTo>
                      <a:pt x="1513" y="716"/>
                    </a:lnTo>
                    <a:lnTo>
                      <a:pt x="1515" y="713"/>
                    </a:lnTo>
                    <a:lnTo>
                      <a:pt x="1518" y="709"/>
                    </a:lnTo>
                    <a:lnTo>
                      <a:pt x="1521" y="706"/>
                    </a:lnTo>
                    <a:lnTo>
                      <a:pt x="1526" y="703"/>
                    </a:lnTo>
                    <a:lnTo>
                      <a:pt x="1530" y="700"/>
                    </a:lnTo>
                    <a:lnTo>
                      <a:pt x="1536" y="696"/>
                    </a:lnTo>
                    <a:lnTo>
                      <a:pt x="1551" y="691"/>
                    </a:lnTo>
                    <a:lnTo>
                      <a:pt x="1568" y="686"/>
                    </a:lnTo>
                    <a:lnTo>
                      <a:pt x="1589" y="680"/>
                    </a:lnTo>
                    <a:lnTo>
                      <a:pt x="1611" y="673"/>
                    </a:lnTo>
                    <a:lnTo>
                      <a:pt x="1623" y="668"/>
                    </a:lnTo>
                    <a:lnTo>
                      <a:pt x="1635" y="663"/>
                    </a:lnTo>
                    <a:lnTo>
                      <a:pt x="1646" y="658"/>
                    </a:lnTo>
                    <a:lnTo>
                      <a:pt x="1658" y="651"/>
                    </a:lnTo>
                    <a:lnTo>
                      <a:pt x="1668" y="645"/>
                    </a:lnTo>
                    <a:lnTo>
                      <a:pt x="1677" y="637"/>
                    </a:lnTo>
                    <a:lnTo>
                      <a:pt x="1686" y="628"/>
                    </a:lnTo>
                    <a:lnTo>
                      <a:pt x="1694" y="620"/>
                    </a:lnTo>
                    <a:lnTo>
                      <a:pt x="1700" y="610"/>
                    </a:lnTo>
                    <a:lnTo>
                      <a:pt x="1704" y="599"/>
                    </a:lnTo>
                    <a:lnTo>
                      <a:pt x="1708" y="587"/>
                    </a:lnTo>
                    <a:lnTo>
                      <a:pt x="1709" y="576"/>
                    </a:lnTo>
                    <a:lnTo>
                      <a:pt x="1709" y="576"/>
                    </a:lnTo>
                    <a:lnTo>
                      <a:pt x="1702" y="574"/>
                    </a:lnTo>
                    <a:lnTo>
                      <a:pt x="1696" y="572"/>
                    </a:lnTo>
                    <a:lnTo>
                      <a:pt x="1689" y="569"/>
                    </a:lnTo>
                    <a:lnTo>
                      <a:pt x="1683" y="565"/>
                    </a:lnTo>
                    <a:lnTo>
                      <a:pt x="1671" y="556"/>
                    </a:lnTo>
                    <a:lnTo>
                      <a:pt x="1659" y="546"/>
                    </a:lnTo>
                    <a:lnTo>
                      <a:pt x="1648" y="536"/>
                    </a:lnTo>
                    <a:lnTo>
                      <a:pt x="1637" y="527"/>
                    </a:lnTo>
                    <a:lnTo>
                      <a:pt x="1632" y="524"/>
                    </a:lnTo>
                    <a:lnTo>
                      <a:pt x="1626" y="520"/>
                    </a:lnTo>
                    <a:lnTo>
                      <a:pt x="1622" y="518"/>
                    </a:lnTo>
                    <a:lnTo>
                      <a:pt x="1617" y="517"/>
                    </a:lnTo>
                    <a:lnTo>
                      <a:pt x="1615" y="503"/>
                    </a:lnTo>
                    <a:lnTo>
                      <a:pt x="1608" y="474"/>
                    </a:lnTo>
                    <a:lnTo>
                      <a:pt x="1604" y="458"/>
                    </a:lnTo>
                    <a:lnTo>
                      <a:pt x="1599" y="444"/>
                    </a:lnTo>
                    <a:lnTo>
                      <a:pt x="1596" y="433"/>
                    </a:lnTo>
                    <a:lnTo>
                      <a:pt x="1593" y="428"/>
                    </a:lnTo>
                    <a:lnTo>
                      <a:pt x="1582" y="418"/>
                    </a:lnTo>
                    <a:lnTo>
                      <a:pt x="1571" y="409"/>
                    </a:lnTo>
                    <a:lnTo>
                      <a:pt x="1559" y="401"/>
                    </a:lnTo>
                    <a:lnTo>
                      <a:pt x="1546" y="393"/>
                    </a:lnTo>
                    <a:lnTo>
                      <a:pt x="1534" y="384"/>
                    </a:lnTo>
                    <a:lnTo>
                      <a:pt x="1523" y="377"/>
                    </a:lnTo>
                    <a:lnTo>
                      <a:pt x="1513" y="367"/>
                    </a:lnTo>
                    <a:lnTo>
                      <a:pt x="1504" y="356"/>
                    </a:lnTo>
                    <a:lnTo>
                      <a:pt x="1497" y="349"/>
                    </a:lnTo>
                    <a:lnTo>
                      <a:pt x="1491" y="341"/>
                    </a:lnTo>
                    <a:lnTo>
                      <a:pt x="1484" y="336"/>
                    </a:lnTo>
                    <a:lnTo>
                      <a:pt x="1477" y="331"/>
                    </a:lnTo>
                    <a:lnTo>
                      <a:pt x="1470" y="327"/>
                    </a:lnTo>
                    <a:lnTo>
                      <a:pt x="1464" y="324"/>
                    </a:lnTo>
                    <a:lnTo>
                      <a:pt x="1457" y="322"/>
                    </a:lnTo>
                    <a:lnTo>
                      <a:pt x="1450" y="321"/>
                    </a:lnTo>
                    <a:lnTo>
                      <a:pt x="1437" y="320"/>
                    </a:lnTo>
                    <a:lnTo>
                      <a:pt x="1423" y="321"/>
                    </a:lnTo>
                    <a:lnTo>
                      <a:pt x="1410" y="323"/>
                    </a:lnTo>
                    <a:lnTo>
                      <a:pt x="1397" y="326"/>
                    </a:lnTo>
                    <a:lnTo>
                      <a:pt x="1384" y="329"/>
                    </a:lnTo>
                    <a:lnTo>
                      <a:pt x="1371" y="331"/>
                    </a:lnTo>
                    <a:lnTo>
                      <a:pt x="1360" y="334"/>
                    </a:lnTo>
                    <a:lnTo>
                      <a:pt x="1349" y="335"/>
                    </a:lnTo>
                    <a:lnTo>
                      <a:pt x="1344" y="334"/>
                    </a:lnTo>
                    <a:lnTo>
                      <a:pt x="1338" y="333"/>
                    </a:lnTo>
                    <a:lnTo>
                      <a:pt x="1334" y="330"/>
                    </a:lnTo>
                    <a:lnTo>
                      <a:pt x="1328" y="328"/>
                    </a:lnTo>
                    <a:lnTo>
                      <a:pt x="1325" y="325"/>
                    </a:lnTo>
                    <a:lnTo>
                      <a:pt x="1321" y="321"/>
                    </a:lnTo>
                    <a:lnTo>
                      <a:pt x="1316" y="315"/>
                    </a:lnTo>
                    <a:lnTo>
                      <a:pt x="1313" y="309"/>
                    </a:lnTo>
                    <a:lnTo>
                      <a:pt x="1306" y="293"/>
                    </a:lnTo>
                    <a:lnTo>
                      <a:pt x="1298" y="275"/>
                    </a:lnTo>
                    <a:lnTo>
                      <a:pt x="1292" y="258"/>
                    </a:lnTo>
                    <a:lnTo>
                      <a:pt x="1286" y="240"/>
                    </a:lnTo>
                    <a:lnTo>
                      <a:pt x="1283" y="221"/>
                    </a:lnTo>
                    <a:lnTo>
                      <a:pt x="1281" y="203"/>
                    </a:lnTo>
                    <a:lnTo>
                      <a:pt x="1281" y="194"/>
                    </a:lnTo>
                    <a:lnTo>
                      <a:pt x="1281" y="185"/>
                    </a:lnTo>
                    <a:lnTo>
                      <a:pt x="1282" y="175"/>
                    </a:lnTo>
                    <a:lnTo>
                      <a:pt x="1283" y="165"/>
                    </a:lnTo>
                    <a:lnTo>
                      <a:pt x="1289" y="137"/>
                    </a:lnTo>
                    <a:lnTo>
                      <a:pt x="1295" y="113"/>
                    </a:lnTo>
                    <a:lnTo>
                      <a:pt x="1297" y="102"/>
                    </a:lnTo>
                    <a:lnTo>
                      <a:pt x="1298" y="94"/>
                    </a:lnTo>
                    <a:lnTo>
                      <a:pt x="1298" y="85"/>
                    </a:lnTo>
                    <a:lnTo>
                      <a:pt x="1297" y="78"/>
                    </a:lnTo>
                    <a:lnTo>
                      <a:pt x="1295" y="72"/>
                    </a:lnTo>
                    <a:lnTo>
                      <a:pt x="1292" y="67"/>
                    </a:lnTo>
                    <a:lnTo>
                      <a:pt x="1286" y="63"/>
                    </a:lnTo>
                    <a:lnTo>
                      <a:pt x="1279" y="59"/>
                    </a:lnTo>
                    <a:lnTo>
                      <a:pt x="1270" y="57"/>
                    </a:lnTo>
                    <a:lnTo>
                      <a:pt x="1258" y="56"/>
                    </a:lnTo>
                    <a:lnTo>
                      <a:pt x="1244" y="55"/>
                    </a:lnTo>
                    <a:lnTo>
                      <a:pt x="1227" y="55"/>
                    </a:lnTo>
                    <a:lnTo>
                      <a:pt x="1214" y="55"/>
                    </a:lnTo>
                    <a:lnTo>
                      <a:pt x="1198" y="54"/>
                    </a:lnTo>
                    <a:lnTo>
                      <a:pt x="1184" y="51"/>
                    </a:lnTo>
                    <a:lnTo>
                      <a:pt x="1169" y="46"/>
                    </a:lnTo>
                    <a:lnTo>
                      <a:pt x="1140" y="36"/>
                    </a:lnTo>
                    <a:lnTo>
                      <a:pt x="1110" y="24"/>
                    </a:lnTo>
                    <a:lnTo>
                      <a:pt x="1081" y="12"/>
                    </a:lnTo>
                    <a:lnTo>
                      <a:pt x="1055" y="3"/>
                    </a:lnTo>
                    <a:lnTo>
                      <a:pt x="1042" y="1"/>
                    </a:lnTo>
                    <a:lnTo>
                      <a:pt x="1031" y="0"/>
                    </a:lnTo>
                    <a:lnTo>
                      <a:pt x="1021" y="0"/>
                    </a:lnTo>
                    <a:lnTo>
                      <a:pt x="1011" y="2"/>
                    </a:lnTo>
                    <a:lnTo>
                      <a:pt x="843" y="2"/>
                    </a:lnTo>
                    <a:lnTo>
                      <a:pt x="843" y="2"/>
                    </a:lnTo>
                    <a:lnTo>
                      <a:pt x="837" y="28"/>
                    </a:lnTo>
                    <a:lnTo>
                      <a:pt x="831" y="54"/>
                    </a:lnTo>
                    <a:lnTo>
                      <a:pt x="822" y="80"/>
                    </a:lnTo>
                    <a:lnTo>
                      <a:pt x="814" y="106"/>
                    </a:lnTo>
                    <a:lnTo>
                      <a:pt x="804" y="132"/>
                    </a:lnTo>
                    <a:lnTo>
                      <a:pt x="793" y="156"/>
                    </a:lnTo>
                    <a:lnTo>
                      <a:pt x="781" y="182"/>
                    </a:lnTo>
                    <a:lnTo>
                      <a:pt x="769" y="207"/>
                    </a:lnTo>
                    <a:lnTo>
                      <a:pt x="744" y="257"/>
                    </a:lnTo>
                    <a:lnTo>
                      <a:pt x="717" y="304"/>
                    </a:lnTo>
                    <a:lnTo>
                      <a:pt x="691" y="351"/>
                    </a:lnTo>
                    <a:lnTo>
                      <a:pt x="664" y="395"/>
                    </a:lnTo>
                    <a:lnTo>
                      <a:pt x="649" y="421"/>
                    </a:lnTo>
                    <a:lnTo>
                      <a:pt x="635" y="448"/>
                    </a:lnTo>
                    <a:lnTo>
                      <a:pt x="621" y="475"/>
                    </a:lnTo>
                    <a:lnTo>
                      <a:pt x="608" y="501"/>
                    </a:lnTo>
                    <a:lnTo>
                      <a:pt x="584" y="554"/>
                    </a:lnTo>
                    <a:lnTo>
                      <a:pt x="560" y="606"/>
                    </a:lnTo>
                    <a:lnTo>
                      <a:pt x="548" y="632"/>
                    </a:lnTo>
                    <a:lnTo>
                      <a:pt x="535" y="658"/>
                    </a:lnTo>
                    <a:lnTo>
                      <a:pt x="522" y="682"/>
                    </a:lnTo>
                    <a:lnTo>
                      <a:pt x="507" y="707"/>
                    </a:lnTo>
                    <a:lnTo>
                      <a:pt x="492" y="732"/>
                    </a:lnTo>
                    <a:lnTo>
                      <a:pt x="474" y="757"/>
                    </a:lnTo>
                    <a:lnTo>
                      <a:pt x="456" y="781"/>
                    </a:lnTo>
                    <a:lnTo>
                      <a:pt x="435" y="804"/>
                    </a:lnTo>
                    <a:lnTo>
                      <a:pt x="431" y="822"/>
                    </a:lnTo>
                    <a:lnTo>
                      <a:pt x="426" y="839"/>
                    </a:lnTo>
                    <a:lnTo>
                      <a:pt x="420" y="855"/>
                    </a:lnTo>
                    <a:lnTo>
                      <a:pt x="414" y="871"/>
                    </a:lnTo>
                    <a:lnTo>
                      <a:pt x="401" y="902"/>
                    </a:lnTo>
                    <a:lnTo>
                      <a:pt x="386" y="931"/>
                    </a:lnTo>
                    <a:lnTo>
                      <a:pt x="369" y="959"/>
                    </a:lnTo>
                    <a:lnTo>
                      <a:pt x="352" y="986"/>
                    </a:lnTo>
                    <a:lnTo>
                      <a:pt x="334" y="1011"/>
                    </a:lnTo>
                    <a:lnTo>
                      <a:pt x="314" y="1036"/>
                    </a:lnTo>
                    <a:lnTo>
                      <a:pt x="273" y="1085"/>
                    </a:lnTo>
                    <a:lnTo>
                      <a:pt x="230" y="1134"/>
                    </a:lnTo>
                    <a:lnTo>
                      <a:pt x="209" y="1159"/>
                    </a:lnTo>
                    <a:lnTo>
                      <a:pt x="187" y="1185"/>
                    </a:lnTo>
                    <a:lnTo>
                      <a:pt x="167" y="1212"/>
                    </a:lnTo>
                    <a:lnTo>
                      <a:pt x="146" y="1240"/>
                    </a:lnTo>
                    <a:lnTo>
                      <a:pt x="141" y="1247"/>
                    </a:lnTo>
                    <a:lnTo>
                      <a:pt x="134" y="1254"/>
                    </a:lnTo>
                    <a:lnTo>
                      <a:pt x="128" y="1261"/>
                    </a:lnTo>
                    <a:lnTo>
                      <a:pt x="119" y="1268"/>
                    </a:lnTo>
                    <a:lnTo>
                      <a:pt x="102" y="1281"/>
                    </a:lnTo>
                    <a:lnTo>
                      <a:pt x="83" y="1293"/>
                    </a:lnTo>
                    <a:lnTo>
                      <a:pt x="41" y="1316"/>
                    </a:lnTo>
                    <a:lnTo>
                      <a:pt x="0" y="1340"/>
                    </a:lnTo>
                    <a:lnTo>
                      <a:pt x="0" y="1340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10" name="Freeform 25">
                <a:extLst>
                  <a:ext uri="{FF2B5EF4-FFF2-40B4-BE49-F238E27FC236}">
                    <a16:creationId xmlns:a16="http://schemas.microsoft.com/office/drawing/2014/main" id="{8C5A492C-A2B2-4168-BBC2-29E500C67C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50713" y="-812395"/>
                <a:ext cx="1158875" cy="1049338"/>
              </a:xfrm>
              <a:custGeom>
                <a:avLst/>
                <a:gdLst>
                  <a:gd name="T0" fmla="*/ 706 w 2922"/>
                  <a:gd name="T1" fmla="*/ 159 h 2644"/>
                  <a:gd name="T2" fmla="*/ 883 w 2922"/>
                  <a:gd name="T3" fmla="*/ 138 h 2644"/>
                  <a:gd name="T4" fmla="*/ 1046 w 2922"/>
                  <a:gd name="T5" fmla="*/ 101 h 2644"/>
                  <a:gd name="T6" fmla="*/ 1179 w 2922"/>
                  <a:gd name="T7" fmla="*/ 247 h 2644"/>
                  <a:gd name="T8" fmla="*/ 1407 w 2922"/>
                  <a:gd name="T9" fmla="*/ 260 h 2644"/>
                  <a:gd name="T10" fmla="*/ 1551 w 2922"/>
                  <a:gd name="T11" fmla="*/ 148 h 2644"/>
                  <a:gd name="T12" fmla="*/ 1702 w 2922"/>
                  <a:gd name="T13" fmla="*/ 152 h 2644"/>
                  <a:gd name="T14" fmla="*/ 2148 w 2922"/>
                  <a:gd name="T15" fmla="*/ 45 h 2644"/>
                  <a:gd name="T16" fmla="*/ 2169 w 2922"/>
                  <a:gd name="T17" fmla="*/ 177 h 2644"/>
                  <a:gd name="T18" fmla="*/ 2056 w 2922"/>
                  <a:gd name="T19" fmla="*/ 309 h 2644"/>
                  <a:gd name="T20" fmla="*/ 2017 w 2922"/>
                  <a:gd name="T21" fmla="*/ 462 h 2644"/>
                  <a:gd name="T22" fmla="*/ 1944 w 2922"/>
                  <a:gd name="T23" fmla="*/ 610 h 2644"/>
                  <a:gd name="T24" fmla="*/ 1866 w 2922"/>
                  <a:gd name="T25" fmla="*/ 694 h 2644"/>
                  <a:gd name="T26" fmla="*/ 1963 w 2922"/>
                  <a:gd name="T27" fmla="*/ 827 h 2644"/>
                  <a:gd name="T28" fmla="*/ 1949 w 2922"/>
                  <a:gd name="T29" fmla="*/ 1092 h 2644"/>
                  <a:gd name="T30" fmla="*/ 1858 w 2922"/>
                  <a:gd name="T31" fmla="*/ 1237 h 2644"/>
                  <a:gd name="T32" fmla="*/ 1749 w 2922"/>
                  <a:gd name="T33" fmla="*/ 1403 h 2644"/>
                  <a:gd name="T34" fmla="*/ 1737 w 2922"/>
                  <a:gd name="T35" fmla="*/ 1548 h 2644"/>
                  <a:gd name="T36" fmla="*/ 1893 w 2922"/>
                  <a:gd name="T37" fmla="*/ 1531 h 2644"/>
                  <a:gd name="T38" fmla="*/ 1950 w 2922"/>
                  <a:gd name="T39" fmla="*/ 1601 h 2644"/>
                  <a:gd name="T40" fmla="*/ 2075 w 2922"/>
                  <a:gd name="T41" fmla="*/ 1511 h 2644"/>
                  <a:gd name="T42" fmla="*/ 2002 w 2922"/>
                  <a:gd name="T43" fmla="*/ 1449 h 2644"/>
                  <a:gd name="T44" fmla="*/ 2139 w 2922"/>
                  <a:gd name="T45" fmla="*/ 1275 h 2644"/>
                  <a:gd name="T46" fmla="*/ 2316 w 2922"/>
                  <a:gd name="T47" fmla="*/ 1133 h 2644"/>
                  <a:gd name="T48" fmla="*/ 2583 w 2922"/>
                  <a:gd name="T49" fmla="*/ 1245 h 2644"/>
                  <a:gd name="T50" fmla="*/ 2739 w 2922"/>
                  <a:gd name="T51" fmla="*/ 1293 h 2644"/>
                  <a:gd name="T52" fmla="*/ 2592 w 2922"/>
                  <a:gd name="T53" fmla="*/ 1439 h 2644"/>
                  <a:gd name="T54" fmla="*/ 2532 w 2922"/>
                  <a:gd name="T55" fmla="*/ 1564 h 2644"/>
                  <a:gd name="T56" fmla="*/ 2755 w 2922"/>
                  <a:gd name="T57" fmla="*/ 1691 h 2644"/>
                  <a:gd name="T58" fmla="*/ 2816 w 2922"/>
                  <a:gd name="T59" fmla="*/ 1933 h 2644"/>
                  <a:gd name="T60" fmla="*/ 2759 w 2922"/>
                  <a:gd name="T61" fmla="*/ 1986 h 2644"/>
                  <a:gd name="T62" fmla="*/ 2453 w 2922"/>
                  <a:gd name="T63" fmla="*/ 2059 h 2644"/>
                  <a:gd name="T64" fmla="*/ 2212 w 2922"/>
                  <a:gd name="T65" fmla="*/ 2034 h 2644"/>
                  <a:gd name="T66" fmla="*/ 2084 w 2922"/>
                  <a:gd name="T67" fmla="*/ 2190 h 2644"/>
                  <a:gd name="T68" fmla="*/ 1831 w 2922"/>
                  <a:gd name="T69" fmla="*/ 2618 h 2644"/>
                  <a:gd name="T70" fmla="*/ 1758 w 2922"/>
                  <a:gd name="T71" fmla="*/ 2551 h 2644"/>
                  <a:gd name="T72" fmla="*/ 1678 w 2922"/>
                  <a:gd name="T73" fmla="*/ 2641 h 2644"/>
                  <a:gd name="T74" fmla="*/ 1533 w 2922"/>
                  <a:gd name="T75" fmla="*/ 2520 h 2644"/>
                  <a:gd name="T76" fmla="*/ 1264 w 2922"/>
                  <a:gd name="T77" fmla="*/ 2309 h 2644"/>
                  <a:gd name="T78" fmla="*/ 1094 w 2922"/>
                  <a:gd name="T79" fmla="*/ 2268 h 2644"/>
                  <a:gd name="T80" fmla="*/ 1096 w 2922"/>
                  <a:gd name="T81" fmla="*/ 2149 h 2644"/>
                  <a:gd name="T82" fmla="*/ 969 w 2922"/>
                  <a:gd name="T83" fmla="*/ 2057 h 2644"/>
                  <a:gd name="T84" fmla="*/ 819 w 2922"/>
                  <a:gd name="T85" fmla="*/ 2109 h 2644"/>
                  <a:gd name="T86" fmla="*/ 751 w 2922"/>
                  <a:gd name="T87" fmla="*/ 2233 h 2644"/>
                  <a:gd name="T88" fmla="*/ 571 w 2922"/>
                  <a:gd name="T89" fmla="*/ 2189 h 2644"/>
                  <a:gd name="T90" fmla="*/ 571 w 2922"/>
                  <a:gd name="T91" fmla="*/ 2013 h 2644"/>
                  <a:gd name="T92" fmla="*/ 435 w 2922"/>
                  <a:gd name="T93" fmla="*/ 2027 h 2644"/>
                  <a:gd name="T94" fmla="*/ 332 w 2922"/>
                  <a:gd name="T95" fmla="*/ 1788 h 2644"/>
                  <a:gd name="T96" fmla="*/ 242 w 2922"/>
                  <a:gd name="T97" fmla="*/ 1704 h 2644"/>
                  <a:gd name="T98" fmla="*/ 114 w 2922"/>
                  <a:gd name="T99" fmla="*/ 1470 h 2644"/>
                  <a:gd name="T100" fmla="*/ 187 w 2922"/>
                  <a:gd name="T101" fmla="*/ 1268 h 2644"/>
                  <a:gd name="T102" fmla="*/ 112 w 2922"/>
                  <a:gd name="T103" fmla="*/ 1207 h 2644"/>
                  <a:gd name="T104" fmla="*/ 174 w 2922"/>
                  <a:gd name="T105" fmla="*/ 1105 h 2644"/>
                  <a:gd name="T106" fmla="*/ 67 w 2922"/>
                  <a:gd name="T107" fmla="*/ 1002 h 2644"/>
                  <a:gd name="T108" fmla="*/ 3 w 2922"/>
                  <a:gd name="T109" fmla="*/ 894 h 2644"/>
                  <a:gd name="T110" fmla="*/ 150 w 2922"/>
                  <a:gd name="T111" fmla="*/ 797 h 2644"/>
                  <a:gd name="T112" fmla="*/ 184 w 2922"/>
                  <a:gd name="T113" fmla="*/ 904 h 2644"/>
                  <a:gd name="T114" fmla="*/ 290 w 2922"/>
                  <a:gd name="T115" fmla="*/ 927 h 2644"/>
                  <a:gd name="T116" fmla="*/ 418 w 2922"/>
                  <a:gd name="T117" fmla="*/ 849 h 2644"/>
                  <a:gd name="T118" fmla="*/ 372 w 2922"/>
                  <a:gd name="T119" fmla="*/ 675 h 2644"/>
                  <a:gd name="T120" fmla="*/ 394 w 2922"/>
                  <a:gd name="T121" fmla="*/ 598 h 2644"/>
                  <a:gd name="T122" fmla="*/ 551 w 2922"/>
                  <a:gd name="T123" fmla="*/ 494 h 2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922" h="2644">
                    <a:moveTo>
                      <a:pt x="552" y="483"/>
                    </a:moveTo>
                    <a:lnTo>
                      <a:pt x="673" y="423"/>
                    </a:lnTo>
                    <a:lnTo>
                      <a:pt x="680" y="402"/>
                    </a:lnTo>
                    <a:lnTo>
                      <a:pt x="685" y="378"/>
                    </a:lnTo>
                    <a:lnTo>
                      <a:pt x="691" y="353"/>
                    </a:lnTo>
                    <a:lnTo>
                      <a:pt x="695" y="327"/>
                    </a:lnTo>
                    <a:lnTo>
                      <a:pt x="698" y="300"/>
                    </a:lnTo>
                    <a:lnTo>
                      <a:pt x="700" y="275"/>
                    </a:lnTo>
                    <a:lnTo>
                      <a:pt x="701" y="249"/>
                    </a:lnTo>
                    <a:lnTo>
                      <a:pt x="702" y="227"/>
                    </a:lnTo>
                    <a:lnTo>
                      <a:pt x="702" y="196"/>
                    </a:lnTo>
                    <a:lnTo>
                      <a:pt x="704" y="174"/>
                    </a:lnTo>
                    <a:lnTo>
                      <a:pt x="705" y="166"/>
                    </a:lnTo>
                    <a:lnTo>
                      <a:pt x="706" y="159"/>
                    </a:lnTo>
                    <a:lnTo>
                      <a:pt x="708" y="154"/>
                    </a:lnTo>
                    <a:lnTo>
                      <a:pt x="711" y="150"/>
                    </a:lnTo>
                    <a:lnTo>
                      <a:pt x="715" y="148"/>
                    </a:lnTo>
                    <a:lnTo>
                      <a:pt x="721" y="146"/>
                    </a:lnTo>
                    <a:lnTo>
                      <a:pt x="727" y="146"/>
                    </a:lnTo>
                    <a:lnTo>
                      <a:pt x="736" y="146"/>
                    </a:lnTo>
                    <a:lnTo>
                      <a:pt x="757" y="148"/>
                    </a:lnTo>
                    <a:lnTo>
                      <a:pt x="785" y="152"/>
                    </a:lnTo>
                    <a:lnTo>
                      <a:pt x="795" y="153"/>
                    </a:lnTo>
                    <a:lnTo>
                      <a:pt x="805" y="153"/>
                    </a:lnTo>
                    <a:lnTo>
                      <a:pt x="817" y="153"/>
                    </a:lnTo>
                    <a:lnTo>
                      <a:pt x="830" y="151"/>
                    </a:lnTo>
                    <a:lnTo>
                      <a:pt x="856" y="146"/>
                    </a:lnTo>
                    <a:lnTo>
                      <a:pt x="883" y="138"/>
                    </a:lnTo>
                    <a:lnTo>
                      <a:pt x="910" y="130"/>
                    </a:lnTo>
                    <a:lnTo>
                      <a:pt x="935" y="121"/>
                    </a:lnTo>
                    <a:lnTo>
                      <a:pt x="959" y="112"/>
                    </a:lnTo>
                    <a:lnTo>
                      <a:pt x="979" y="103"/>
                    </a:lnTo>
                    <a:lnTo>
                      <a:pt x="1002" y="94"/>
                    </a:lnTo>
                    <a:lnTo>
                      <a:pt x="1018" y="87"/>
                    </a:lnTo>
                    <a:lnTo>
                      <a:pt x="1024" y="85"/>
                    </a:lnTo>
                    <a:lnTo>
                      <a:pt x="1030" y="84"/>
                    </a:lnTo>
                    <a:lnTo>
                      <a:pt x="1034" y="84"/>
                    </a:lnTo>
                    <a:lnTo>
                      <a:pt x="1037" y="85"/>
                    </a:lnTo>
                    <a:lnTo>
                      <a:pt x="1039" y="87"/>
                    </a:lnTo>
                    <a:lnTo>
                      <a:pt x="1043" y="90"/>
                    </a:lnTo>
                    <a:lnTo>
                      <a:pt x="1044" y="95"/>
                    </a:lnTo>
                    <a:lnTo>
                      <a:pt x="1046" y="101"/>
                    </a:lnTo>
                    <a:lnTo>
                      <a:pt x="1050" y="116"/>
                    </a:lnTo>
                    <a:lnTo>
                      <a:pt x="1055" y="138"/>
                    </a:lnTo>
                    <a:lnTo>
                      <a:pt x="1059" y="150"/>
                    </a:lnTo>
                    <a:lnTo>
                      <a:pt x="1064" y="161"/>
                    </a:lnTo>
                    <a:lnTo>
                      <a:pt x="1071" y="171"/>
                    </a:lnTo>
                    <a:lnTo>
                      <a:pt x="1078" y="182"/>
                    </a:lnTo>
                    <a:lnTo>
                      <a:pt x="1088" y="192"/>
                    </a:lnTo>
                    <a:lnTo>
                      <a:pt x="1098" y="202"/>
                    </a:lnTo>
                    <a:lnTo>
                      <a:pt x="1110" y="210"/>
                    </a:lnTo>
                    <a:lnTo>
                      <a:pt x="1122" y="219"/>
                    </a:lnTo>
                    <a:lnTo>
                      <a:pt x="1136" y="227"/>
                    </a:lnTo>
                    <a:lnTo>
                      <a:pt x="1150" y="234"/>
                    </a:lnTo>
                    <a:lnTo>
                      <a:pt x="1164" y="241"/>
                    </a:lnTo>
                    <a:lnTo>
                      <a:pt x="1179" y="247"/>
                    </a:lnTo>
                    <a:lnTo>
                      <a:pt x="1196" y="252"/>
                    </a:lnTo>
                    <a:lnTo>
                      <a:pt x="1212" y="258"/>
                    </a:lnTo>
                    <a:lnTo>
                      <a:pt x="1228" y="262"/>
                    </a:lnTo>
                    <a:lnTo>
                      <a:pt x="1245" y="265"/>
                    </a:lnTo>
                    <a:lnTo>
                      <a:pt x="1263" y="269"/>
                    </a:lnTo>
                    <a:lnTo>
                      <a:pt x="1279" y="271"/>
                    </a:lnTo>
                    <a:lnTo>
                      <a:pt x="1296" y="272"/>
                    </a:lnTo>
                    <a:lnTo>
                      <a:pt x="1313" y="273"/>
                    </a:lnTo>
                    <a:lnTo>
                      <a:pt x="1330" y="273"/>
                    </a:lnTo>
                    <a:lnTo>
                      <a:pt x="1346" y="272"/>
                    </a:lnTo>
                    <a:lnTo>
                      <a:pt x="1362" y="270"/>
                    </a:lnTo>
                    <a:lnTo>
                      <a:pt x="1378" y="268"/>
                    </a:lnTo>
                    <a:lnTo>
                      <a:pt x="1392" y="264"/>
                    </a:lnTo>
                    <a:lnTo>
                      <a:pt x="1407" y="260"/>
                    </a:lnTo>
                    <a:lnTo>
                      <a:pt x="1420" y="256"/>
                    </a:lnTo>
                    <a:lnTo>
                      <a:pt x="1432" y="249"/>
                    </a:lnTo>
                    <a:lnTo>
                      <a:pt x="1444" y="243"/>
                    </a:lnTo>
                    <a:lnTo>
                      <a:pt x="1455" y="235"/>
                    </a:lnTo>
                    <a:lnTo>
                      <a:pt x="1463" y="227"/>
                    </a:lnTo>
                    <a:lnTo>
                      <a:pt x="1472" y="217"/>
                    </a:lnTo>
                    <a:lnTo>
                      <a:pt x="1498" y="181"/>
                    </a:lnTo>
                    <a:lnTo>
                      <a:pt x="1516" y="157"/>
                    </a:lnTo>
                    <a:lnTo>
                      <a:pt x="1523" y="151"/>
                    </a:lnTo>
                    <a:lnTo>
                      <a:pt x="1528" y="146"/>
                    </a:lnTo>
                    <a:lnTo>
                      <a:pt x="1534" y="143"/>
                    </a:lnTo>
                    <a:lnTo>
                      <a:pt x="1539" y="142"/>
                    </a:lnTo>
                    <a:lnTo>
                      <a:pt x="1544" y="144"/>
                    </a:lnTo>
                    <a:lnTo>
                      <a:pt x="1551" y="148"/>
                    </a:lnTo>
                    <a:lnTo>
                      <a:pt x="1557" y="153"/>
                    </a:lnTo>
                    <a:lnTo>
                      <a:pt x="1566" y="161"/>
                    </a:lnTo>
                    <a:lnTo>
                      <a:pt x="1576" y="169"/>
                    </a:lnTo>
                    <a:lnTo>
                      <a:pt x="1589" y="179"/>
                    </a:lnTo>
                    <a:lnTo>
                      <a:pt x="1604" y="190"/>
                    </a:lnTo>
                    <a:lnTo>
                      <a:pt x="1621" y="202"/>
                    </a:lnTo>
                    <a:lnTo>
                      <a:pt x="1625" y="203"/>
                    </a:lnTo>
                    <a:lnTo>
                      <a:pt x="1627" y="203"/>
                    </a:lnTo>
                    <a:lnTo>
                      <a:pt x="1631" y="202"/>
                    </a:lnTo>
                    <a:lnTo>
                      <a:pt x="1634" y="201"/>
                    </a:lnTo>
                    <a:lnTo>
                      <a:pt x="1643" y="197"/>
                    </a:lnTo>
                    <a:lnTo>
                      <a:pt x="1653" y="191"/>
                    </a:lnTo>
                    <a:lnTo>
                      <a:pt x="1676" y="174"/>
                    </a:lnTo>
                    <a:lnTo>
                      <a:pt x="1702" y="152"/>
                    </a:lnTo>
                    <a:lnTo>
                      <a:pt x="1727" y="129"/>
                    </a:lnTo>
                    <a:lnTo>
                      <a:pt x="1751" y="107"/>
                    </a:lnTo>
                    <a:lnTo>
                      <a:pt x="1762" y="97"/>
                    </a:lnTo>
                    <a:lnTo>
                      <a:pt x="1773" y="89"/>
                    </a:lnTo>
                    <a:lnTo>
                      <a:pt x="1782" y="82"/>
                    </a:lnTo>
                    <a:lnTo>
                      <a:pt x="1790" y="78"/>
                    </a:lnTo>
                    <a:lnTo>
                      <a:pt x="1893" y="70"/>
                    </a:lnTo>
                    <a:lnTo>
                      <a:pt x="1970" y="0"/>
                    </a:lnTo>
                    <a:lnTo>
                      <a:pt x="1970" y="0"/>
                    </a:lnTo>
                    <a:lnTo>
                      <a:pt x="2120" y="38"/>
                    </a:lnTo>
                    <a:lnTo>
                      <a:pt x="2127" y="39"/>
                    </a:lnTo>
                    <a:lnTo>
                      <a:pt x="2135" y="40"/>
                    </a:lnTo>
                    <a:lnTo>
                      <a:pt x="2142" y="43"/>
                    </a:lnTo>
                    <a:lnTo>
                      <a:pt x="2148" y="45"/>
                    </a:lnTo>
                    <a:lnTo>
                      <a:pt x="2154" y="49"/>
                    </a:lnTo>
                    <a:lnTo>
                      <a:pt x="2159" y="53"/>
                    </a:lnTo>
                    <a:lnTo>
                      <a:pt x="2163" y="58"/>
                    </a:lnTo>
                    <a:lnTo>
                      <a:pt x="2167" y="62"/>
                    </a:lnTo>
                    <a:lnTo>
                      <a:pt x="2170" y="68"/>
                    </a:lnTo>
                    <a:lnTo>
                      <a:pt x="2173" y="74"/>
                    </a:lnTo>
                    <a:lnTo>
                      <a:pt x="2175" y="80"/>
                    </a:lnTo>
                    <a:lnTo>
                      <a:pt x="2176" y="86"/>
                    </a:lnTo>
                    <a:lnTo>
                      <a:pt x="2178" y="100"/>
                    </a:lnTo>
                    <a:lnTo>
                      <a:pt x="2180" y="115"/>
                    </a:lnTo>
                    <a:lnTo>
                      <a:pt x="2178" y="130"/>
                    </a:lnTo>
                    <a:lnTo>
                      <a:pt x="2176" y="146"/>
                    </a:lnTo>
                    <a:lnTo>
                      <a:pt x="2173" y="162"/>
                    </a:lnTo>
                    <a:lnTo>
                      <a:pt x="2169" y="177"/>
                    </a:lnTo>
                    <a:lnTo>
                      <a:pt x="2163" y="192"/>
                    </a:lnTo>
                    <a:lnTo>
                      <a:pt x="2158" y="206"/>
                    </a:lnTo>
                    <a:lnTo>
                      <a:pt x="2152" y="219"/>
                    </a:lnTo>
                    <a:lnTo>
                      <a:pt x="2146" y="231"/>
                    </a:lnTo>
                    <a:lnTo>
                      <a:pt x="2139" y="242"/>
                    </a:lnTo>
                    <a:lnTo>
                      <a:pt x="2132" y="251"/>
                    </a:lnTo>
                    <a:lnTo>
                      <a:pt x="2124" y="258"/>
                    </a:lnTo>
                    <a:lnTo>
                      <a:pt x="2116" y="264"/>
                    </a:lnTo>
                    <a:lnTo>
                      <a:pt x="2099" y="275"/>
                    </a:lnTo>
                    <a:lnTo>
                      <a:pt x="2082" y="285"/>
                    </a:lnTo>
                    <a:lnTo>
                      <a:pt x="2074" y="289"/>
                    </a:lnTo>
                    <a:lnTo>
                      <a:pt x="2068" y="295"/>
                    </a:lnTo>
                    <a:lnTo>
                      <a:pt x="2061" y="301"/>
                    </a:lnTo>
                    <a:lnTo>
                      <a:pt x="2056" y="309"/>
                    </a:lnTo>
                    <a:lnTo>
                      <a:pt x="2052" y="317"/>
                    </a:lnTo>
                    <a:lnTo>
                      <a:pt x="2047" y="327"/>
                    </a:lnTo>
                    <a:lnTo>
                      <a:pt x="2045" y="340"/>
                    </a:lnTo>
                    <a:lnTo>
                      <a:pt x="2045" y="354"/>
                    </a:lnTo>
                    <a:lnTo>
                      <a:pt x="2045" y="384"/>
                    </a:lnTo>
                    <a:lnTo>
                      <a:pt x="2044" y="408"/>
                    </a:lnTo>
                    <a:lnTo>
                      <a:pt x="2044" y="418"/>
                    </a:lnTo>
                    <a:lnTo>
                      <a:pt x="2042" y="425"/>
                    </a:lnTo>
                    <a:lnTo>
                      <a:pt x="2041" y="433"/>
                    </a:lnTo>
                    <a:lnTo>
                      <a:pt x="2038" y="439"/>
                    </a:lnTo>
                    <a:lnTo>
                      <a:pt x="2034" y="446"/>
                    </a:lnTo>
                    <a:lnTo>
                      <a:pt x="2030" y="451"/>
                    </a:lnTo>
                    <a:lnTo>
                      <a:pt x="2025" y="457"/>
                    </a:lnTo>
                    <a:lnTo>
                      <a:pt x="2017" y="462"/>
                    </a:lnTo>
                    <a:lnTo>
                      <a:pt x="2000" y="473"/>
                    </a:lnTo>
                    <a:lnTo>
                      <a:pt x="1975" y="487"/>
                    </a:lnTo>
                    <a:lnTo>
                      <a:pt x="1964" y="493"/>
                    </a:lnTo>
                    <a:lnTo>
                      <a:pt x="1955" y="499"/>
                    </a:lnTo>
                    <a:lnTo>
                      <a:pt x="1949" y="505"/>
                    </a:lnTo>
                    <a:lnTo>
                      <a:pt x="1943" y="511"/>
                    </a:lnTo>
                    <a:lnTo>
                      <a:pt x="1940" y="516"/>
                    </a:lnTo>
                    <a:lnTo>
                      <a:pt x="1938" y="521"/>
                    </a:lnTo>
                    <a:lnTo>
                      <a:pt x="1937" y="528"/>
                    </a:lnTo>
                    <a:lnTo>
                      <a:pt x="1937" y="533"/>
                    </a:lnTo>
                    <a:lnTo>
                      <a:pt x="1942" y="561"/>
                    </a:lnTo>
                    <a:lnTo>
                      <a:pt x="1947" y="598"/>
                    </a:lnTo>
                    <a:lnTo>
                      <a:pt x="1945" y="603"/>
                    </a:lnTo>
                    <a:lnTo>
                      <a:pt x="1944" y="610"/>
                    </a:lnTo>
                    <a:lnTo>
                      <a:pt x="1942" y="614"/>
                    </a:lnTo>
                    <a:lnTo>
                      <a:pt x="1940" y="620"/>
                    </a:lnTo>
                    <a:lnTo>
                      <a:pt x="1934" y="628"/>
                    </a:lnTo>
                    <a:lnTo>
                      <a:pt x="1925" y="635"/>
                    </a:lnTo>
                    <a:lnTo>
                      <a:pt x="1905" y="647"/>
                    </a:lnTo>
                    <a:lnTo>
                      <a:pt x="1885" y="657"/>
                    </a:lnTo>
                    <a:lnTo>
                      <a:pt x="1877" y="663"/>
                    </a:lnTo>
                    <a:lnTo>
                      <a:pt x="1870" y="669"/>
                    </a:lnTo>
                    <a:lnTo>
                      <a:pt x="1867" y="673"/>
                    </a:lnTo>
                    <a:lnTo>
                      <a:pt x="1866" y="676"/>
                    </a:lnTo>
                    <a:lnTo>
                      <a:pt x="1864" y="680"/>
                    </a:lnTo>
                    <a:lnTo>
                      <a:pt x="1864" y="684"/>
                    </a:lnTo>
                    <a:lnTo>
                      <a:pt x="1865" y="689"/>
                    </a:lnTo>
                    <a:lnTo>
                      <a:pt x="1866" y="694"/>
                    </a:lnTo>
                    <a:lnTo>
                      <a:pt x="1868" y="700"/>
                    </a:lnTo>
                    <a:lnTo>
                      <a:pt x="1873" y="705"/>
                    </a:lnTo>
                    <a:lnTo>
                      <a:pt x="1877" y="711"/>
                    </a:lnTo>
                    <a:lnTo>
                      <a:pt x="1884" y="719"/>
                    </a:lnTo>
                    <a:lnTo>
                      <a:pt x="1890" y="727"/>
                    </a:lnTo>
                    <a:lnTo>
                      <a:pt x="1899" y="735"/>
                    </a:lnTo>
                    <a:lnTo>
                      <a:pt x="1918" y="754"/>
                    </a:lnTo>
                    <a:lnTo>
                      <a:pt x="1934" y="771"/>
                    </a:lnTo>
                    <a:lnTo>
                      <a:pt x="1940" y="781"/>
                    </a:lnTo>
                    <a:lnTo>
                      <a:pt x="1947" y="789"/>
                    </a:lnTo>
                    <a:lnTo>
                      <a:pt x="1951" y="798"/>
                    </a:lnTo>
                    <a:lnTo>
                      <a:pt x="1955" y="808"/>
                    </a:lnTo>
                    <a:lnTo>
                      <a:pt x="1960" y="817"/>
                    </a:lnTo>
                    <a:lnTo>
                      <a:pt x="1963" y="827"/>
                    </a:lnTo>
                    <a:lnTo>
                      <a:pt x="1965" y="838"/>
                    </a:lnTo>
                    <a:lnTo>
                      <a:pt x="1967" y="849"/>
                    </a:lnTo>
                    <a:lnTo>
                      <a:pt x="1969" y="872"/>
                    </a:lnTo>
                    <a:lnTo>
                      <a:pt x="1970" y="899"/>
                    </a:lnTo>
                    <a:lnTo>
                      <a:pt x="1970" y="913"/>
                    </a:lnTo>
                    <a:lnTo>
                      <a:pt x="1971" y="930"/>
                    </a:lnTo>
                    <a:lnTo>
                      <a:pt x="1970" y="947"/>
                    </a:lnTo>
                    <a:lnTo>
                      <a:pt x="1969" y="966"/>
                    </a:lnTo>
                    <a:lnTo>
                      <a:pt x="1968" y="986"/>
                    </a:lnTo>
                    <a:lnTo>
                      <a:pt x="1966" y="1007"/>
                    </a:lnTo>
                    <a:lnTo>
                      <a:pt x="1963" y="1028"/>
                    </a:lnTo>
                    <a:lnTo>
                      <a:pt x="1958" y="1050"/>
                    </a:lnTo>
                    <a:lnTo>
                      <a:pt x="1954" y="1071"/>
                    </a:lnTo>
                    <a:lnTo>
                      <a:pt x="1949" y="1092"/>
                    </a:lnTo>
                    <a:lnTo>
                      <a:pt x="1942" y="1111"/>
                    </a:lnTo>
                    <a:lnTo>
                      <a:pt x="1936" y="1128"/>
                    </a:lnTo>
                    <a:lnTo>
                      <a:pt x="1927" y="1146"/>
                    </a:lnTo>
                    <a:lnTo>
                      <a:pt x="1918" y="1160"/>
                    </a:lnTo>
                    <a:lnTo>
                      <a:pt x="1914" y="1166"/>
                    </a:lnTo>
                    <a:lnTo>
                      <a:pt x="1909" y="1172"/>
                    </a:lnTo>
                    <a:lnTo>
                      <a:pt x="1903" y="1177"/>
                    </a:lnTo>
                    <a:lnTo>
                      <a:pt x="1898" y="1181"/>
                    </a:lnTo>
                    <a:lnTo>
                      <a:pt x="1887" y="1191"/>
                    </a:lnTo>
                    <a:lnTo>
                      <a:pt x="1877" y="1200"/>
                    </a:lnTo>
                    <a:lnTo>
                      <a:pt x="1871" y="1209"/>
                    </a:lnTo>
                    <a:lnTo>
                      <a:pt x="1865" y="1219"/>
                    </a:lnTo>
                    <a:lnTo>
                      <a:pt x="1861" y="1229"/>
                    </a:lnTo>
                    <a:lnTo>
                      <a:pt x="1858" y="1237"/>
                    </a:lnTo>
                    <a:lnTo>
                      <a:pt x="1855" y="1247"/>
                    </a:lnTo>
                    <a:lnTo>
                      <a:pt x="1853" y="1257"/>
                    </a:lnTo>
                    <a:lnTo>
                      <a:pt x="1850" y="1275"/>
                    </a:lnTo>
                    <a:lnTo>
                      <a:pt x="1845" y="1293"/>
                    </a:lnTo>
                    <a:lnTo>
                      <a:pt x="1840" y="1301"/>
                    </a:lnTo>
                    <a:lnTo>
                      <a:pt x="1835" y="1310"/>
                    </a:lnTo>
                    <a:lnTo>
                      <a:pt x="1827" y="1318"/>
                    </a:lnTo>
                    <a:lnTo>
                      <a:pt x="1818" y="1326"/>
                    </a:lnTo>
                    <a:lnTo>
                      <a:pt x="1807" y="1335"/>
                    </a:lnTo>
                    <a:lnTo>
                      <a:pt x="1796" y="1344"/>
                    </a:lnTo>
                    <a:lnTo>
                      <a:pt x="1784" y="1357"/>
                    </a:lnTo>
                    <a:lnTo>
                      <a:pt x="1772" y="1371"/>
                    </a:lnTo>
                    <a:lnTo>
                      <a:pt x="1760" y="1386"/>
                    </a:lnTo>
                    <a:lnTo>
                      <a:pt x="1749" y="1403"/>
                    </a:lnTo>
                    <a:lnTo>
                      <a:pt x="1738" y="1420"/>
                    </a:lnTo>
                    <a:lnTo>
                      <a:pt x="1730" y="1437"/>
                    </a:lnTo>
                    <a:lnTo>
                      <a:pt x="1722" y="1456"/>
                    </a:lnTo>
                    <a:lnTo>
                      <a:pt x="1718" y="1473"/>
                    </a:lnTo>
                    <a:lnTo>
                      <a:pt x="1716" y="1482"/>
                    </a:lnTo>
                    <a:lnTo>
                      <a:pt x="1715" y="1490"/>
                    </a:lnTo>
                    <a:lnTo>
                      <a:pt x="1715" y="1499"/>
                    </a:lnTo>
                    <a:lnTo>
                      <a:pt x="1715" y="1506"/>
                    </a:lnTo>
                    <a:lnTo>
                      <a:pt x="1717" y="1515"/>
                    </a:lnTo>
                    <a:lnTo>
                      <a:pt x="1719" y="1523"/>
                    </a:lnTo>
                    <a:lnTo>
                      <a:pt x="1722" y="1529"/>
                    </a:lnTo>
                    <a:lnTo>
                      <a:pt x="1727" y="1537"/>
                    </a:lnTo>
                    <a:lnTo>
                      <a:pt x="1731" y="1543"/>
                    </a:lnTo>
                    <a:lnTo>
                      <a:pt x="1737" y="1548"/>
                    </a:lnTo>
                    <a:lnTo>
                      <a:pt x="1745" y="1554"/>
                    </a:lnTo>
                    <a:lnTo>
                      <a:pt x="1754" y="1559"/>
                    </a:lnTo>
                    <a:lnTo>
                      <a:pt x="1793" y="1583"/>
                    </a:lnTo>
                    <a:lnTo>
                      <a:pt x="1815" y="1598"/>
                    </a:lnTo>
                    <a:lnTo>
                      <a:pt x="1820" y="1599"/>
                    </a:lnTo>
                    <a:lnTo>
                      <a:pt x="1825" y="1599"/>
                    </a:lnTo>
                    <a:lnTo>
                      <a:pt x="1829" y="1597"/>
                    </a:lnTo>
                    <a:lnTo>
                      <a:pt x="1836" y="1594"/>
                    </a:lnTo>
                    <a:lnTo>
                      <a:pt x="1842" y="1590"/>
                    </a:lnTo>
                    <a:lnTo>
                      <a:pt x="1850" y="1583"/>
                    </a:lnTo>
                    <a:lnTo>
                      <a:pt x="1858" y="1574"/>
                    </a:lnTo>
                    <a:lnTo>
                      <a:pt x="1868" y="1564"/>
                    </a:lnTo>
                    <a:lnTo>
                      <a:pt x="1878" y="1550"/>
                    </a:lnTo>
                    <a:lnTo>
                      <a:pt x="1893" y="1531"/>
                    </a:lnTo>
                    <a:lnTo>
                      <a:pt x="1898" y="1527"/>
                    </a:lnTo>
                    <a:lnTo>
                      <a:pt x="1902" y="1524"/>
                    </a:lnTo>
                    <a:lnTo>
                      <a:pt x="1906" y="1521"/>
                    </a:lnTo>
                    <a:lnTo>
                      <a:pt x="1911" y="1521"/>
                    </a:lnTo>
                    <a:lnTo>
                      <a:pt x="1915" y="1521"/>
                    </a:lnTo>
                    <a:lnTo>
                      <a:pt x="1918" y="1524"/>
                    </a:lnTo>
                    <a:lnTo>
                      <a:pt x="1922" y="1527"/>
                    </a:lnTo>
                    <a:lnTo>
                      <a:pt x="1925" y="1533"/>
                    </a:lnTo>
                    <a:lnTo>
                      <a:pt x="1930" y="1547"/>
                    </a:lnTo>
                    <a:lnTo>
                      <a:pt x="1937" y="1570"/>
                    </a:lnTo>
                    <a:lnTo>
                      <a:pt x="1940" y="1582"/>
                    </a:lnTo>
                    <a:lnTo>
                      <a:pt x="1943" y="1592"/>
                    </a:lnTo>
                    <a:lnTo>
                      <a:pt x="1948" y="1598"/>
                    </a:lnTo>
                    <a:lnTo>
                      <a:pt x="1950" y="1601"/>
                    </a:lnTo>
                    <a:lnTo>
                      <a:pt x="1951" y="1604"/>
                    </a:lnTo>
                    <a:lnTo>
                      <a:pt x="1952" y="1605"/>
                    </a:lnTo>
                    <a:lnTo>
                      <a:pt x="1953" y="1606"/>
                    </a:lnTo>
                    <a:lnTo>
                      <a:pt x="1955" y="1606"/>
                    </a:lnTo>
                    <a:lnTo>
                      <a:pt x="1958" y="1606"/>
                    </a:lnTo>
                    <a:lnTo>
                      <a:pt x="1964" y="1605"/>
                    </a:lnTo>
                    <a:lnTo>
                      <a:pt x="1976" y="1597"/>
                    </a:lnTo>
                    <a:lnTo>
                      <a:pt x="1989" y="1587"/>
                    </a:lnTo>
                    <a:lnTo>
                      <a:pt x="2015" y="1565"/>
                    </a:lnTo>
                    <a:lnTo>
                      <a:pt x="2030" y="1550"/>
                    </a:lnTo>
                    <a:lnTo>
                      <a:pt x="2049" y="1536"/>
                    </a:lnTo>
                    <a:lnTo>
                      <a:pt x="2069" y="1519"/>
                    </a:lnTo>
                    <a:lnTo>
                      <a:pt x="2073" y="1515"/>
                    </a:lnTo>
                    <a:lnTo>
                      <a:pt x="2075" y="1511"/>
                    </a:lnTo>
                    <a:lnTo>
                      <a:pt x="2078" y="1506"/>
                    </a:lnTo>
                    <a:lnTo>
                      <a:pt x="2078" y="1502"/>
                    </a:lnTo>
                    <a:lnTo>
                      <a:pt x="2077" y="1499"/>
                    </a:lnTo>
                    <a:lnTo>
                      <a:pt x="2073" y="1494"/>
                    </a:lnTo>
                    <a:lnTo>
                      <a:pt x="2068" y="1491"/>
                    </a:lnTo>
                    <a:lnTo>
                      <a:pt x="2060" y="1487"/>
                    </a:lnTo>
                    <a:lnTo>
                      <a:pt x="2041" y="1479"/>
                    </a:lnTo>
                    <a:lnTo>
                      <a:pt x="2026" y="1471"/>
                    </a:lnTo>
                    <a:lnTo>
                      <a:pt x="2019" y="1467"/>
                    </a:lnTo>
                    <a:lnTo>
                      <a:pt x="2014" y="1463"/>
                    </a:lnTo>
                    <a:lnTo>
                      <a:pt x="2009" y="1460"/>
                    </a:lnTo>
                    <a:lnTo>
                      <a:pt x="2006" y="1457"/>
                    </a:lnTo>
                    <a:lnTo>
                      <a:pt x="2004" y="1452"/>
                    </a:lnTo>
                    <a:lnTo>
                      <a:pt x="2002" y="1449"/>
                    </a:lnTo>
                    <a:lnTo>
                      <a:pt x="2001" y="1446"/>
                    </a:lnTo>
                    <a:lnTo>
                      <a:pt x="2001" y="1442"/>
                    </a:lnTo>
                    <a:lnTo>
                      <a:pt x="2003" y="1435"/>
                    </a:lnTo>
                    <a:lnTo>
                      <a:pt x="2007" y="1428"/>
                    </a:lnTo>
                    <a:lnTo>
                      <a:pt x="2013" y="1420"/>
                    </a:lnTo>
                    <a:lnTo>
                      <a:pt x="2020" y="1412"/>
                    </a:lnTo>
                    <a:lnTo>
                      <a:pt x="2030" y="1404"/>
                    </a:lnTo>
                    <a:lnTo>
                      <a:pt x="2040" y="1395"/>
                    </a:lnTo>
                    <a:lnTo>
                      <a:pt x="2051" y="1385"/>
                    </a:lnTo>
                    <a:lnTo>
                      <a:pt x="2061" y="1376"/>
                    </a:lnTo>
                    <a:lnTo>
                      <a:pt x="2072" y="1365"/>
                    </a:lnTo>
                    <a:lnTo>
                      <a:pt x="2082" y="1353"/>
                    </a:lnTo>
                    <a:lnTo>
                      <a:pt x="2109" y="1317"/>
                    </a:lnTo>
                    <a:lnTo>
                      <a:pt x="2139" y="1275"/>
                    </a:lnTo>
                    <a:lnTo>
                      <a:pt x="2156" y="1254"/>
                    </a:lnTo>
                    <a:lnTo>
                      <a:pt x="2172" y="1232"/>
                    </a:lnTo>
                    <a:lnTo>
                      <a:pt x="2189" y="1210"/>
                    </a:lnTo>
                    <a:lnTo>
                      <a:pt x="2207" y="1191"/>
                    </a:lnTo>
                    <a:lnTo>
                      <a:pt x="2224" y="1173"/>
                    </a:lnTo>
                    <a:lnTo>
                      <a:pt x="2242" y="1158"/>
                    </a:lnTo>
                    <a:lnTo>
                      <a:pt x="2251" y="1151"/>
                    </a:lnTo>
                    <a:lnTo>
                      <a:pt x="2261" y="1145"/>
                    </a:lnTo>
                    <a:lnTo>
                      <a:pt x="2269" y="1140"/>
                    </a:lnTo>
                    <a:lnTo>
                      <a:pt x="2279" y="1136"/>
                    </a:lnTo>
                    <a:lnTo>
                      <a:pt x="2288" y="1134"/>
                    </a:lnTo>
                    <a:lnTo>
                      <a:pt x="2298" y="1132"/>
                    </a:lnTo>
                    <a:lnTo>
                      <a:pt x="2307" y="1132"/>
                    </a:lnTo>
                    <a:lnTo>
                      <a:pt x="2316" y="1133"/>
                    </a:lnTo>
                    <a:lnTo>
                      <a:pt x="2326" y="1135"/>
                    </a:lnTo>
                    <a:lnTo>
                      <a:pt x="2334" y="1138"/>
                    </a:lnTo>
                    <a:lnTo>
                      <a:pt x="2344" y="1143"/>
                    </a:lnTo>
                    <a:lnTo>
                      <a:pt x="2354" y="1150"/>
                    </a:lnTo>
                    <a:lnTo>
                      <a:pt x="2387" y="1176"/>
                    </a:lnTo>
                    <a:lnTo>
                      <a:pt x="2413" y="1194"/>
                    </a:lnTo>
                    <a:lnTo>
                      <a:pt x="2424" y="1201"/>
                    </a:lnTo>
                    <a:lnTo>
                      <a:pt x="2435" y="1207"/>
                    </a:lnTo>
                    <a:lnTo>
                      <a:pt x="2446" y="1212"/>
                    </a:lnTo>
                    <a:lnTo>
                      <a:pt x="2456" y="1216"/>
                    </a:lnTo>
                    <a:lnTo>
                      <a:pt x="2479" y="1222"/>
                    </a:lnTo>
                    <a:lnTo>
                      <a:pt x="2506" y="1228"/>
                    </a:lnTo>
                    <a:lnTo>
                      <a:pt x="2539" y="1235"/>
                    </a:lnTo>
                    <a:lnTo>
                      <a:pt x="2583" y="1245"/>
                    </a:lnTo>
                    <a:lnTo>
                      <a:pt x="2601" y="1247"/>
                    </a:lnTo>
                    <a:lnTo>
                      <a:pt x="2626" y="1249"/>
                    </a:lnTo>
                    <a:lnTo>
                      <a:pt x="2653" y="1250"/>
                    </a:lnTo>
                    <a:lnTo>
                      <a:pt x="2682" y="1255"/>
                    </a:lnTo>
                    <a:lnTo>
                      <a:pt x="2695" y="1257"/>
                    </a:lnTo>
                    <a:lnTo>
                      <a:pt x="2707" y="1260"/>
                    </a:lnTo>
                    <a:lnTo>
                      <a:pt x="2718" y="1264"/>
                    </a:lnTo>
                    <a:lnTo>
                      <a:pt x="2727" y="1270"/>
                    </a:lnTo>
                    <a:lnTo>
                      <a:pt x="2731" y="1272"/>
                    </a:lnTo>
                    <a:lnTo>
                      <a:pt x="2734" y="1275"/>
                    </a:lnTo>
                    <a:lnTo>
                      <a:pt x="2737" y="1280"/>
                    </a:lnTo>
                    <a:lnTo>
                      <a:pt x="2738" y="1283"/>
                    </a:lnTo>
                    <a:lnTo>
                      <a:pt x="2739" y="1287"/>
                    </a:lnTo>
                    <a:lnTo>
                      <a:pt x="2739" y="1293"/>
                    </a:lnTo>
                    <a:lnTo>
                      <a:pt x="2738" y="1297"/>
                    </a:lnTo>
                    <a:lnTo>
                      <a:pt x="2737" y="1302"/>
                    </a:lnTo>
                    <a:lnTo>
                      <a:pt x="2733" y="1311"/>
                    </a:lnTo>
                    <a:lnTo>
                      <a:pt x="2729" y="1318"/>
                    </a:lnTo>
                    <a:lnTo>
                      <a:pt x="2724" y="1327"/>
                    </a:lnTo>
                    <a:lnTo>
                      <a:pt x="2718" y="1335"/>
                    </a:lnTo>
                    <a:lnTo>
                      <a:pt x="2706" y="1349"/>
                    </a:lnTo>
                    <a:lnTo>
                      <a:pt x="2692" y="1363"/>
                    </a:lnTo>
                    <a:lnTo>
                      <a:pt x="2677" y="1376"/>
                    </a:lnTo>
                    <a:lnTo>
                      <a:pt x="2661" y="1389"/>
                    </a:lnTo>
                    <a:lnTo>
                      <a:pt x="2643" y="1402"/>
                    </a:lnTo>
                    <a:lnTo>
                      <a:pt x="2626" y="1415"/>
                    </a:lnTo>
                    <a:lnTo>
                      <a:pt x="2610" y="1426"/>
                    </a:lnTo>
                    <a:lnTo>
                      <a:pt x="2592" y="1439"/>
                    </a:lnTo>
                    <a:lnTo>
                      <a:pt x="2577" y="1452"/>
                    </a:lnTo>
                    <a:lnTo>
                      <a:pt x="2562" y="1466"/>
                    </a:lnTo>
                    <a:lnTo>
                      <a:pt x="2549" y="1480"/>
                    </a:lnTo>
                    <a:lnTo>
                      <a:pt x="2537" y="1494"/>
                    </a:lnTo>
                    <a:lnTo>
                      <a:pt x="2533" y="1502"/>
                    </a:lnTo>
                    <a:lnTo>
                      <a:pt x="2528" y="1511"/>
                    </a:lnTo>
                    <a:lnTo>
                      <a:pt x="2525" y="1518"/>
                    </a:lnTo>
                    <a:lnTo>
                      <a:pt x="2522" y="1527"/>
                    </a:lnTo>
                    <a:lnTo>
                      <a:pt x="2521" y="1533"/>
                    </a:lnTo>
                    <a:lnTo>
                      <a:pt x="2521" y="1540"/>
                    </a:lnTo>
                    <a:lnTo>
                      <a:pt x="2522" y="1546"/>
                    </a:lnTo>
                    <a:lnTo>
                      <a:pt x="2524" y="1553"/>
                    </a:lnTo>
                    <a:lnTo>
                      <a:pt x="2527" y="1558"/>
                    </a:lnTo>
                    <a:lnTo>
                      <a:pt x="2532" y="1564"/>
                    </a:lnTo>
                    <a:lnTo>
                      <a:pt x="2537" y="1569"/>
                    </a:lnTo>
                    <a:lnTo>
                      <a:pt x="2544" y="1574"/>
                    </a:lnTo>
                    <a:lnTo>
                      <a:pt x="2558" y="1584"/>
                    </a:lnTo>
                    <a:lnTo>
                      <a:pt x="2575" y="1594"/>
                    </a:lnTo>
                    <a:lnTo>
                      <a:pt x="2595" y="1604"/>
                    </a:lnTo>
                    <a:lnTo>
                      <a:pt x="2615" y="1612"/>
                    </a:lnTo>
                    <a:lnTo>
                      <a:pt x="2638" y="1622"/>
                    </a:lnTo>
                    <a:lnTo>
                      <a:pt x="2660" y="1632"/>
                    </a:lnTo>
                    <a:lnTo>
                      <a:pt x="2681" y="1641"/>
                    </a:lnTo>
                    <a:lnTo>
                      <a:pt x="2702" y="1652"/>
                    </a:lnTo>
                    <a:lnTo>
                      <a:pt x="2721" y="1664"/>
                    </a:lnTo>
                    <a:lnTo>
                      <a:pt x="2740" y="1677"/>
                    </a:lnTo>
                    <a:lnTo>
                      <a:pt x="2747" y="1683"/>
                    </a:lnTo>
                    <a:lnTo>
                      <a:pt x="2755" y="1691"/>
                    </a:lnTo>
                    <a:lnTo>
                      <a:pt x="2761" y="1699"/>
                    </a:lnTo>
                    <a:lnTo>
                      <a:pt x="2767" y="1706"/>
                    </a:lnTo>
                    <a:lnTo>
                      <a:pt x="2922" y="1941"/>
                    </a:lnTo>
                    <a:lnTo>
                      <a:pt x="2920" y="1945"/>
                    </a:lnTo>
                    <a:lnTo>
                      <a:pt x="2920" y="1948"/>
                    </a:lnTo>
                    <a:lnTo>
                      <a:pt x="2913" y="1949"/>
                    </a:lnTo>
                    <a:lnTo>
                      <a:pt x="2907" y="1950"/>
                    </a:lnTo>
                    <a:lnTo>
                      <a:pt x="2899" y="1950"/>
                    </a:lnTo>
                    <a:lnTo>
                      <a:pt x="2890" y="1949"/>
                    </a:lnTo>
                    <a:lnTo>
                      <a:pt x="2873" y="1945"/>
                    </a:lnTo>
                    <a:lnTo>
                      <a:pt x="2855" y="1941"/>
                    </a:lnTo>
                    <a:lnTo>
                      <a:pt x="2837" y="1936"/>
                    </a:lnTo>
                    <a:lnTo>
                      <a:pt x="2822" y="1934"/>
                    </a:lnTo>
                    <a:lnTo>
                      <a:pt x="2816" y="1933"/>
                    </a:lnTo>
                    <a:lnTo>
                      <a:pt x="2809" y="1934"/>
                    </a:lnTo>
                    <a:lnTo>
                      <a:pt x="2805" y="1935"/>
                    </a:lnTo>
                    <a:lnTo>
                      <a:pt x="2800" y="1937"/>
                    </a:lnTo>
                    <a:lnTo>
                      <a:pt x="2796" y="1942"/>
                    </a:lnTo>
                    <a:lnTo>
                      <a:pt x="2792" y="1947"/>
                    </a:lnTo>
                    <a:lnTo>
                      <a:pt x="2789" y="1952"/>
                    </a:lnTo>
                    <a:lnTo>
                      <a:pt x="2786" y="1957"/>
                    </a:lnTo>
                    <a:lnTo>
                      <a:pt x="2784" y="1965"/>
                    </a:lnTo>
                    <a:lnTo>
                      <a:pt x="2781" y="1973"/>
                    </a:lnTo>
                    <a:lnTo>
                      <a:pt x="2779" y="1976"/>
                    </a:lnTo>
                    <a:lnTo>
                      <a:pt x="2776" y="1979"/>
                    </a:lnTo>
                    <a:lnTo>
                      <a:pt x="2771" y="1982"/>
                    </a:lnTo>
                    <a:lnTo>
                      <a:pt x="2767" y="1984"/>
                    </a:lnTo>
                    <a:lnTo>
                      <a:pt x="2759" y="1986"/>
                    </a:lnTo>
                    <a:lnTo>
                      <a:pt x="2751" y="1987"/>
                    </a:lnTo>
                    <a:lnTo>
                      <a:pt x="2740" y="1987"/>
                    </a:lnTo>
                    <a:lnTo>
                      <a:pt x="2727" y="1988"/>
                    </a:lnTo>
                    <a:lnTo>
                      <a:pt x="2707" y="1988"/>
                    </a:lnTo>
                    <a:lnTo>
                      <a:pt x="2688" y="1991"/>
                    </a:lnTo>
                    <a:lnTo>
                      <a:pt x="2668" y="1995"/>
                    </a:lnTo>
                    <a:lnTo>
                      <a:pt x="2650" y="1999"/>
                    </a:lnTo>
                    <a:lnTo>
                      <a:pt x="2614" y="2011"/>
                    </a:lnTo>
                    <a:lnTo>
                      <a:pt x="2579" y="2024"/>
                    </a:lnTo>
                    <a:lnTo>
                      <a:pt x="2545" y="2038"/>
                    </a:lnTo>
                    <a:lnTo>
                      <a:pt x="2509" y="2049"/>
                    </a:lnTo>
                    <a:lnTo>
                      <a:pt x="2491" y="2054"/>
                    </a:lnTo>
                    <a:lnTo>
                      <a:pt x="2472" y="2057"/>
                    </a:lnTo>
                    <a:lnTo>
                      <a:pt x="2453" y="2059"/>
                    </a:lnTo>
                    <a:lnTo>
                      <a:pt x="2433" y="2060"/>
                    </a:lnTo>
                    <a:lnTo>
                      <a:pt x="2407" y="2059"/>
                    </a:lnTo>
                    <a:lnTo>
                      <a:pt x="2383" y="2056"/>
                    </a:lnTo>
                    <a:lnTo>
                      <a:pt x="2359" y="2052"/>
                    </a:lnTo>
                    <a:lnTo>
                      <a:pt x="2338" y="2047"/>
                    </a:lnTo>
                    <a:lnTo>
                      <a:pt x="2316" y="2042"/>
                    </a:lnTo>
                    <a:lnTo>
                      <a:pt x="2295" y="2037"/>
                    </a:lnTo>
                    <a:lnTo>
                      <a:pt x="2276" y="2033"/>
                    </a:lnTo>
                    <a:lnTo>
                      <a:pt x="2258" y="2030"/>
                    </a:lnTo>
                    <a:lnTo>
                      <a:pt x="2248" y="2030"/>
                    </a:lnTo>
                    <a:lnTo>
                      <a:pt x="2239" y="2030"/>
                    </a:lnTo>
                    <a:lnTo>
                      <a:pt x="2229" y="2031"/>
                    </a:lnTo>
                    <a:lnTo>
                      <a:pt x="2221" y="2032"/>
                    </a:lnTo>
                    <a:lnTo>
                      <a:pt x="2212" y="2034"/>
                    </a:lnTo>
                    <a:lnTo>
                      <a:pt x="2203" y="2038"/>
                    </a:lnTo>
                    <a:lnTo>
                      <a:pt x="2195" y="2041"/>
                    </a:lnTo>
                    <a:lnTo>
                      <a:pt x="2186" y="2046"/>
                    </a:lnTo>
                    <a:lnTo>
                      <a:pt x="2178" y="2053"/>
                    </a:lnTo>
                    <a:lnTo>
                      <a:pt x="2170" y="2059"/>
                    </a:lnTo>
                    <a:lnTo>
                      <a:pt x="2161" y="2068"/>
                    </a:lnTo>
                    <a:lnTo>
                      <a:pt x="2154" y="2078"/>
                    </a:lnTo>
                    <a:lnTo>
                      <a:pt x="2145" y="2088"/>
                    </a:lnTo>
                    <a:lnTo>
                      <a:pt x="2137" y="2100"/>
                    </a:lnTo>
                    <a:lnTo>
                      <a:pt x="2129" y="2114"/>
                    </a:lnTo>
                    <a:lnTo>
                      <a:pt x="2121" y="2130"/>
                    </a:lnTo>
                    <a:lnTo>
                      <a:pt x="2109" y="2151"/>
                    </a:lnTo>
                    <a:lnTo>
                      <a:pt x="2097" y="2172"/>
                    </a:lnTo>
                    <a:lnTo>
                      <a:pt x="2084" y="2190"/>
                    </a:lnTo>
                    <a:lnTo>
                      <a:pt x="2071" y="2208"/>
                    </a:lnTo>
                    <a:lnTo>
                      <a:pt x="2044" y="2241"/>
                    </a:lnTo>
                    <a:lnTo>
                      <a:pt x="2017" y="2273"/>
                    </a:lnTo>
                    <a:lnTo>
                      <a:pt x="2003" y="2289"/>
                    </a:lnTo>
                    <a:lnTo>
                      <a:pt x="1990" y="2306"/>
                    </a:lnTo>
                    <a:lnTo>
                      <a:pt x="1977" y="2323"/>
                    </a:lnTo>
                    <a:lnTo>
                      <a:pt x="1965" y="2341"/>
                    </a:lnTo>
                    <a:lnTo>
                      <a:pt x="1953" y="2361"/>
                    </a:lnTo>
                    <a:lnTo>
                      <a:pt x="1942" y="2381"/>
                    </a:lnTo>
                    <a:lnTo>
                      <a:pt x="1932" y="2404"/>
                    </a:lnTo>
                    <a:lnTo>
                      <a:pt x="1923" y="2429"/>
                    </a:lnTo>
                    <a:lnTo>
                      <a:pt x="1850" y="2518"/>
                    </a:lnTo>
                    <a:lnTo>
                      <a:pt x="1831" y="2618"/>
                    </a:lnTo>
                    <a:lnTo>
                      <a:pt x="1831" y="2618"/>
                    </a:lnTo>
                    <a:lnTo>
                      <a:pt x="1801" y="2608"/>
                    </a:lnTo>
                    <a:lnTo>
                      <a:pt x="1797" y="2606"/>
                    </a:lnTo>
                    <a:lnTo>
                      <a:pt x="1793" y="2603"/>
                    </a:lnTo>
                    <a:lnTo>
                      <a:pt x="1790" y="2599"/>
                    </a:lnTo>
                    <a:lnTo>
                      <a:pt x="1787" y="2595"/>
                    </a:lnTo>
                    <a:lnTo>
                      <a:pt x="1784" y="2585"/>
                    </a:lnTo>
                    <a:lnTo>
                      <a:pt x="1781" y="2576"/>
                    </a:lnTo>
                    <a:lnTo>
                      <a:pt x="1779" y="2566"/>
                    </a:lnTo>
                    <a:lnTo>
                      <a:pt x="1775" y="2558"/>
                    </a:lnTo>
                    <a:lnTo>
                      <a:pt x="1772" y="2555"/>
                    </a:lnTo>
                    <a:lnTo>
                      <a:pt x="1770" y="2553"/>
                    </a:lnTo>
                    <a:lnTo>
                      <a:pt x="1767" y="2551"/>
                    </a:lnTo>
                    <a:lnTo>
                      <a:pt x="1762" y="2551"/>
                    </a:lnTo>
                    <a:lnTo>
                      <a:pt x="1758" y="2551"/>
                    </a:lnTo>
                    <a:lnTo>
                      <a:pt x="1754" y="2553"/>
                    </a:lnTo>
                    <a:lnTo>
                      <a:pt x="1749" y="2557"/>
                    </a:lnTo>
                    <a:lnTo>
                      <a:pt x="1745" y="2562"/>
                    </a:lnTo>
                    <a:lnTo>
                      <a:pt x="1737" y="2573"/>
                    </a:lnTo>
                    <a:lnTo>
                      <a:pt x="1730" y="2586"/>
                    </a:lnTo>
                    <a:lnTo>
                      <a:pt x="1722" y="2601"/>
                    </a:lnTo>
                    <a:lnTo>
                      <a:pt x="1715" y="2616"/>
                    </a:lnTo>
                    <a:lnTo>
                      <a:pt x="1710" y="2621"/>
                    </a:lnTo>
                    <a:lnTo>
                      <a:pt x="1706" y="2626"/>
                    </a:lnTo>
                    <a:lnTo>
                      <a:pt x="1701" y="2631"/>
                    </a:lnTo>
                    <a:lnTo>
                      <a:pt x="1696" y="2634"/>
                    </a:lnTo>
                    <a:lnTo>
                      <a:pt x="1690" y="2637"/>
                    </a:lnTo>
                    <a:lnTo>
                      <a:pt x="1683" y="2640"/>
                    </a:lnTo>
                    <a:lnTo>
                      <a:pt x="1678" y="2641"/>
                    </a:lnTo>
                    <a:lnTo>
                      <a:pt x="1671" y="2643"/>
                    </a:lnTo>
                    <a:lnTo>
                      <a:pt x="1659" y="2644"/>
                    </a:lnTo>
                    <a:lnTo>
                      <a:pt x="1647" y="2641"/>
                    </a:lnTo>
                    <a:lnTo>
                      <a:pt x="1637" y="2638"/>
                    </a:lnTo>
                    <a:lnTo>
                      <a:pt x="1626" y="2633"/>
                    </a:lnTo>
                    <a:lnTo>
                      <a:pt x="1615" y="2626"/>
                    </a:lnTo>
                    <a:lnTo>
                      <a:pt x="1604" y="2619"/>
                    </a:lnTo>
                    <a:lnTo>
                      <a:pt x="1594" y="2609"/>
                    </a:lnTo>
                    <a:lnTo>
                      <a:pt x="1586" y="2599"/>
                    </a:lnTo>
                    <a:lnTo>
                      <a:pt x="1577" y="2590"/>
                    </a:lnTo>
                    <a:lnTo>
                      <a:pt x="1568" y="2579"/>
                    </a:lnTo>
                    <a:lnTo>
                      <a:pt x="1553" y="2557"/>
                    </a:lnTo>
                    <a:lnTo>
                      <a:pt x="1542" y="2537"/>
                    </a:lnTo>
                    <a:lnTo>
                      <a:pt x="1533" y="2520"/>
                    </a:lnTo>
                    <a:lnTo>
                      <a:pt x="1522" y="2504"/>
                    </a:lnTo>
                    <a:lnTo>
                      <a:pt x="1510" y="2488"/>
                    </a:lnTo>
                    <a:lnTo>
                      <a:pt x="1497" y="2471"/>
                    </a:lnTo>
                    <a:lnTo>
                      <a:pt x="1470" y="2439"/>
                    </a:lnTo>
                    <a:lnTo>
                      <a:pt x="1444" y="2410"/>
                    </a:lnTo>
                    <a:lnTo>
                      <a:pt x="1340" y="2290"/>
                    </a:lnTo>
                    <a:lnTo>
                      <a:pt x="1336" y="2287"/>
                    </a:lnTo>
                    <a:lnTo>
                      <a:pt x="1332" y="2285"/>
                    </a:lnTo>
                    <a:lnTo>
                      <a:pt x="1328" y="2283"/>
                    </a:lnTo>
                    <a:lnTo>
                      <a:pt x="1323" y="2283"/>
                    </a:lnTo>
                    <a:lnTo>
                      <a:pt x="1313" y="2284"/>
                    </a:lnTo>
                    <a:lnTo>
                      <a:pt x="1303" y="2288"/>
                    </a:lnTo>
                    <a:lnTo>
                      <a:pt x="1282" y="2299"/>
                    </a:lnTo>
                    <a:lnTo>
                      <a:pt x="1264" y="2309"/>
                    </a:lnTo>
                    <a:lnTo>
                      <a:pt x="1224" y="2312"/>
                    </a:lnTo>
                    <a:lnTo>
                      <a:pt x="1186" y="2313"/>
                    </a:lnTo>
                    <a:lnTo>
                      <a:pt x="1168" y="2313"/>
                    </a:lnTo>
                    <a:lnTo>
                      <a:pt x="1153" y="2311"/>
                    </a:lnTo>
                    <a:lnTo>
                      <a:pt x="1138" y="2308"/>
                    </a:lnTo>
                    <a:lnTo>
                      <a:pt x="1126" y="2303"/>
                    </a:lnTo>
                    <a:lnTo>
                      <a:pt x="1120" y="2301"/>
                    </a:lnTo>
                    <a:lnTo>
                      <a:pt x="1114" y="2298"/>
                    </a:lnTo>
                    <a:lnTo>
                      <a:pt x="1110" y="2294"/>
                    </a:lnTo>
                    <a:lnTo>
                      <a:pt x="1106" y="2289"/>
                    </a:lnTo>
                    <a:lnTo>
                      <a:pt x="1101" y="2285"/>
                    </a:lnTo>
                    <a:lnTo>
                      <a:pt x="1098" y="2280"/>
                    </a:lnTo>
                    <a:lnTo>
                      <a:pt x="1096" y="2274"/>
                    </a:lnTo>
                    <a:lnTo>
                      <a:pt x="1094" y="2268"/>
                    </a:lnTo>
                    <a:lnTo>
                      <a:pt x="1091" y="2260"/>
                    </a:lnTo>
                    <a:lnTo>
                      <a:pt x="1090" y="2253"/>
                    </a:lnTo>
                    <a:lnTo>
                      <a:pt x="1090" y="2244"/>
                    </a:lnTo>
                    <a:lnTo>
                      <a:pt x="1090" y="2235"/>
                    </a:lnTo>
                    <a:lnTo>
                      <a:pt x="1090" y="2226"/>
                    </a:lnTo>
                    <a:lnTo>
                      <a:pt x="1093" y="2215"/>
                    </a:lnTo>
                    <a:lnTo>
                      <a:pt x="1095" y="2204"/>
                    </a:lnTo>
                    <a:lnTo>
                      <a:pt x="1097" y="2192"/>
                    </a:lnTo>
                    <a:lnTo>
                      <a:pt x="1099" y="2185"/>
                    </a:lnTo>
                    <a:lnTo>
                      <a:pt x="1099" y="2177"/>
                    </a:lnTo>
                    <a:lnTo>
                      <a:pt x="1099" y="2171"/>
                    </a:lnTo>
                    <a:lnTo>
                      <a:pt x="1099" y="2163"/>
                    </a:lnTo>
                    <a:lnTo>
                      <a:pt x="1098" y="2155"/>
                    </a:lnTo>
                    <a:lnTo>
                      <a:pt x="1096" y="2149"/>
                    </a:lnTo>
                    <a:lnTo>
                      <a:pt x="1094" y="2141"/>
                    </a:lnTo>
                    <a:lnTo>
                      <a:pt x="1090" y="2134"/>
                    </a:lnTo>
                    <a:lnTo>
                      <a:pt x="1083" y="2121"/>
                    </a:lnTo>
                    <a:lnTo>
                      <a:pt x="1074" y="2108"/>
                    </a:lnTo>
                    <a:lnTo>
                      <a:pt x="1063" y="2096"/>
                    </a:lnTo>
                    <a:lnTo>
                      <a:pt x="1052" y="2084"/>
                    </a:lnTo>
                    <a:lnTo>
                      <a:pt x="1039" y="2076"/>
                    </a:lnTo>
                    <a:lnTo>
                      <a:pt x="1025" y="2067"/>
                    </a:lnTo>
                    <a:lnTo>
                      <a:pt x="1011" y="2061"/>
                    </a:lnTo>
                    <a:lnTo>
                      <a:pt x="997" y="2057"/>
                    </a:lnTo>
                    <a:lnTo>
                      <a:pt x="991" y="2056"/>
                    </a:lnTo>
                    <a:lnTo>
                      <a:pt x="983" y="2056"/>
                    </a:lnTo>
                    <a:lnTo>
                      <a:pt x="977" y="2056"/>
                    </a:lnTo>
                    <a:lnTo>
                      <a:pt x="969" y="2057"/>
                    </a:lnTo>
                    <a:lnTo>
                      <a:pt x="963" y="2058"/>
                    </a:lnTo>
                    <a:lnTo>
                      <a:pt x="956" y="2060"/>
                    </a:lnTo>
                    <a:lnTo>
                      <a:pt x="950" y="2064"/>
                    </a:lnTo>
                    <a:lnTo>
                      <a:pt x="943" y="2068"/>
                    </a:lnTo>
                    <a:lnTo>
                      <a:pt x="932" y="2074"/>
                    </a:lnTo>
                    <a:lnTo>
                      <a:pt x="920" y="2080"/>
                    </a:lnTo>
                    <a:lnTo>
                      <a:pt x="909" y="2083"/>
                    </a:lnTo>
                    <a:lnTo>
                      <a:pt x="899" y="2085"/>
                    </a:lnTo>
                    <a:lnTo>
                      <a:pt x="876" y="2090"/>
                    </a:lnTo>
                    <a:lnTo>
                      <a:pt x="855" y="2093"/>
                    </a:lnTo>
                    <a:lnTo>
                      <a:pt x="845" y="2095"/>
                    </a:lnTo>
                    <a:lnTo>
                      <a:pt x="836" y="2098"/>
                    </a:lnTo>
                    <a:lnTo>
                      <a:pt x="828" y="2103"/>
                    </a:lnTo>
                    <a:lnTo>
                      <a:pt x="819" y="2109"/>
                    </a:lnTo>
                    <a:lnTo>
                      <a:pt x="813" y="2117"/>
                    </a:lnTo>
                    <a:lnTo>
                      <a:pt x="806" y="2127"/>
                    </a:lnTo>
                    <a:lnTo>
                      <a:pt x="801" y="2139"/>
                    </a:lnTo>
                    <a:lnTo>
                      <a:pt x="797" y="2155"/>
                    </a:lnTo>
                    <a:lnTo>
                      <a:pt x="791" y="2179"/>
                    </a:lnTo>
                    <a:lnTo>
                      <a:pt x="786" y="2196"/>
                    </a:lnTo>
                    <a:lnTo>
                      <a:pt x="780" y="2211"/>
                    </a:lnTo>
                    <a:lnTo>
                      <a:pt x="775" y="2220"/>
                    </a:lnTo>
                    <a:lnTo>
                      <a:pt x="773" y="2225"/>
                    </a:lnTo>
                    <a:lnTo>
                      <a:pt x="770" y="2228"/>
                    </a:lnTo>
                    <a:lnTo>
                      <a:pt x="766" y="2230"/>
                    </a:lnTo>
                    <a:lnTo>
                      <a:pt x="764" y="2231"/>
                    </a:lnTo>
                    <a:lnTo>
                      <a:pt x="758" y="2233"/>
                    </a:lnTo>
                    <a:lnTo>
                      <a:pt x="751" y="2233"/>
                    </a:lnTo>
                    <a:lnTo>
                      <a:pt x="735" y="2231"/>
                    </a:lnTo>
                    <a:lnTo>
                      <a:pt x="717" y="2230"/>
                    </a:lnTo>
                    <a:lnTo>
                      <a:pt x="707" y="2231"/>
                    </a:lnTo>
                    <a:lnTo>
                      <a:pt x="695" y="2233"/>
                    </a:lnTo>
                    <a:lnTo>
                      <a:pt x="682" y="2239"/>
                    </a:lnTo>
                    <a:lnTo>
                      <a:pt x="668" y="2247"/>
                    </a:lnTo>
                    <a:lnTo>
                      <a:pt x="624" y="2280"/>
                    </a:lnTo>
                    <a:lnTo>
                      <a:pt x="624" y="2280"/>
                    </a:lnTo>
                    <a:lnTo>
                      <a:pt x="620" y="2268"/>
                    </a:lnTo>
                    <a:lnTo>
                      <a:pt x="615" y="2257"/>
                    </a:lnTo>
                    <a:lnTo>
                      <a:pt x="608" y="2245"/>
                    </a:lnTo>
                    <a:lnTo>
                      <a:pt x="601" y="2234"/>
                    </a:lnTo>
                    <a:lnTo>
                      <a:pt x="585" y="2212"/>
                    </a:lnTo>
                    <a:lnTo>
                      <a:pt x="571" y="2189"/>
                    </a:lnTo>
                    <a:lnTo>
                      <a:pt x="565" y="2177"/>
                    </a:lnTo>
                    <a:lnTo>
                      <a:pt x="558" y="2164"/>
                    </a:lnTo>
                    <a:lnTo>
                      <a:pt x="554" y="2151"/>
                    </a:lnTo>
                    <a:lnTo>
                      <a:pt x="550" y="2138"/>
                    </a:lnTo>
                    <a:lnTo>
                      <a:pt x="547" y="2124"/>
                    </a:lnTo>
                    <a:lnTo>
                      <a:pt x="546" y="2109"/>
                    </a:lnTo>
                    <a:lnTo>
                      <a:pt x="549" y="2094"/>
                    </a:lnTo>
                    <a:lnTo>
                      <a:pt x="552" y="2077"/>
                    </a:lnTo>
                    <a:lnTo>
                      <a:pt x="557" y="2061"/>
                    </a:lnTo>
                    <a:lnTo>
                      <a:pt x="565" y="2040"/>
                    </a:lnTo>
                    <a:lnTo>
                      <a:pt x="568" y="2030"/>
                    </a:lnTo>
                    <a:lnTo>
                      <a:pt x="571" y="2022"/>
                    </a:lnTo>
                    <a:lnTo>
                      <a:pt x="572" y="2015"/>
                    </a:lnTo>
                    <a:lnTo>
                      <a:pt x="571" y="2013"/>
                    </a:lnTo>
                    <a:lnTo>
                      <a:pt x="571" y="2011"/>
                    </a:lnTo>
                    <a:lnTo>
                      <a:pt x="570" y="2009"/>
                    </a:lnTo>
                    <a:lnTo>
                      <a:pt x="568" y="2007"/>
                    </a:lnTo>
                    <a:lnTo>
                      <a:pt x="566" y="2006"/>
                    </a:lnTo>
                    <a:lnTo>
                      <a:pt x="560" y="2005"/>
                    </a:lnTo>
                    <a:lnTo>
                      <a:pt x="553" y="2005"/>
                    </a:lnTo>
                    <a:lnTo>
                      <a:pt x="534" y="2009"/>
                    </a:lnTo>
                    <a:lnTo>
                      <a:pt x="512" y="2013"/>
                    </a:lnTo>
                    <a:lnTo>
                      <a:pt x="489" y="2019"/>
                    </a:lnTo>
                    <a:lnTo>
                      <a:pt x="466" y="2025"/>
                    </a:lnTo>
                    <a:lnTo>
                      <a:pt x="456" y="2027"/>
                    </a:lnTo>
                    <a:lnTo>
                      <a:pt x="448" y="2028"/>
                    </a:lnTo>
                    <a:lnTo>
                      <a:pt x="440" y="2028"/>
                    </a:lnTo>
                    <a:lnTo>
                      <a:pt x="435" y="2027"/>
                    </a:lnTo>
                    <a:lnTo>
                      <a:pt x="429" y="2025"/>
                    </a:lnTo>
                    <a:lnTo>
                      <a:pt x="425" y="2020"/>
                    </a:lnTo>
                    <a:lnTo>
                      <a:pt x="418" y="2014"/>
                    </a:lnTo>
                    <a:lnTo>
                      <a:pt x="413" y="2006"/>
                    </a:lnTo>
                    <a:lnTo>
                      <a:pt x="402" y="1989"/>
                    </a:lnTo>
                    <a:lnTo>
                      <a:pt x="392" y="1970"/>
                    </a:lnTo>
                    <a:lnTo>
                      <a:pt x="374" y="1929"/>
                    </a:lnTo>
                    <a:lnTo>
                      <a:pt x="362" y="1898"/>
                    </a:lnTo>
                    <a:lnTo>
                      <a:pt x="356" y="1880"/>
                    </a:lnTo>
                    <a:lnTo>
                      <a:pt x="350" y="1861"/>
                    </a:lnTo>
                    <a:lnTo>
                      <a:pt x="346" y="1842"/>
                    </a:lnTo>
                    <a:lnTo>
                      <a:pt x="342" y="1824"/>
                    </a:lnTo>
                    <a:lnTo>
                      <a:pt x="337" y="1806"/>
                    </a:lnTo>
                    <a:lnTo>
                      <a:pt x="332" y="1788"/>
                    </a:lnTo>
                    <a:lnTo>
                      <a:pt x="326" y="1772"/>
                    </a:lnTo>
                    <a:lnTo>
                      <a:pt x="320" y="1757"/>
                    </a:lnTo>
                    <a:lnTo>
                      <a:pt x="317" y="1749"/>
                    </a:lnTo>
                    <a:lnTo>
                      <a:pt x="312" y="1743"/>
                    </a:lnTo>
                    <a:lnTo>
                      <a:pt x="308" y="1736"/>
                    </a:lnTo>
                    <a:lnTo>
                      <a:pt x="303" y="1731"/>
                    </a:lnTo>
                    <a:lnTo>
                      <a:pt x="297" y="1726"/>
                    </a:lnTo>
                    <a:lnTo>
                      <a:pt x="292" y="1721"/>
                    </a:lnTo>
                    <a:lnTo>
                      <a:pt x="285" y="1717"/>
                    </a:lnTo>
                    <a:lnTo>
                      <a:pt x="278" y="1713"/>
                    </a:lnTo>
                    <a:lnTo>
                      <a:pt x="270" y="1709"/>
                    </a:lnTo>
                    <a:lnTo>
                      <a:pt x="261" y="1707"/>
                    </a:lnTo>
                    <a:lnTo>
                      <a:pt x="252" y="1705"/>
                    </a:lnTo>
                    <a:lnTo>
                      <a:pt x="242" y="1704"/>
                    </a:lnTo>
                    <a:lnTo>
                      <a:pt x="231" y="1704"/>
                    </a:lnTo>
                    <a:lnTo>
                      <a:pt x="219" y="1704"/>
                    </a:lnTo>
                    <a:lnTo>
                      <a:pt x="206" y="1705"/>
                    </a:lnTo>
                    <a:lnTo>
                      <a:pt x="193" y="1707"/>
                    </a:lnTo>
                    <a:lnTo>
                      <a:pt x="64" y="1642"/>
                    </a:lnTo>
                    <a:lnTo>
                      <a:pt x="64" y="1642"/>
                    </a:lnTo>
                    <a:lnTo>
                      <a:pt x="114" y="1572"/>
                    </a:lnTo>
                    <a:lnTo>
                      <a:pt x="117" y="1560"/>
                    </a:lnTo>
                    <a:lnTo>
                      <a:pt x="118" y="1548"/>
                    </a:lnTo>
                    <a:lnTo>
                      <a:pt x="119" y="1537"/>
                    </a:lnTo>
                    <a:lnTo>
                      <a:pt x="119" y="1526"/>
                    </a:lnTo>
                    <a:lnTo>
                      <a:pt x="117" y="1503"/>
                    </a:lnTo>
                    <a:lnTo>
                      <a:pt x="115" y="1480"/>
                    </a:lnTo>
                    <a:lnTo>
                      <a:pt x="114" y="1470"/>
                    </a:lnTo>
                    <a:lnTo>
                      <a:pt x="113" y="1458"/>
                    </a:lnTo>
                    <a:lnTo>
                      <a:pt x="113" y="1446"/>
                    </a:lnTo>
                    <a:lnTo>
                      <a:pt x="113" y="1434"/>
                    </a:lnTo>
                    <a:lnTo>
                      <a:pt x="115" y="1421"/>
                    </a:lnTo>
                    <a:lnTo>
                      <a:pt x="117" y="1408"/>
                    </a:lnTo>
                    <a:lnTo>
                      <a:pt x="122" y="1395"/>
                    </a:lnTo>
                    <a:lnTo>
                      <a:pt x="127" y="1380"/>
                    </a:lnTo>
                    <a:lnTo>
                      <a:pt x="144" y="1351"/>
                    </a:lnTo>
                    <a:lnTo>
                      <a:pt x="169" y="1313"/>
                    </a:lnTo>
                    <a:lnTo>
                      <a:pt x="175" y="1303"/>
                    </a:lnTo>
                    <a:lnTo>
                      <a:pt x="179" y="1294"/>
                    </a:lnTo>
                    <a:lnTo>
                      <a:pt x="183" y="1285"/>
                    </a:lnTo>
                    <a:lnTo>
                      <a:pt x="186" y="1276"/>
                    </a:lnTo>
                    <a:lnTo>
                      <a:pt x="187" y="1268"/>
                    </a:lnTo>
                    <a:lnTo>
                      <a:pt x="187" y="1260"/>
                    </a:lnTo>
                    <a:lnTo>
                      <a:pt x="186" y="1257"/>
                    </a:lnTo>
                    <a:lnTo>
                      <a:pt x="184" y="1254"/>
                    </a:lnTo>
                    <a:lnTo>
                      <a:pt x="182" y="1250"/>
                    </a:lnTo>
                    <a:lnTo>
                      <a:pt x="180" y="1247"/>
                    </a:lnTo>
                    <a:lnTo>
                      <a:pt x="172" y="1242"/>
                    </a:lnTo>
                    <a:lnTo>
                      <a:pt x="162" y="1236"/>
                    </a:lnTo>
                    <a:lnTo>
                      <a:pt x="150" y="1231"/>
                    </a:lnTo>
                    <a:lnTo>
                      <a:pt x="137" y="1226"/>
                    </a:lnTo>
                    <a:lnTo>
                      <a:pt x="130" y="1222"/>
                    </a:lnTo>
                    <a:lnTo>
                      <a:pt x="125" y="1219"/>
                    </a:lnTo>
                    <a:lnTo>
                      <a:pt x="119" y="1216"/>
                    </a:lnTo>
                    <a:lnTo>
                      <a:pt x="115" y="1212"/>
                    </a:lnTo>
                    <a:lnTo>
                      <a:pt x="112" y="1207"/>
                    </a:lnTo>
                    <a:lnTo>
                      <a:pt x="109" y="1203"/>
                    </a:lnTo>
                    <a:lnTo>
                      <a:pt x="107" y="1197"/>
                    </a:lnTo>
                    <a:lnTo>
                      <a:pt x="107" y="1191"/>
                    </a:lnTo>
                    <a:lnTo>
                      <a:pt x="109" y="1185"/>
                    </a:lnTo>
                    <a:lnTo>
                      <a:pt x="112" y="1178"/>
                    </a:lnTo>
                    <a:lnTo>
                      <a:pt x="117" y="1172"/>
                    </a:lnTo>
                    <a:lnTo>
                      <a:pt x="123" y="1166"/>
                    </a:lnTo>
                    <a:lnTo>
                      <a:pt x="137" y="1153"/>
                    </a:lnTo>
                    <a:lnTo>
                      <a:pt x="151" y="1140"/>
                    </a:lnTo>
                    <a:lnTo>
                      <a:pt x="157" y="1134"/>
                    </a:lnTo>
                    <a:lnTo>
                      <a:pt x="164" y="1126"/>
                    </a:lnTo>
                    <a:lnTo>
                      <a:pt x="168" y="1120"/>
                    </a:lnTo>
                    <a:lnTo>
                      <a:pt x="171" y="1112"/>
                    </a:lnTo>
                    <a:lnTo>
                      <a:pt x="174" y="1105"/>
                    </a:lnTo>
                    <a:lnTo>
                      <a:pt x="174" y="1096"/>
                    </a:lnTo>
                    <a:lnTo>
                      <a:pt x="172" y="1093"/>
                    </a:lnTo>
                    <a:lnTo>
                      <a:pt x="171" y="1088"/>
                    </a:lnTo>
                    <a:lnTo>
                      <a:pt x="169" y="1084"/>
                    </a:lnTo>
                    <a:lnTo>
                      <a:pt x="167" y="1080"/>
                    </a:lnTo>
                    <a:lnTo>
                      <a:pt x="162" y="1073"/>
                    </a:lnTo>
                    <a:lnTo>
                      <a:pt x="155" y="1067"/>
                    </a:lnTo>
                    <a:lnTo>
                      <a:pt x="149" y="1061"/>
                    </a:lnTo>
                    <a:lnTo>
                      <a:pt x="141" y="1056"/>
                    </a:lnTo>
                    <a:lnTo>
                      <a:pt x="125" y="1045"/>
                    </a:lnTo>
                    <a:lnTo>
                      <a:pt x="107" y="1033"/>
                    </a:lnTo>
                    <a:lnTo>
                      <a:pt x="90" y="1023"/>
                    </a:lnTo>
                    <a:lnTo>
                      <a:pt x="74" y="1010"/>
                    </a:lnTo>
                    <a:lnTo>
                      <a:pt x="67" y="1002"/>
                    </a:lnTo>
                    <a:lnTo>
                      <a:pt x="61" y="994"/>
                    </a:lnTo>
                    <a:lnTo>
                      <a:pt x="54" y="987"/>
                    </a:lnTo>
                    <a:lnTo>
                      <a:pt x="50" y="977"/>
                    </a:lnTo>
                    <a:lnTo>
                      <a:pt x="42" y="966"/>
                    </a:lnTo>
                    <a:lnTo>
                      <a:pt x="33" y="956"/>
                    </a:lnTo>
                    <a:lnTo>
                      <a:pt x="23" y="945"/>
                    </a:lnTo>
                    <a:lnTo>
                      <a:pt x="13" y="934"/>
                    </a:lnTo>
                    <a:lnTo>
                      <a:pt x="9" y="929"/>
                    </a:lnTo>
                    <a:lnTo>
                      <a:pt x="6" y="923"/>
                    </a:lnTo>
                    <a:lnTo>
                      <a:pt x="2" y="918"/>
                    </a:lnTo>
                    <a:lnTo>
                      <a:pt x="1" y="912"/>
                    </a:lnTo>
                    <a:lnTo>
                      <a:pt x="0" y="906"/>
                    </a:lnTo>
                    <a:lnTo>
                      <a:pt x="1" y="900"/>
                    </a:lnTo>
                    <a:lnTo>
                      <a:pt x="3" y="894"/>
                    </a:lnTo>
                    <a:lnTo>
                      <a:pt x="7" y="888"/>
                    </a:lnTo>
                    <a:lnTo>
                      <a:pt x="21" y="865"/>
                    </a:lnTo>
                    <a:lnTo>
                      <a:pt x="41" y="831"/>
                    </a:lnTo>
                    <a:lnTo>
                      <a:pt x="53" y="814"/>
                    </a:lnTo>
                    <a:lnTo>
                      <a:pt x="63" y="800"/>
                    </a:lnTo>
                    <a:lnTo>
                      <a:pt x="67" y="795"/>
                    </a:lnTo>
                    <a:lnTo>
                      <a:pt x="72" y="790"/>
                    </a:lnTo>
                    <a:lnTo>
                      <a:pt x="75" y="788"/>
                    </a:lnTo>
                    <a:lnTo>
                      <a:pt x="77" y="787"/>
                    </a:lnTo>
                    <a:lnTo>
                      <a:pt x="85" y="786"/>
                    </a:lnTo>
                    <a:lnTo>
                      <a:pt x="100" y="788"/>
                    </a:lnTo>
                    <a:lnTo>
                      <a:pt x="118" y="790"/>
                    </a:lnTo>
                    <a:lnTo>
                      <a:pt x="132" y="792"/>
                    </a:lnTo>
                    <a:lnTo>
                      <a:pt x="150" y="797"/>
                    </a:lnTo>
                    <a:lnTo>
                      <a:pt x="165" y="801"/>
                    </a:lnTo>
                    <a:lnTo>
                      <a:pt x="177" y="805"/>
                    </a:lnTo>
                    <a:lnTo>
                      <a:pt x="186" y="810"/>
                    </a:lnTo>
                    <a:lnTo>
                      <a:pt x="189" y="814"/>
                    </a:lnTo>
                    <a:lnTo>
                      <a:pt x="192" y="817"/>
                    </a:lnTo>
                    <a:lnTo>
                      <a:pt x="194" y="822"/>
                    </a:lnTo>
                    <a:lnTo>
                      <a:pt x="195" y="827"/>
                    </a:lnTo>
                    <a:lnTo>
                      <a:pt x="196" y="834"/>
                    </a:lnTo>
                    <a:lnTo>
                      <a:pt x="196" y="841"/>
                    </a:lnTo>
                    <a:lnTo>
                      <a:pt x="196" y="849"/>
                    </a:lnTo>
                    <a:lnTo>
                      <a:pt x="195" y="858"/>
                    </a:lnTo>
                    <a:lnTo>
                      <a:pt x="189" y="880"/>
                    </a:lnTo>
                    <a:lnTo>
                      <a:pt x="184" y="899"/>
                    </a:lnTo>
                    <a:lnTo>
                      <a:pt x="184" y="904"/>
                    </a:lnTo>
                    <a:lnTo>
                      <a:pt x="184" y="907"/>
                    </a:lnTo>
                    <a:lnTo>
                      <a:pt x="186" y="911"/>
                    </a:lnTo>
                    <a:lnTo>
                      <a:pt x="188" y="915"/>
                    </a:lnTo>
                    <a:lnTo>
                      <a:pt x="191" y="918"/>
                    </a:lnTo>
                    <a:lnTo>
                      <a:pt x="195" y="920"/>
                    </a:lnTo>
                    <a:lnTo>
                      <a:pt x="201" y="923"/>
                    </a:lnTo>
                    <a:lnTo>
                      <a:pt x="207" y="924"/>
                    </a:lnTo>
                    <a:lnTo>
                      <a:pt x="219" y="927"/>
                    </a:lnTo>
                    <a:lnTo>
                      <a:pt x="230" y="929"/>
                    </a:lnTo>
                    <a:lnTo>
                      <a:pt x="242" y="931"/>
                    </a:lnTo>
                    <a:lnTo>
                      <a:pt x="254" y="931"/>
                    </a:lnTo>
                    <a:lnTo>
                      <a:pt x="266" y="931"/>
                    </a:lnTo>
                    <a:lnTo>
                      <a:pt x="278" y="930"/>
                    </a:lnTo>
                    <a:lnTo>
                      <a:pt x="290" y="927"/>
                    </a:lnTo>
                    <a:lnTo>
                      <a:pt x="301" y="925"/>
                    </a:lnTo>
                    <a:lnTo>
                      <a:pt x="312" y="923"/>
                    </a:lnTo>
                    <a:lnTo>
                      <a:pt x="324" y="920"/>
                    </a:lnTo>
                    <a:lnTo>
                      <a:pt x="335" y="916"/>
                    </a:lnTo>
                    <a:lnTo>
                      <a:pt x="346" y="911"/>
                    </a:lnTo>
                    <a:lnTo>
                      <a:pt x="356" y="906"/>
                    </a:lnTo>
                    <a:lnTo>
                      <a:pt x="366" y="900"/>
                    </a:lnTo>
                    <a:lnTo>
                      <a:pt x="375" y="895"/>
                    </a:lnTo>
                    <a:lnTo>
                      <a:pt x="384" y="888"/>
                    </a:lnTo>
                    <a:lnTo>
                      <a:pt x="392" y="881"/>
                    </a:lnTo>
                    <a:lnTo>
                      <a:pt x="400" y="873"/>
                    </a:lnTo>
                    <a:lnTo>
                      <a:pt x="408" y="866"/>
                    </a:lnTo>
                    <a:lnTo>
                      <a:pt x="413" y="857"/>
                    </a:lnTo>
                    <a:lnTo>
                      <a:pt x="418" y="849"/>
                    </a:lnTo>
                    <a:lnTo>
                      <a:pt x="424" y="839"/>
                    </a:lnTo>
                    <a:lnTo>
                      <a:pt x="427" y="829"/>
                    </a:lnTo>
                    <a:lnTo>
                      <a:pt x="430" y="819"/>
                    </a:lnTo>
                    <a:lnTo>
                      <a:pt x="432" y="810"/>
                    </a:lnTo>
                    <a:lnTo>
                      <a:pt x="433" y="799"/>
                    </a:lnTo>
                    <a:lnTo>
                      <a:pt x="432" y="788"/>
                    </a:lnTo>
                    <a:lnTo>
                      <a:pt x="429" y="776"/>
                    </a:lnTo>
                    <a:lnTo>
                      <a:pt x="427" y="764"/>
                    </a:lnTo>
                    <a:lnTo>
                      <a:pt x="423" y="753"/>
                    </a:lnTo>
                    <a:lnTo>
                      <a:pt x="417" y="741"/>
                    </a:lnTo>
                    <a:lnTo>
                      <a:pt x="410" y="729"/>
                    </a:lnTo>
                    <a:lnTo>
                      <a:pt x="395" y="706"/>
                    </a:lnTo>
                    <a:lnTo>
                      <a:pt x="379" y="684"/>
                    </a:lnTo>
                    <a:lnTo>
                      <a:pt x="372" y="675"/>
                    </a:lnTo>
                    <a:lnTo>
                      <a:pt x="365" y="665"/>
                    </a:lnTo>
                    <a:lnTo>
                      <a:pt x="360" y="656"/>
                    </a:lnTo>
                    <a:lnTo>
                      <a:pt x="357" y="647"/>
                    </a:lnTo>
                    <a:lnTo>
                      <a:pt x="355" y="639"/>
                    </a:lnTo>
                    <a:lnTo>
                      <a:pt x="355" y="630"/>
                    </a:lnTo>
                    <a:lnTo>
                      <a:pt x="355" y="627"/>
                    </a:lnTo>
                    <a:lnTo>
                      <a:pt x="356" y="623"/>
                    </a:lnTo>
                    <a:lnTo>
                      <a:pt x="358" y="620"/>
                    </a:lnTo>
                    <a:lnTo>
                      <a:pt x="361" y="616"/>
                    </a:lnTo>
                    <a:lnTo>
                      <a:pt x="364" y="613"/>
                    </a:lnTo>
                    <a:lnTo>
                      <a:pt x="369" y="610"/>
                    </a:lnTo>
                    <a:lnTo>
                      <a:pt x="373" y="607"/>
                    </a:lnTo>
                    <a:lnTo>
                      <a:pt x="379" y="603"/>
                    </a:lnTo>
                    <a:lnTo>
                      <a:pt x="394" y="598"/>
                    </a:lnTo>
                    <a:lnTo>
                      <a:pt x="411" y="593"/>
                    </a:lnTo>
                    <a:lnTo>
                      <a:pt x="432" y="587"/>
                    </a:lnTo>
                    <a:lnTo>
                      <a:pt x="454" y="580"/>
                    </a:lnTo>
                    <a:lnTo>
                      <a:pt x="466" y="575"/>
                    </a:lnTo>
                    <a:lnTo>
                      <a:pt x="478" y="570"/>
                    </a:lnTo>
                    <a:lnTo>
                      <a:pt x="489" y="565"/>
                    </a:lnTo>
                    <a:lnTo>
                      <a:pt x="501" y="558"/>
                    </a:lnTo>
                    <a:lnTo>
                      <a:pt x="511" y="552"/>
                    </a:lnTo>
                    <a:lnTo>
                      <a:pt x="520" y="544"/>
                    </a:lnTo>
                    <a:lnTo>
                      <a:pt x="529" y="535"/>
                    </a:lnTo>
                    <a:lnTo>
                      <a:pt x="537" y="527"/>
                    </a:lnTo>
                    <a:lnTo>
                      <a:pt x="543" y="517"/>
                    </a:lnTo>
                    <a:lnTo>
                      <a:pt x="547" y="506"/>
                    </a:lnTo>
                    <a:lnTo>
                      <a:pt x="551" y="494"/>
                    </a:lnTo>
                    <a:lnTo>
                      <a:pt x="552" y="483"/>
                    </a:lnTo>
                    <a:lnTo>
                      <a:pt x="552" y="483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11" name="Freeform 26">
                <a:extLst>
                  <a:ext uri="{FF2B5EF4-FFF2-40B4-BE49-F238E27FC236}">
                    <a16:creationId xmlns:a16="http://schemas.microsoft.com/office/drawing/2014/main" id="{48D30D2F-ACF5-4FBB-8768-FA77E4B065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50713" y="-812395"/>
                <a:ext cx="1158875" cy="1049338"/>
              </a:xfrm>
              <a:custGeom>
                <a:avLst/>
                <a:gdLst>
                  <a:gd name="T0" fmla="*/ 706 w 2922"/>
                  <a:gd name="T1" fmla="*/ 159 h 2644"/>
                  <a:gd name="T2" fmla="*/ 883 w 2922"/>
                  <a:gd name="T3" fmla="*/ 138 h 2644"/>
                  <a:gd name="T4" fmla="*/ 1046 w 2922"/>
                  <a:gd name="T5" fmla="*/ 101 h 2644"/>
                  <a:gd name="T6" fmla="*/ 1179 w 2922"/>
                  <a:gd name="T7" fmla="*/ 247 h 2644"/>
                  <a:gd name="T8" fmla="*/ 1407 w 2922"/>
                  <a:gd name="T9" fmla="*/ 260 h 2644"/>
                  <a:gd name="T10" fmla="*/ 1551 w 2922"/>
                  <a:gd name="T11" fmla="*/ 148 h 2644"/>
                  <a:gd name="T12" fmla="*/ 1702 w 2922"/>
                  <a:gd name="T13" fmla="*/ 152 h 2644"/>
                  <a:gd name="T14" fmla="*/ 2148 w 2922"/>
                  <a:gd name="T15" fmla="*/ 45 h 2644"/>
                  <a:gd name="T16" fmla="*/ 2169 w 2922"/>
                  <a:gd name="T17" fmla="*/ 177 h 2644"/>
                  <a:gd name="T18" fmla="*/ 2056 w 2922"/>
                  <a:gd name="T19" fmla="*/ 309 h 2644"/>
                  <a:gd name="T20" fmla="*/ 2017 w 2922"/>
                  <a:gd name="T21" fmla="*/ 462 h 2644"/>
                  <a:gd name="T22" fmla="*/ 1944 w 2922"/>
                  <a:gd name="T23" fmla="*/ 610 h 2644"/>
                  <a:gd name="T24" fmla="*/ 1866 w 2922"/>
                  <a:gd name="T25" fmla="*/ 694 h 2644"/>
                  <a:gd name="T26" fmla="*/ 1963 w 2922"/>
                  <a:gd name="T27" fmla="*/ 827 h 2644"/>
                  <a:gd name="T28" fmla="*/ 1949 w 2922"/>
                  <a:gd name="T29" fmla="*/ 1092 h 2644"/>
                  <a:gd name="T30" fmla="*/ 1858 w 2922"/>
                  <a:gd name="T31" fmla="*/ 1237 h 2644"/>
                  <a:gd name="T32" fmla="*/ 1749 w 2922"/>
                  <a:gd name="T33" fmla="*/ 1403 h 2644"/>
                  <a:gd name="T34" fmla="*/ 1737 w 2922"/>
                  <a:gd name="T35" fmla="*/ 1548 h 2644"/>
                  <a:gd name="T36" fmla="*/ 1893 w 2922"/>
                  <a:gd name="T37" fmla="*/ 1531 h 2644"/>
                  <a:gd name="T38" fmla="*/ 1950 w 2922"/>
                  <a:gd name="T39" fmla="*/ 1601 h 2644"/>
                  <a:gd name="T40" fmla="*/ 2075 w 2922"/>
                  <a:gd name="T41" fmla="*/ 1511 h 2644"/>
                  <a:gd name="T42" fmla="*/ 2002 w 2922"/>
                  <a:gd name="T43" fmla="*/ 1449 h 2644"/>
                  <a:gd name="T44" fmla="*/ 2139 w 2922"/>
                  <a:gd name="T45" fmla="*/ 1275 h 2644"/>
                  <a:gd name="T46" fmla="*/ 2316 w 2922"/>
                  <a:gd name="T47" fmla="*/ 1133 h 2644"/>
                  <a:gd name="T48" fmla="*/ 2583 w 2922"/>
                  <a:gd name="T49" fmla="*/ 1245 h 2644"/>
                  <a:gd name="T50" fmla="*/ 2739 w 2922"/>
                  <a:gd name="T51" fmla="*/ 1293 h 2644"/>
                  <a:gd name="T52" fmla="*/ 2592 w 2922"/>
                  <a:gd name="T53" fmla="*/ 1439 h 2644"/>
                  <a:gd name="T54" fmla="*/ 2532 w 2922"/>
                  <a:gd name="T55" fmla="*/ 1564 h 2644"/>
                  <a:gd name="T56" fmla="*/ 2755 w 2922"/>
                  <a:gd name="T57" fmla="*/ 1691 h 2644"/>
                  <a:gd name="T58" fmla="*/ 2816 w 2922"/>
                  <a:gd name="T59" fmla="*/ 1933 h 2644"/>
                  <a:gd name="T60" fmla="*/ 2759 w 2922"/>
                  <a:gd name="T61" fmla="*/ 1986 h 2644"/>
                  <a:gd name="T62" fmla="*/ 2453 w 2922"/>
                  <a:gd name="T63" fmla="*/ 2059 h 2644"/>
                  <a:gd name="T64" fmla="*/ 2212 w 2922"/>
                  <a:gd name="T65" fmla="*/ 2034 h 2644"/>
                  <a:gd name="T66" fmla="*/ 2084 w 2922"/>
                  <a:gd name="T67" fmla="*/ 2190 h 2644"/>
                  <a:gd name="T68" fmla="*/ 1831 w 2922"/>
                  <a:gd name="T69" fmla="*/ 2618 h 2644"/>
                  <a:gd name="T70" fmla="*/ 1758 w 2922"/>
                  <a:gd name="T71" fmla="*/ 2551 h 2644"/>
                  <a:gd name="T72" fmla="*/ 1678 w 2922"/>
                  <a:gd name="T73" fmla="*/ 2641 h 2644"/>
                  <a:gd name="T74" fmla="*/ 1533 w 2922"/>
                  <a:gd name="T75" fmla="*/ 2520 h 2644"/>
                  <a:gd name="T76" fmla="*/ 1264 w 2922"/>
                  <a:gd name="T77" fmla="*/ 2309 h 2644"/>
                  <a:gd name="T78" fmla="*/ 1094 w 2922"/>
                  <a:gd name="T79" fmla="*/ 2268 h 2644"/>
                  <a:gd name="T80" fmla="*/ 1096 w 2922"/>
                  <a:gd name="T81" fmla="*/ 2149 h 2644"/>
                  <a:gd name="T82" fmla="*/ 969 w 2922"/>
                  <a:gd name="T83" fmla="*/ 2057 h 2644"/>
                  <a:gd name="T84" fmla="*/ 819 w 2922"/>
                  <a:gd name="T85" fmla="*/ 2109 h 2644"/>
                  <a:gd name="T86" fmla="*/ 751 w 2922"/>
                  <a:gd name="T87" fmla="*/ 2233 h 2644"/>
                  <a:gd name="T88" fmla="*/ 571 w 2922"/>
                  <a:gd name="T89" fmla="*/ 2189 h 2644"/>
                  <a:gd name="T90" fmla="*/ 571 w 2922"/>
                  <a:gd name="T91" fmla="*/ 2013 h 2644"/>
                  <a:gd name="T92" fmla="*/ 435 w 2922"/>
                  <a:gd name="T93" fmla="*/ 2027 h 2644"/>
                  <a:gd name="T94" fmla="*/ 332 w 2922"/>
                  <a:gd name="T95" fmla="*/ 1788 h 2644"/>
                  <a:gd name="T96" fmla="*/ 242 w 2922"/>
                  <a:gd name="T97" fmla="*/ 1704 h 2644"/>
                  <a:gd name="T98" fmla="*/ 114 w 2922"/>
                  <a:gd name="T99" fmla="*/ 1470 h 2644"/>
                  <a:gd name="T100" fmla="*/ 187 w 2922"/>
                  <a:gd name="T101" fmla="*/ 1268 h 2644"/>
                  <a:gd name="T102" fmla="*/ 112 w 2922"/>
                  <a:gd name="T103" fmla="*/ 1207 h 2644"/>
                  <a:gd name="T104" fmla="*/ 174 w 2922"/>
                  <a:gd name="T105" fmla="*/ 1105 h 2644"/>
                  <a:gd name="T106" fmla="*/ 67 w 2922"/>
                  <a:gd name="T107" fmla="*/ 1002 h 2644"/>
                  <a:gd name="T108" fmla="*/ 3 w 2922"/>
                  <a:gd name="T109" fmla="*/ 894 h 2644"/>
                  <a:gd name="T110" fmla="*/ 150 w 2922"/>
                  <a:gd name="T111" fmla="*/ 797 h 2644"/>
                  <a:gd name="T112" fmla="*/ 184 w 2922"/>
                  <a:gd name="T113" fmla="*/ 904 h 2644"/>
                  <a:gd name="T114" fmla="*/ 290 w 2922"/>
                  <a:gd name="T115" fmla="*/ 927 h 2644"/>
                  <a:gd name="T116" fmla="*/ 418 w 2922"/>
                  <a:gd name="T117" fmla="*/ 849 h 2644"/>
                  <a:gd name="T118" fmla="*/ 372 w 2922"/>
                  <a:gd name="T119" fmla="*/ 675 h 2644"/>
                  <a:gd name="T120" fmla="*/ 394 w 2922"/>
                  <a:gd name="T121" fmla="*/ 598 h 2644"/>
                  <a:gd name="T122" fmla="*/ 551 w 2922"/>
                  <a:gd name="T123" fmla="*/ 494 h 2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922" h="2644">
                    <a:moveTo>
                      <a:pt x="552" y="483"/>
                    </a:moveTo>
                    <a:lnTo>
                      <a:pt x="673" y="423"/>
                    </a:lnTo>
                    <a:lnTo>
                      <a:pt x="680" y="402"/>
                    </a:lnTo>
                    <a:lnTo>
                      <a:pt x="685" y="378"/>
                    </a:lnTo>
                    <a:lnTo>
                      <a:pt x="691" y="353"/>
                    </a:lnTo>
                    <a:lnTo>
                      <a:pt x="695" y="327"/>
                    </a:lnTo>
                    <a:lnTo>
                      <a:pt x="698" y="300"/>
                    </a:lnTo>
                    <a:lnTo>
                      <a:pt x="700" y="275"/>
                    </a:lnTo>
                    <a:lnTo>
                      <a:pt x="701" y="249"/>
                    </a:lnTo>
                    <a:lnTo>
                      <a:pt x="702" y="227"/>
                    </a:lnTo>
                    <a:lnTo>
                      <a:pt x="702" y="196"/>
                    </a:lnTo>
                    <a:lnTo>
                      <a:pt x="704" y="174"/>
                    </a:lnTo>
                    <a:lnTo>
                      <a:pt x="705" y="166"/>
                    </a:lnTo>
                    <a:lnTo>
                      <a:pt x="706" y="159"/>
                    </a:lnTo>
                    <a:lnTo>
                      <a:pt x="708" y="154"/>
                    </a:lnTo>
                    <a:lnTo>
                      <a:pt x="711" y="150"/>
                    </a:lnTo>
                    <a:lnTo>
                      <a:pt x="715" y="148"/>
                    </a:lnTo>
                    <a:lnTo>
                      <a:pt x="721" y="146"/>
                    </a:lnTo>
                    <a:lnTo>
                      <a:pt x="727" y="146"/>
                    </a:lnTo>
                    <a:lnTo>
                      <a:pt x="736" y="146"/>
                    </a:lnTo>
                    <a:lnTo>
                      <a:pt x="757" y="148"/>
                    </a:lnTo>
                    <a:lnTo>
                      <a:pt x="785" y="152"/>
                    </a:lnTo>
                    <a:lnTo>
                      <a:pt x="795" y="153"/>
                    </a:lnTo>
                    <a:lnTo>
                      <a:pt x="805" y="153"/>
                    </a:lnTo>
                    <a:lnTo>
                      <a:pt x="817" y="153"/>
                    </a:lnTo>
                    <a:lnTo>
                      <a:pt x="830" y="151"/>
                    </a:lnTo>
                    <a:lnTo>
                      <a:pt x="856" y="146"/>
                    </a:lnTo>
                    <a:lnTo>
                      <a:pt x="883" y="138"/>
                    </a:lnTo>
                    <a:lnTo>
                      <a:pt x="910" y="130"/>
                    </a:lnTo>
                    <a:lnTo>
                      <a:pt x="935" y="121"/>
                    </a:lnTo>
                    <a:lnTo>
                      <a:pt x="959" y="112"/>
                    </a:lnTo>
                    <a:lnTo>
                      <a:pt x="979" y="103"/>
                    </a:lnTo>
                    <a:lnTo>
                      <a:pt x="1002" y="94"/>
                    </a:lnTo>
                    <a:lnTo>
                      <a:pt x="1018" y="87"/>
                    </a:lnTo>
                    <a:lnTo>
                      <a:pt x="1024" y="85"/>
                    </a:lnTo>
                    <a:lnTo>
                      <a:pt x="1030" y="84"/>
                    </a:lnTo>
                    <a:lnTo>
                      <a:pt x="1034" y="84"/>
                    </a:lnTo>
                    <a:lnTo>
                      <a:pt x="1037" y="85"/>
                    </a:lnTo>
                    <a:lnTo>
                      <a:pt x="1039" y="87"/>
                    </a:lnTo>
                    <a:lnTo>
                      <a:pt x="1043" y="90"/>
                    </a:lnTo>
                    <a:lnTo>
                      <a:pt x="1044" y="95"/>
                    </a:lnTo>
                    <a:lnTo>
                      <a:pt x="1046" y="101"/>
                    </a:lnTo>
                    <a:lnTo>
                      <a:pt x="1050" y="116"/>
                    </a:lnTo>
                    <a:lnTo>
                      <a:pt x="1055" y="138"/>
                    </a:lnTo>
                    <a:lnTo>
                      <a:pt x="1059" y="150"/>
                    </a:lnTo>
                    <a:lnTo>
                      <a:pt x="1064" y="161"/>
                    </a:lnTo>
                    <a:lnTo>
                      <a:pt x="1071" y="171"/>
                    </a:lnTo>
                    <a:lnTo>
                      <a:pt x="1078" y="182"/>
                    </a:lnTo>
                    <a:lnTo>
                      <a:pt x="1088" y="192"/>
                    </a:lnTo>
                    <a:lnTo>
                      <a:pt x="1098" y="202"/>
                    </a:lnTo>
                    <a:lnTo>
                      <a:pt x="1110" y="210"/>
                    </a:lnTo>
                    <a:lnTo>
                      <a:pt x="1122" y="219"/>
                    </a:lnTo>
                    <a:lnTo>
                      <a:pt x="1136" y="227"/>
                    </a:lnTo>
                    <a:lnTo>
                      <a:pt x="1150" y="234"/>
                    </a:lnTo>
                    <a:lnTo>
                      <a:pt x="1164" y="241"/>
                    </a:lnTo>
                    <a:lnTo>
                      <a:pt x="1179" y="247"/>
                    </a:lnTo>
                    <a:lnTo>
                      <a:pt x="1196" y="252"/>
                    </a:lnTo>
                    <a:lnTo>
                      <a:pt x="1212" y="258"/>
                    </a:lnTo>
                    <a:lnTo>
                      <a:pt x="1228" y="262"/>
                    </a:lnTo>
                    <a:lnTo>
                      <a:pt x="1245" y="265"/>
                    </a:lnTo>
                    <a:lnTo>
                      <a:pt x="1263" y="269"/>
                    </a:lnTo>
                    <a:lnTo>
                      <a:pt x="1279" y="271"/>
                    </a:lnTo>
                    <a:lnTo>
                      <a:pt x="1296" y="272"/>
                    </a:lnTo>
                    <a:lnTo>
                      <a:pt x="1313" y="273"/>
                    </a:lnTo>
                    <a:lnTo>
                      <a:pt x="1330" y="273"/>
                    </a:lnTo>
                    <a:lnTo>
                      <a:pt x="1346" y="272"/>
                    </a:lnTo>
                    <a:lnTo>
                      <a:pt x="1362" y="270"/>
                    </a:lnTo>
                    <a:lnTo>
                      <a:pt x="1378" y="268"/>
                    </a:lnTo>
                    <a:lnTo>
                      <a:pt x="1392" y="264"/>
                    </a:lnTo>
                    <a:lnTo>
                      <a:pt x="1407" y="260"/>
                    </a:lnTo>
                    <a:lnTo>
                      <a:pt x="1420" y="256"/>
                    </a:lnTo>
                    <a:lnTo>
                      <a:pt x="1432" y="249"/>
                    </a:lnTo>
                    <a:lnTo>
                      <a:pt x="1444" y="243"/>
                    </a:lnTo>
                    <a:lnTo>
                      <a:pt x="1455" y="235"/>
                    </a:lnTo>
                    <a:lnTo>
                      <a:pt x="1463" y="227"/>
                    </a:lnTo>
                    <a:lnTo>
                      <a:pt x="1472" y="217"/>
                    </a:lnTo>
                    <a:lnTo>
                      <a:pt x="1498" y="181"/>
                    </a:lnTo>
                    <a:lnTo>
                      <a:pt x="1516" y="157"/>
                    </a:lnTo>
                    <a:lnTo>
                      <a:pt x="1523" y="151"/>
                    </a:lnTo>
                    <a:lnTo>
                      <a:pt x="1528" y="146"/>
                    </a:lnTo>
                    <a:lnTo>
                      <a:pt x="1534" y="143"/>
                    </a:lnTo>
                    <a:lnTo>
                      <a:pt x="1539" y="142"/>
                    </a:lnTo>
                    <a:lnTo>
                      <a:pt x="1544" y="144"/>
                    </a:lnTo>
                    <a:lnTo>
                      <a:pt x="1551" y="148"/>
                    </a:lnTo>
                    <a:lnTo>
                      <a:pt x="1557" y="153"/>
                    </a:lnTo>
                    <a:lnTo>
                      <a:pt x="1566" y="161"/>
                    </a:lnTo>
                    <a:lnTo>
                      <a:pt x="1576" y="169"/>
                    </a:lnTo>
                    <a:lnTo>
                      <a:pt x="1589" y="179"/>
                    </a:lnTo>
                    <a:lnTo>
                      <a:pt x="1604" y="190"/>
                    </a:lnTo>
                    <a:lnTo>
                      <a:pt x="1621" y="202"/>
                    </a:lnTo>
                    <a:lnTo>
                      <a:pt x="1625" y="203"/>
                    </a:lnTo>
                    <a:lnTo>
                      <a:pt x="1627" y="203"/>
                    </a:lnTo>
                    <a:lnTo>
                      <a:pt x="1631" y="202"/>
                    </a:lnTo>
                    <a:lnTo>
                      <a:pt x="1634" y="201"/>
                    </a:lnTo>
                    <a:lnTo>
                      <a:pt x="1643" y="197"/>
                    </a:lnTo>
                    <a:lnTo>
                      <a:pt x="1653" y="191"/>
                    </a:lnTo>
                    <a:lnTo>
                      <a:pt x="1676" y="174"/>
                    </a:lnTo>
                    <a:lnTo>
                      <a:pt x="1702" y="152"/>
                    </a:lnTo>
                    <a:lnTo>
                      <a:pt x="1727" y="129"/>
                    </a:lnTo>
                    <a:lnTo>
                      <a:pt x="1751" y="107"/>
                    </a:lnTo>
                    <a:lnTo>
                      <a:pt x="1762" y="97"/>
                    </a:lnTo>
                    <a:lnTo>
                      <a:pt x="1773" y="89"/>
                    </a:lnTo>
                    <a:lnTo>
                      <a:pt x="1782" y="82"/>
                    </a:lnTo>
                    <a:lnTo>
                      <a:pt x="1790" y="78"/>
                    </a:lnTo>
                    <a:lnTo>
                      <a:pt x="1893" y="70"/>
                    </a:lnTo>
                    <a:lnTo>
                      <a:pt x="1970" y="0"/>
                    </a:lnTo>
                    <a:lnTo>
                      <a:pt x="1970" y="0"/>
                    </a:lnTo>
                    <a:lnTo>
                      <a:pt x="2120" y="38"/>
                    </a:lnTo>
                    <a:lnTo>
                      <a:pt x="2127" y="39"/>
                    </a:lnTo>
                    <a:lnTo>
                      <a:pt x="2135" y="40"/>
                    </a:lnTo>
                    <a:lnTo>
                      <a:pt x="2142" y="43"/>
                    </a:lnTo>
                    <a:lnTo>
                      <a:pt x="2148" y="45"/>
                    </a:lnTo>
                    <a:lnTo>
                      <a:pt x="2154" y="49"/>
                    </a:lnTo>
                    <a:lnTo>
                      <a:pt x="2159" y="53"/>
                    </a:lnTo>
                    <a:lnTo>
                      <a:pt x="2163" y="58"/>
                    </a:lnTo>
                    <a:lnTo>
                      <a:pt x="2167" y="62"/>
                    </a:lnTo>
                    <a:lnTo>
                      <a:pt x="2170" y="68"/>
                    </a:lnTo>
                    <a:lnTo>
                      <a:pt x="2173" y="74"/>
                    </a:lnTo>
                    <a:lnTo>
                      <a:pt x="2175" y="80"/>
                    </a:lnTo>
                    <a:lnTo>
                      <a:pt x="2176" y="86"/>
                    </a:lnTo>
                    <a:lnTo>
                      <a:pt x="2178" y="100"/>
                    </a:lnTo>
                    <a:lnTo>
                      <a:pt x="2180" y="115"/>
                    </a:lnTo>
                    <a:lnTo>
                      <a:pt x="2178" y="130"/>
                    </a:lnTo>
                    <a:lnTo>
                      <a:pt x="2176" y="146"/>
                    </a:lnTo>
                    <a:lnTo>
                      <a:pt x="2173" y="162"/>
                    </a:lnTo>
                    <a:lnTo>
                      <a:pt x="2169" y="177"/>
                    </a:lnTo>
                    <a:lnTo>
                      <a:pt x="2163" y="192"/>
                    </a:lnTo>
                    <a:lnTo>
                      <a:pt x="2158" y="206"/>
                    </a:lnTo>
                    <a:lnTo>
                      <a:pt x="2152" y="219"/>
                    </a:lnTo>
                    <a:lnTo>
                      <a:pt x="2146" y="231"/>
                    </a:lnTo>
                    <a:lnTo>
                      <a:pt x="2139" y="242"/>
                    </a:lnTo>
                    <a:lnTo>
                      <a:pt x="2132" y="251"/>
                    </a:lnTo>
                    <a:lnTo>
                      <a:pt x="2124" y="258"/>
                    </a:lnTo>
                    <a:lnTo>
                      <a:pt x="2116" y="264"/>
                    </a:lnTo>
                    <a:lnTo>
                      <a:pt x="2099" y="275"/>
                    </a:lnTo>
                    <a:lnTo>
                      <a:pt x="2082" y="285"/>
                    </a:lnTo>
                    <a:lnTo>
                      <a:pt x="2074" y="289"/>
                    </a:lnTo>
                    <a:lnTo>
                      <a:pt x="2068" y="295"/>
                    </a:lnTo>
                    <a:lnTo>
                      <a:pt x="2061" y="301"/>
                    </a:lnTo>
                    <a:lnTo>
                      <a:pt x="2056" y="309"/>
                    </a:lnTo>
                    <a:lnTo>
                      <a:pt x="2052" y="317"/>
                    </a:lnTo>
                    <a:lnTo>
                      <a:pt x="2047" y="327"/>
                    </a:lnTo>
                    <a:lnTo>
                      <a:pt x="2045" y="340"/>
                    </a:lnTo>
                    <a:lnTo>
                      <a:pt x="2045" y="354"/>
                    </a:lnTo>
                    <a:lnTo>
                      <a:pt x="2045" y="384"/>
                    </a:lnTo>
                    <a:lnTo>
                      <a:pt x="2044" y="408"/>
                    </a:lnTo>
                    <a:lnTo>
                      <a:pt x="2044" y="418"/>
                    </a:lnTo>
                    <a:lnTo>
                      <a:pt x="2042" y="425"/>
                    </a:lnTo>
                    <a:lnTo>
                      <a:pt x="2041" y="433"/>
                    </a:lnTo>
                    <a:lnTo>
                      <a:pt x="2038" y="439"/>
                    </a:lnTo>
                    <a:lnTo>
                      <a:pt x="2034" y="446"/>
                    </a:lnTo>
                    <a:lnTo>
                      <a:pt x="2030" y="451"/>
                    </a:lnTo>
                    <a:lnTo>
                      <a:pt x="2025" y="457"/>
                    </a:lnTo>
                    <a:lnTo>
                      <a:pt x="2017" y="462"/>
                    </a:lnTo>
                    <a:lnTo>
                      <a:pt x="2000" y="473"/>
                    </a:lnTo>
                    <a:lnTo>
                      <a:pt x="1975" y="487"/>
                    </a:lnTo>
                    <a:lnTo>
                      <a:pt x="1964" y="493"/>
                    </a:lnTo>
                    <a:lnTo>
                      <a:pt x="1955" y="499"/>
                    </a:lnTo>
                    <a:lnTo>
                      <a:pt x="1949" y="505"/>
                    </a:lnTo>
                    <a:lnTo>
                      <a:pt x="1943" y="511"/>
                    </a:lnTo>
                    <a:lnTo>
                      <a:pt x="1940" y="516"/>
                    </a:lnTo>
                    <a:lnTo>
                      <a:pt x="1938" y="521"/>
                    </a:lnTo>
                    <a:lnTo>
                      <a:pt x="1937" y="528"/>
                    </a:lnTo>
                    <a:lnTo>
                      <a:pt x="1937" y="533"/>
                    </a:lnTo>
                    <a:lnTo>
                      <a:pt x="1942" y="561"/>
                    </a:lnTo>
                    <a:lnTo>
                      <a:pt x="1947" y="598"/>
                    </a:lnTo>
                    <a:lnTo>
                      <a:pt x="1945" y="603"/>
                    </a:lnTo>
                    <a:lnTo>
                      <a:pt x="1944" y="610"/>
                    </a:lnTo>
                    <a:lnTo>
                      <a:pt x="1942" y="614"/>
                    </a:lnTo>
                    <a:lnTo>
                      <a:pt x="1940" y="620"/>
                    </a:lnTo>
                    <a:lnTo>
                      <a:pt x="1934" y="628"/>
                    </a:lnTo>
                    <a:lnTo>
                      <a:pt x="1925" y="635"/>
                    </a:lnTo>
                    <a:lnTo>
                      <a:pt x="1905" y="647"/>
                    </a:lnTo>
                    <a:lnTo>
                      <a:pt x="1885" y="657"/>
                    </a:lnTo>
                    <a:lnTo>
                      <a:pt x="1877" y="663"/>
                    </a:lnTo>
                    <a:lnTo>
                      <a:pt x="1870" y="669"/>
                    </a:lnTo>
                    <a:lnTo>
                      <a:pt x="1867" y="673"/>
                    </a:lnTo>
                    <a:lnTo>
                      <a:pt x="1866" y="676"/>
                    </a:lnTo>
                    <a:lnTo>
                      <a:pt x="1864" y="680"/>
                    </a:lnTo>
                    <a:lnTo>
                      <a:pt x="1864" y="684"/>
                    </a:lnTo>
                    <a:lnTo>
                      <a:pt x="1865" y="689"/>
                    </a:lnTo>
                    <a:lnTo>
                      <a:pt x="1866" y="694"/>
                    </a:lnTo>
                    <a:lnTo>
                      <a:pt x="1868" y="700"/>
                    </a:lnTo>
                    <a:lnTo>
                      <a:pt x="1873" y="705"/>
                    </a:lnTo>
                    <a:lnTo>
                      <a:pt x="1877" y="711"/>
                    </a:lnTo>
                    <a:lnTo>
                      <a:pt x="1884" y="719"/>
                    </a:lnTo>
                    <a:lnTo>
                      <a:pt x="1890" y="727"/>
                    </a:lnTo>
                    <a:lnTo>
                      <a:pt x="1899" y="735"/>
                    </a:lnTo>
                    <a:lnTo>
                      <a:pt x="1918" y="754"/>
                    </a:lnTo>
                    <a:lnTo>
                      <a:pt x="1934" y="771"/>
                    </a:lnTo>
                    <a:lnTo>
                      <a:pt x="1940" y="781"/>
                    </a:lnTo>
                    <a:lnTo>
                      <a:pt x="1947" y="789"/>
                    </a:lnTo>
                    <a:lnTo>
                      <a:pt x="1951" y="798"/>
                    </a:lnTo>
                    <a:lnTo>
                      <a:pt x="1955" y="808"/>
                    </a:lnTo>
                    <a:lnTo>
                      <a:pt x="1960" y="817"/>
                    </a:lnTo>
                    <a:lnTo>
                      <a:pt x="1963" y="827"/>
                    </a:lnTo>
                    <a:lnTo>
                      <a:pt x="1965" y="838"/>
                    </a:lnTo>
                    <a:lnTo>
                      <a:pt x="1967" y="849"/>
                    </a:lnTo>
                    <a:lnTo>
                      <a:pt x="1969" y="872"/>
                    </a:lnTo>
                    <a:lnTo>
                      <a:pt x="1970" y="899"/>
                    </a:lnTo>
                    <a:lnTo>
                      <a:pt x="1970" y="913"/>
                    </a:lnTo>
                    <a:lnTo>
                      <a:pt x="1971" y="930"/>
                    </a:lnTo>
                    <a:lnTo>
                      <a:pt x="1970" y="947"/>
                    </a:lnTo>
                    <a:lnTo>
                      <a:pt x="1969" y="966"/>
                    </a:lnTo>
                    <a:lnTo>
                      <a:pt x="1968" y="986"/>
                    </a:lnTo>
                    <a:lnTo>
                      <a:pt x="1966" y="1007"/>
                    </a:lnTo>
                    <a:lnTo>
                      <a:pt x="1963" y="1028"/>
                    </a:lnTo>
                    <a:lnTo>
                      <a:pt x="1958" y="1050"/>
                    </a:lnTo>
                    <a:lnTo>
                      <a:pt x="1954" y="1071"/>
                    </a:lnTo>
                    <a:lnTo>
                      <a:pt x="1949" y="1092"/>
                    </a:lnTo>
                    <a:lnTo>
                      <a:pt x="1942" y="1111"/>
                    </a:lnTo>
                    <a:lnTo>
                      <a:pt x="1936" y="1128"/>
                    </a:lnTo>
                    <a:lnTo>
                      <a:pt x="1927" y="1146"/>
                    </a:lnTo>
                    <a:lnTo>
                      <a:pt x="1918" y="1160"/>
                    </a:lnTo>
                    <a:lnTo>
                      <a:pt x="1914" y="1166"/>
                    </a:lnTo>
                    <a:lnTo>
                      <a:pt x="1909" y="1172"/>
                    </a:lnTo>
                    <a:lnTo>
                      <a:pt x="1903" y="1177"/>
                    </a:lnTo>
                    <a:lnTo>
                      <a:pt x="1898" y="1181"/>
                    </a:lnTo>
                    <a:lnTo>
                      <a:pt x="1887" y="1191"/>
                    </a:lnTo>
                    <a:lnTo>
                      <a:pt x="1877" y="1200"/>
                    </a:lnTo>
                    <a:lnTo>
                      <a:pt x="1871" y="1209"/>
                    </a:lnTo>
                    <a:lnTo>
                      <a:pt x="1865" y="1219"/>
                    </a:lnTo>
                    <a:lnTo>
                      <a:pt x="1861" y="1229"/>
                    </a:lnTo>
                    <a:lnTo>
                      <a:pt x="1858" y="1237"/>
                    </a:lnTo>
                    <a:lnTo>
                      <a:pt x="1855" y="1247"/>
                    </a:lnTo>
                    <a:lnTo>
                      <a:pt x="1853" y="1257"/>
                    </a:lnTo>
                    <a:lnTo>
                      <a:pt x="1850" y="1275"/>
                    </a:lnTo>
                    <a:lnTo>
                      <a:pt x="1845" y="1293"/>
                    </a:lnTo>
                    <a:lnTo>
                      <a:pt x="1840" y="1301"/>
                    </a:lnTo>
                    <a:lnTo>
                      <a:pt x="1835" y="1310"/>
                    </a:lnTo>
                    <a:lnTo>
                      <a:pt x="1827" y="1318"/>
                    </a:lnTo>
                    <a:lnTo>
                      <a:pt x="1818" y="1326"/>
                    </a:lnTo>
                    <a:lnTo>
                      <a:pt x="1807" y="1335"/>
                    </a:lnTo>
                    <a:lnTo>
                      <a:pt x="1796" y="1344"/>
                    </a:lnTo>
                    <a:lnTo>
                      <a:pt x="1784" y="1357"/>
                    </a:lnTo>
                    <a:lnTo>
                      <a:pt x="1772" y="1371"/>
                    </a:lnTo>
                    <a:lnTo>
                      <a:pt x="1760" y="1386"/>
                    </a:lnTo>
                    <a:lnTo>
                      <a:pt x="1749" y="1403"/>
                    </a:lnTo>
                    <a:lnTo>
                      <a:pt x="1738" y="1420"/>
                    </a:lnTo>
                    <a:lnTo>
                      <a:pt x="1730" y="1437"/>
                    </a:lnTo>
                    <a:lnTo>
                      <a:pt x="1722" y="1456"/>
                    </a:lnTo>
                    <a:lnTo>
                      <a:pt x="1718" y="1473"/>
                    </a:lnTo>
                    <a:lnTo>
                      <a:pt x="1716" y="1482"/>
                    </a:lnTo>
                    <a:lnTo>
                      <a:pt x="1715" y="1490"/>
                    </a:lnTo>
                    <a:lnTo>
                      <a:pt x="1715" y="1499"/>
                    </a:lnTo>
                    <a:lnTo>
                      <a:pt x="1715" y="1506"/>
                    </a:lnTo>
                    <a:lnTo>
                      <a:pt x="1717" y="1515"/>
                    </a:lnTo>
                    <a:lnTo>
                      <a:pt x="1719" y="1523"/>
                    </a:lnTo>
                    <a:lnTo>
                      <a:pt x="1722" y="1529"/>
                    </a:lnTo>
                    <a:lnTo>
                      <a:pt x="1727" y="1537"/>
                    </a:lnTo>
                    <a:lnTo>
                      <a:pt x="1731" y="1543"/>
                    </a:lnTo>
                    <a:lnTo>
                      <a:pt x="1737" y="1548"/>
                    </a:lnTo>
                    <a:lnTo>
                      <a:pt x="1745" y="1554"/>
                    </a:lnTo>
                    <a:lnTo>
                      <a:pt x="1754" y="1559"/>
                    </a:lnTo>
                    <a:lnTo>
                      <a:pt x="1793" y="1583"/>
                    </a:lnTo>
                    <a:lnTo>
                      <a:pt x="1815" y="1598"/>
                    </a:lnTo>
                    <a:lnTo>
                      <a:pt x="1820" y="1599"/>
                    </a:lnTo>
                    <a:lnTo>
                      <a:pt x="1825" y="1599"/>
                    </a:lnTo>
                    <a:lnTo>
                      <a:pt x="1829" y="1597"/>
                    </a:lnTo>
                    <a:lnTo>
                      <a:pt x="1836" y="1594"/>
                    </a:lnTo>
                    <a:lnTo>
                      <a:pt x="1842" y="1590"/>
                    </a:lnTo>
                    <a:lnTo>
                      <a:pt x="1850" y="1583"/>
                    </a:lnTo>
                    <a:lnTo>
                      <a:pt x="1858" y="1574"/>
                    </a:lnTo>
                    <a:lnTo>
                      <a:pt x="1868" y="1564"/>
                    </a:lnTo>
                    <a:lnTo>
                      <a:pt x="1878" y="1550"/>
                    </a:lnTo>
                    <a:lnTo>
                      <a:pt x="1893" y="1531"/>
                    </a:lnTo>
                    <a:lnTo>
                      <a:pt x="1898" y="1527"/>
                    </a:lnTo>
                    <a:lnTo>
                      <a:pt x="1902" y="1524"/>
                    </a:lnTo>
                    <a:lnTo>
                      <a:pt x="1906" y="1521"/>
                    </a:lnTo>
                    <a:lnTo>
                      <a:pt x="1911" y="1521"/>
                    </a:lnTo>
                    <a:lnTo>
                      <a:pt x="1915" y="1521"/>
                    </a:lnTo>
                    <a:lnTo>
                      <a:pt x="1918" y="1524"/>
                    </a:lnTo>
                    <a:lnTo>
                      <a:pt x="1922" y="1527"/>
                    </a:lnTo>
                    <a:lnTo>
                      <a:pt x="1925" y="1533"/>
                    </a:lnTo>
                    <a:lnTo>
                      <a:pt x="1930" y="1547"/>
                    </a:lnTo>
                    <a:lnTo>
                      <a:pt x="1937" y="1570"/>
                    </a:lnTo>
                    <a:lnTo>
                      <a:pt x="1940" y="1582"/>
                    </a:lnTo>
                    <a:lnTo>
                      <a:pt x="1943" y="1592"/>
                    </a:lnTo>
                    <a:lnTo>
                      <a:pt x="1948" y="1598"/>
                    </a:lnTo>
                    <a:lnTo>
                      <a:pt x="1950" y="1601"/>
                    </a:lnTo>
                    <a:lnTo>
                      <a:pt x="1951" y="1604"/>
                    </a:lnTo>
                    <a:lnTo>
                      <a:pt x="1952" y="1605"/>
                    </a:lnTo>
                    <a:lnTo>
                      <a:pt x="1953" y="1606"/>
                    </a:lnTo>
                    <a:lnTo>
                      <a:pt x="1955" y="1606"/>
                    </a:lnTo>
                    <a:lnTo>
                      <a:pt x="1958" y="1606"/>
                    </a:lnTo>
                    <a:lnTo>
                      <a:pt x="1964" y="1605"/>
                    </a:lnTo>
                    <a:lnTo>
                      <a:pt x="1976" y="1597"/>
                    </a:lnTo>
                    <a:lnTo>
                      <a:pt x="1989" y="1587"/>
                    </a:lnTo>
                    <a:lnTo>
                      <a:pt x="2015" y="1565"/>
                    </a:lnTo>
                    <a:lnTo>
                      <a:pt x="2030" y="1550"/>
                    </a:lnTo>
                    <a:lnTo>
                      <a:pt x="2049" y="1536"/>
                    </a:lnTo>
                    <a:lnTo>
                      <a:pt x="2069" y="1519"/>
                    </a:lnTo>
                    <a:lnTo>
                      <a:pt x="2073" y="1515"/>
                    </a:lnTo>
                    <a:lnTo>
                      <a:pt x="2075" y="1511"/>
                    </a:lnTo>
                    <a:lnTo>
                      <a:pt x="2078" y="1506"/>
                    </a:lnTo>
                    <a:lnTo>
                      <a:pt x="2078" y="1502"/>
                    </a:lnTo>
                    <a:lnTo>
                      <a:pt x="2077" y="1499"/>
                    </a:lnTo>
                    <a:lnTo>
                      <a:pt x="2073" y="1494"/>
                    </a:lnTo>
                    <a:lnTo>
                      <a:pt x="2068" y="1491"/>
                    </a:lnTo>
                    <a:lnTo>
                      <a:pt x="2060" y="1487"/>
                    </a:lnTo>
                    <a:lnTo>
                      <a:pt x="2041" y="1479"/>
                    </a:lnTo>
                    <a:lnTo>
                      <a:pt x="2026" y="1471"/>
                    </a:lnTo>
                    <a:lnTo>
                      <a:pt x="2019" y="1467"/>
                    </a:lnTo>
                    <a:lnTo>
                      <a:pt x="2014" y="1463"/>
                    </a:lnTo>
                    <a:lnTo>
                      <a:pt x="2009" y="1460"/>
                    </a:lnTo>
                    <a:lnTo>
                      <a:pt x="2006" y="1457"/>
                    </a:lnTo>
                    <a:lnTo>
                      <a:pt x="2004" y="1452"/>
                    </a:lnTo>
                    <a:lnTo>
                      <a:pt x="2002" y="1449"/>
                    </a:lnTo>
                    <a:lnTo>
                      <a:pt x="2001" y="1446"/>
                    </a:lnTo>
                    <a:lnTo>
                      <a:pt x="2001" y="1442"/>
                    </a:lnTo>
                    <a:lnTo>
                      <a:pt x="2003" y="1435"/>
                    </a:lnTo>
                    <a:lnTo>
                      <a:pt x="2007" y="1428"/>
                    </a:lnTo>
                    <a:lnTo>
                      <a:pt x="2013" y="1420"/>
                    </a:lnTo>
                    <a:lnTo>
                      <a:pt x="2020" y="1412"/>
                    </a:lnTo>
                    <a:lnTo>
                      <a:pt x="2030" y="1404"/>
                    </a:lnTo>
                    <a:lnTo>
                      <a:pt x="2040" y="1395"/>
                    </a:lnTo>
                    <a:lnTo>
                      <a:pt x="2051" y="1385"/>
                    </a:lnTo>
                    <a:lnTo>
                      <a:pt x="2061" y="1376"/>
                    </a:lnTo>
                    <a:lnTo>
                      <a:pt x="2072" y="1365"/>
                    </a:lnTo>
                    <a:lnTo>
                      <a:pt x="2082" y="1353"/>
                    </a:lnTo>
                    <a:lnTo>
                      <a:pt x="2109" y="1317"/>
                    </a:lnTo>
                    <a:lnTo>
                      <a:pt x="2139" y="1275"/>
                    </a:lnTo>
                    <a:lnTo>
                      <a:pt x="2156" y="1254"/>
                    </a:lnTo>
                    <a:lnTo>
                      <a:pt x="2172" y="1232"/>
                    </a:lnTo>
                    <a:lnTo>
                      <a:pt x="2189" y="1210"/>
                    </a:lnTo>
                    <a:lnTo>
                      <a:pt x="2207" y="1191"/>
                    </a:lnTo>
                    <a:lnTo>
                      <a:pt x="2224" y="1173"/>
                    </a:lnTo>
                    <a:lnTo>
                      <a:pt x="2242" y="1158"/>
                    </a:lnTo>
                    <a:lnTo>
                      <a:pt x="2251" y="1151"/>
                    </a:lnTo>
                    <a:lnTo>
                      <a:pt x="2261" y="1145"/>
                    </a:lnTo>
                    <a:lnTo>
                      <a:pt x="2269" y="1140"/>
                    </a:lnTo>
                    <a:lnTo>
                      <a:pt x="2279" y="1136"/>
                    </a:lnTo>
                    <a:lnTo>
                      <a:pt x="2288" y="1134"/>
                    </a:lnTo>
                    <a:lnTo>
                      <a:pt x="2298" y="1132"/>
                    </a:lnTo>
                    <a:lnTo>
                      <a:pt x="2307" y="1132"/>
                    </a:lnTo>
                    <a:lnTo>
                      <a:pt x="2316" y="1133"/>
                    </a:lnTo>
                    <a:lnTo>
                      <a:pt x="2326" y="1135"/>
                    </a:lnTo>
                    <a:lnTo>
                      <a:pt x="2334" y="1138"/>
                    </a:lnTo>
                    <a:lnTo>
                      <a:pt x="2344" y="1143"/>
                    </a:lnTo>
                    <a:lnTo>
                      <a:pt x="2354" y="1150"/>
                    </a:lnTo>
                    <a:lnTo>
                      <a:pt x="2387" y="1176"/>
                    </a:lnTo>
                    <a:lnTo>
                      <a:pt x="2413" y="1194"/>
                    </a:lnTo>
                    <a:lnTo>
                      <a:pt x="2424" y="1201"/>
                    </a:lnTo>
                    <a:lnTo>
                      <a:pt x="2435" y="1207"/>
                    </a:lnTo>
                    <a:lnTo>
                      <a:pt x="2446" y="1212"/>
                    </a:lnTo>
                    <a:lnTo>
                      <a:pt x="2456" y="1216"/>
                    </a:lnTo>
                    <a:lnTo>
                      <a:pt x="2479" y="1222"/>
                    </a:lnTo>
                    <a:lnTo>
                      <a:pt x="2506" y="1228"/>
                    </a:lnTo>
                    <a:lnTo>
                      <a:pt x="2539" y="1235"/>
                    </a:lnTo>
                    <a:lnTo>
                      <a:pt x="2583" y="1245"/>
                    </a:lnTo>
                    <a:lnTo>
                      <a:pt x="2601" y="1247"/>
                    </a:lnTo>
                    <a:lnTo>
                      <a:pt x="2626" y="1249"/>
                    </a:lnTo>
                    <a:lnTo>
                      <a:pt x="2653" y="1250"/>
                    </a:lnTo>
                    <a:lnTo>
                      <a:pt x="2682" y="1255"/>
                    </a:lnTo>
                    <a:lnTo>
                      <a:pt x="2695" y="1257"/>
                    </a:lnTo>
                    <a:lnTo>
                      <a:pt x="2707" y="1260"/>
                    </a:lnTo>
                    <a:lnTo>
                      <a:pt x="2718" y="1264"/>
                    </a:lnTo>
                    <a:lnTo>
                      <a:pt x="2727" y="1270"/>
                    </a:lnTo>
                    <a:lnTo>
                      <a:pt x="2731" y="1272"/>
                    </a:lnTo>
                    <a:lnTo>
                      <a:pt x="2734" y="1275"/>
                    </a:lnTo>
                    <a:lnTo>
                      <a:pt x="2737" y="1280"/>
                    </a:lnTo>
                    <a:lnTo>
                      <a:pt x="2738" y="1283"/>
                    </a:lnTo>
                    <a:lnTo>
                      <a:pt x="2739" y="1287"/>
                    </a:lnTo>
                    <a:lnTo>
                      <a:pt x="2739" y="1293"/>
                    </a:lnTo>
                    <a:lnTo>
                      <a:pt x="2738" y="1297"/>
                    </a:lnTo>
                    <a:lnTo>
                      <a:pt x="2737" y="1302"/>
                    </a:lnTo>
                    <a:lnTo>
                      <a:pt x="2733" y="1311"/>
                    </a:lnTo>
                    <a:lnTo>
                      <a:pt x="2729" y="1318"/>
                    </a:lnTo>
                    <a:lnTo>
                      <a:pt x="2724" y="1327"/>
                    </a:lnTo>
                    <a:lnTo>
                      <a:pt x="2718" y="1335"/>
                    </a:lnTo>
                    <a:lnTo>
                      <a:pt x="2706" y="1349"/>
                    </a:lnTo>
                    <a:lnTo>
                      <a:pt x="2692" y="1363"/>
                    </a:lnTo>
                    <a:lnTo>
                      <a:pt x="2677" y="1376"/>
                    </a:lnTo>
                    <a:lnTo>
                      <a:pt x="2661" y="1389"/>
                    </a:lnTo>
                    <a:lnTo>
                      <a:pt x="2643" y="1402"/>
                    </a:lnTo>
                    <a:lnTo>
                      <a:pt x="2626" y="1415"/>
                    </a:lnTo>
                    <a:lnTo>
                      <a:pt x="2610" y="1426"/>
                    </a:lnTo>
                    <a:lnTo>
                      <a:pt x="2592" y="1439"/>
                    </a:lnTo>
                    <a:lnTo>
                      <a:pt x="2577" y="1452"/>
                    </a:lnTo>
                    <a:lnTo>
                      <a:pt x="2562" y="1466"/>
                    </a:lnTo>
                    <a:lnTo>
                      <a:pt x="2549" y="1480"/>
                    </a:lnTo>
                    <a:lnTo>
                      <a:pt x="2537" y="1494"/>
                    </a:lnTo>
                    <a:lnTo>
                      <a:pt x="2533" y="1502"/>
                    </a:lnTo>
                    <a:lnTo>
                      <a:pt x="2528" y="1511"/>
                    </a:lnTo>
                    <a:lnTo>
                      <a:pt x="2525" y="1518"/>
                    </a:lnTo>
                    <a:lnTo>
                      <a:pt x="2522" y="1527"/>
                    </a:lnTo>
                    <a:lnTo>
                      <a:pt x="2521" y="1533"/>
                    </a:lnTo>
                    <a:lnTo>
                      <a:pt x="2521" y="1540"/>
                    </a:lnTo>
                    <a:lnTo>
                      <a:pt x="2522" y="1546"/>
                    </a:lnTo>
                    <a:lnTo>
                      <a:pt x="2524" y="1553"/>
                    </a:lnTo>
                    <a:lnTo>
                      <a:pt x="2527" y="1558"/>
                    </a:lnTo>
                    <a:lnTo>
                      <a:pt x="2532" y="1564"/>
                    </a:lnTo>
                    <a:lnTo>
                      <a:pt x="2537" y="1569"/>
                    </a:lnTo>
                    <a:lnTo>
                      <a:pt x="2544" y="1574"/>
                    </a:lnTo>
                    <a:lnTo>
                      <a:pt x="2558" y="1584"/>
                    </a:lnTo>
                    <a:lnTo>
                      <a:pt x="2575" y="1594"/>
                    </a:lnTo>
                    <a:lnTo>
                      <a:pt x="2595" y="1604"/>
                    </a:lnTo>
                    <a:lnTo>
                      <a:pt x="2615" y="1612"/>
                    </a:lnTo>
                    <a:lnTo>
                      <a:pt x="2638" y="1622"/>
                    </a:lnTo>
                    <a:lnTo>
                      <a:pt x="2660" y="1632"/>
                    </a:lnTo>
                    <a:lnTo>
                      <a:pt x="2681" y="1641"/>
                    </a:lnTo>
                    <a:lnTo>
                      <a:pt x="2702" y="1652"/>
                    </a:lnTo>
                    <a:lnTo>
                      <a:pt x="2721" y="1664"/>
                    </a:lnTo>
                    <a:lnTo>
                      <a:pt x="2740" y="1677"/>
                    </a:lnTo>
                    <a:lnTo>
                      <a:pt x="2747" y="1683"/>
                    </a:lnTo>
                    <a:lnTo>
                      <a:pt x="2755" y="1691"/>
                    </a:lnTo>
                    <a:lnTo>
                      <a:pt x="2761" y="1699"/>
                    </a:lnTo>
                    <a:lnTo>
                      <a:pt x="2767" y="1706"/>
                    </a:lnTo>
                    <a:lnTo>
                      <a:pt x="2922" y="1941"/>
                    </a:lnTo>
                    <a:lnTo>
                      <a:pt x="2920" y="1945"/>
                    </a:lnTo>
                    <a:lnTo>
                      <a:pt x="2920" y="1948"/>
                    </a:lnTo>
                    <a:lnTo>
                      <a:pt x="2913" y="1949"/>
                    </a:lnTo>
                    <a:lnTo>
                      <a:pt x="2907" y="1950"/>
                    </a:lnTo>
                    <a:lnTo>
                      <a:pt x="2899" y="1950"/>
                    </a:lnTo>
                    <a:lnTo>
                      <a:pt x="2890" y="1949"/>
                    </a:lnTo>
                    <a:lnTo>
                      <a:pt x="2873" y="1945"/>
                    </a:lnTo>
                    <a:lnTo>
                      <a:pt x="2855" y="1941"/>
                    </a:lnTo>
                    <a:lnTo>
                      <a:pt x="2837" y="1936"/>
                    </a:lnTo>
                    <a:lnTo>
                      <a:pt x="2822" y="1934"/>
                    </a:lnTo>
                    <a:lnTo>
                      <a:pt x="2816" y="1933"/>
                    </a:lnTo>
                    <a:lnTo>
                      <a:pt x="2809" y="1934"/>
                    </a:lnTo>
                    <a:lnTo>
                      <a:pt x="2805" y="1935"/>
                    </a:lnTo>
                    <a:lnTo>
                      <a:pt x="2800" y="1937"/>
                    </a:lnTo>
                    <a:lnTo>
                      <a:pt x="2796" y="1942"/>
                    </a:lnTo>
                    <a:lnTo>
                      <a:pt x="2792" y="1947"/>
                    </a:lnTo>
                    <a:lnTo>
                      <a:pt x="2789" y="1952"/>
                    </a:lnTo>
                    <a:lnTo>
                      <a:pt x="2786" y="1957"/>
                    </a:lnTo>
                    <a:lnTo>
                      <a:pt x="2784" y="1965"/>
                    </a:lnTo>
                    <a:lnTo>
                      <a:pt x="2781" y="1973"/>
                    </a:lnTo>
                    <a:lnTo>
                      <a:pt x="2779" y="1976"/>
                    </a:lnTo>
                    <a:lnTo>
                      <a:pt x="2776" y="1979"/>
                    </a:lnTo>
                    <a:lnTo>
                      <a:pt x="2771" y="1982"/>
                    </a:lnTo>
                    <a:lnTo>
                      <a:pt x="2767" y="1984"/>
                    </a:lnTo>
                    <a:lnTo>
                      <a:pt x="2759" y="1986"/>
                    </a:lnTo>
                    <a:lnTo>
                      <a:pt x="2751" y="1987"/>
                    </a:lnTo>
                    <a:lnTo>
                      <a:pt x="2740" y="1987"/>
                    </a:lnTo>
                    <a:lnTo>
                      <a:pt x="2727" y="1988"/>
                    </a:lnTo>
                    <a:lnTo>
                      <a:pt x="2707" y="1988"/>
                    </a:lnTo>
                    <a:lnTo>
                      <a:pt x="2688" y="1991"/>
                    </a:lnTo>
                    <a:lnTo>
                      <a:pt x="2668" y="1995"/>
                    </a:lnTo>
                    <a:lnTo>
                      <a:pt x="2650" y="1999"/>
                    </a:lnTo>
                    <a:lnTo>
                      <a:pt x="2614" y="2011"/>
                    </a:lnTo>
                    <a:lnTo>
                      <a:pt x="2579" y="2024"/>
                    </a:lnTo>
                    <a:lnTo>
                      <a:pt x="2545" y="2038"/>
                    </a:lnTo>
                    <a:lnTo>
                      <a:pt x="2509" y="2049"/>
                    </a:lnTo>
                    <a:lnTo>
                      <a:pt x="2491" y="2054"/>
                    </a:lnTo>
                    <a:lnTo>
                      <a:pt x="2472" y="2057"/>
                    </a:lnTo>
                    <a:lnTo>
                      <a:pt x="2453" y="2059"/>
                    </a:lnTo>
                    <a:lnTo>
                      <a:pt x="2433" y="2060"/>
                    </a:lnTo>
                    <a:lnTo>
                      <a:pt x="2407" y="2059"/>
                    </a:lnTo>
                    <a:lnTo>
                      <a:pt x="2383" y="2056"/>
                    </a:lnTo>
                    <a:lnTo>
                      <a:pt x="2359" y="2052"/>
                    </a:lnTo>
                    <a:lnTo>
                      <a:pt x="2338" y="2047"/>
                    </a:lnTo>
                    <a:lnTo>
                      <a:pt x="2316" y="2042"/>
                    </a:lnTo>
                    <a:lnTo>
                      <a:pt x="2295" y="2037"/>
                    </a:lnTo>
                    <a:lnTo>
                      <a:pt x="2276" y="2033"/>
                    </a:lnTo>
                    <a:lnTo>
                      <a:pt x="2258" y="2030"/>
                    </a:lnTo>
                    <a:lnTo>
                      <a:pt x="2248" y="2030"/>
                    </a:lnTo>
                    <a:lnTo>
                      <a:pt x="2239" y="2030"/>
                    </a:lnTo>
                    <a:lnTo>
                      <a:pt x="2229" y="2031"/>
                    </a:lnTo>
                    <a:lnTo>
                      <a:pt x="2221" y="2032"/>
                    </a:lnTo>
                    <a:lnTo>
                      <a:pt x="2212" y="2034"/>
                    </a:lnTo>
                    <a:lnTo>
                      <a:pt x="2203" y="2038"/>
                    </a:lnTo>
                    <a:lnTo>
                      <a:pt x="2195" y="2041"/>
                    </a:lnTo>
                    <a:lnTo>
                      <a:pt x="2186" y="2046"/>
                    </a:lnTo>
                    <a:lnTo>
                      <a:pt x="2178" y="2053"/>
                    </a:lnTo>
                    <a:lnTo>
                      <a:pt x="2170" y="2059"/>
                    </a:lnTo>
                    <a:lnTo>
                      <a:pt x="2161" y="2068"/>
                    </a:lnTo>
                    <a:lnTo>
                      <a:pt x="2154" y="2078"/>
                    </a:lnTo>
                    <a:lnTo>
                      <a:pt x="2145" y="2088"/>
                    </a:lnTo>
                    <a:lnTo>
                      <a:pt x="2137" y="2100"/>
                    </a:lnTo>
                    <a:lnTo>
                      <a:pt x="2129" y="2114"/>
                    </a:lnTo>
                    <a:lnTo>
                      <a:pt x="2121" y="2130"/>
                    </a:lnTo>
                    <a:lnTo>
                      <a:pt x="2109" y="2151"/>
                    </a:lnTo>
                    <a:lnTo>
                      <a:pt x="2097" y="2172"/>
                    </a:lnTo>
                    <a:lnTo>
                      <a:pt x="2084" y="2190"/>
                    </a:lnTo>
                    <a:lnTo>
                      <a:pt x="2071" y="2208"/>
                    </a:lnTo>
                    <a:lnTo>
                      <a:pt x="2044" y="2241"/>
                    </a:lnTo>
                    <a:lnTo>
                      <a:pt x="2017" y="2273"/>
                    </a:lnTo>
                    <a:lnTo>
                      <a:pt x="2003" y="2289"/>
                    </a:lnTo>
                    <a:lnTo>
                      <a:pt x="1990" y="2306"/>
                    </a:lnTo>
                    <a:lnTo>
                      <a:pt x="1977" y="2323"/>
                    </a:lnTo>
                    <a:lnTo>
                      <a:pt x="1965" y="2341"/>
                    </a:lnTo>
                    <a:lnTo>
                      <a:pt x="1953" y="2361"/>
                    </a:lnTo>
                    <a:lnTo>
                      <a:pt x="1942" y="2381"/>
                    </a:lnTo>
                    <a:lnTo>
                      <a:pt x="1932" y="2404"/>
                    </a:lnTo>
                    <a:lnTo>
                      <a:pt x="1923" y="2429"/>
                    </a:lnTo>
                    <a:lnTo>
                      <a:pt x="1850" y="2518"/>
                    </a:lnTo>
                    <a:lnTo>
                      <a:pt x="1831" y="2618"/>
                    </a:lnTo>
                    <a:lnTo>
                      <a:pt x="1831" y="2618"/>
                    </a:lnTo>
                    <a:lnTo>
                      <a:pt x="1801" y="2608"/>
                    </a:lnTo>
                    <a:lnTo>
                      <a:pt x="1797" y="2606"/>
                    </a:lnTo>
                    <a:lnTo>
                      <a:pt x="1793" y="2603"/>
                    </a:lnTo>
                    <a:lnTo>
                      <a:pt x="1790" y="2599"/>
                    </a:lnTo>
                    <a:lnTo>
                      <a:pt x="1787" y="2595"/>
                    </a:lnTo>
                    <a:lnTo>
                      <a:pt x="1784" y="2585"/>
                    </a:lnTo>
                    <a:lnTo>
                      <a:pt x="1781" y="2576"/>
                    </a:lnTo>
                    <a:lnTo>
                      <a:pt x="1779" y="2566"/>
                    </a:lnTo>
                    <a:lnTo>
                      <a:pt x="1775" y="2558"/>
                    </a:lnTo>
                    <a:lnTo>
                      <a:pt x="1772" y="2555"/>
                    </a:lnTo>
                    <a:lnTo>
                      <a:pt x="1770" y="2553"/>
                    </a:lnTo>
                    <a:lnTo>
                      <a:pt x="1767" y="2551"/>
                    </a:lnTo>
                    <a:lnTo>
                      <a:pt x="1762" y="2551"/>
                    </a:lnTo>
                    <a:lnTo>
                      <a:pt x="1758" y="2551"/>
                    </a:lnTo>
                    <a:lnTo>
                      <a:pt x="1754" y="2553"/>
                    </a:lnTo>
                    <a:lnTo>
                      <a:pt x="1749" y="2557"/>
                    </a:lnTo>
                    <a:lnTo>
                      <a:pt x="1745" y="2562"/>
                    </a:lnTo>
                    <a:lnTo>
                      <a:pt x="1737" y="2573"/>
                    </a:lnTo>
                    <a:lnTo>
                      <a:pt x="1730" y="2586"/>
                    </a:lnTo>
                    <a:lnTo>
                      <a:pt x="1722" y="2601"/>
                    </a:lnTo>
                    <a:lnTo>
                      <a:pt x="1715" y="2616"/>
                    </a:lnTo>
                    <a:lnTo>
                      <a:pt x="1710" y="2621"/>
                    </a:lnTo>
                    <a:lnTo>
                      <a:pt x="1706" y="2626"/>
                    </a:lnTo>
                    <a:lnTo>
                      <a:pt x="1701" y="2631"/>
                    </a:lnTo>
                    <a:lnTo>
                      <a:pt x="1696" y="2634"/>
                    </a:lnTo>
                    <a:lnTo>
                      <a:pt x="1690" y="2637"/>
                    </a:lnTo>
                    <a:lnTo>
                      <a:pt x="1683" y="2640"/>
                    </a:lnTo>
                    <a:lnTo>
                      <a:pt x="1678" y="2641"/>
                    </a:lnTo>
                    <a:lnTo>
                      <a:pt x="1671" y="2643"/>
                    </a:lnTo>
                    <a:lnTo>
                      <a:pt x="1659" y="2644"/>
                    </a:lnTo>
                    <a:lnTo>
                      <a:pt x="1647" y="2641"/>
                    </a:lnTo>
                    <a:lnTo>
                      <a:pt x="1637" y="2638"/>
                    </a:lnTo>
                    <a:lnTo>
                      <a:pt x="1626" y="2633"/>
                    </a:lnTo>
                    <a:lnTo>
                      <a:pt x="1615" y="2626"/>
                    </a:lnTo>
                    <a:lnTo>
                      <a:pt x="1604" y="2619"/>
                    </a:lnTo>
                    <a:lnTo>
                      <a:pt x="1594" y="2609"/>
                    </a:lnTo>
                    <a:lnTo>
                      <a:pt x="1586" y="2599"/>
                    </a:lnTo>
                    <a:lnTo>
                      <a:pt x="1577" y="2590"/>
                    </a:lnTo>
                    <a:lnTo>
                      <a:pt x="1568" y="2579"/>
                    </a:lnTo>
                    <a:lnTo>
                      <a:pt x="1553" y="2557"/>
                    </a:lnTo>
                    <a:lnTo>
                      <a:pt x="1542" y="2537"/>
                    </a:lnTo>
                    <a:lnTo>
                      <a:pt x="1533" y="2520"/>
                    </a:lnTo>
                    <a:lnTo>
                      <a:pt x="1522" y="2504"/>
                    </a:lnTo>
                    <a:lnTo>
                      <a:pt x="1510" y="2488"/>
                    </a:lnTo>
                    <a:lnTo>
                      <a:pt x="1497" y="2471"/>
                    </a:lnTo>
                    <a:lnTo>
                      <a:pt x="1470" y="2439"/>
                    </a:lnTo>
                    <a:lnTo>
                      <a:pt x="1444" y="2410"/>
                    </a:lnTo>
                    <a:lnTo>
                      <a:pt x="1340" y="2290"/>
                    </a:lnTo>
                    <a:lnTo>
                      <a:pt x="1336" y="2287"/>
                    </a:lnTo>
                    <a:lnTo>
                      <a:pt x="1332" y="2285"/>
                    </a:lnTo>
                    <a:lnTo>
                      <a:pt x="1328" y="2283"/>
                    </a:lnTo>
                    <a:lnTo>
                      <a:pt x="1323" y="2283"/>
                    </a:lnTo>
                    <a:lnTo>
                      <a:pt x="1313" y="2284"/>
                    </a:lnTo>
                    <a:lnTo>
                      <a:pt x="1303" y="2288"/>
                    </a:lnTo>
                    <a:lnTo>
                      <a:pt x="1282" y="2299"/>
                    </a:lnTo>
                    <a:lnTo>
                      <a:pt x="1264" y="2309"/>
                    </a:lnTo>
                    <a:lnTo>
                      <a:pt x="1224" y="2312"/>
                    </a:lnTo>
                    <a:lnTo>
                      <a:pt x="1186" y="2313"/>
                    </a:lnTo>
                    <a:lnTo>
                      <a:pt x="1168" y="2313"/>
                    </a:lnTo>
                    <a:lnTo>
                      <a:pt x="1153" y="2311"/>
                    </a:lnTo>
                    <a:lnTo>
                      <a:pt x="1138" y="2308"/>
                    </a:lnTo>
                    <a:lnTo>
                      <a:pt x="1126" y="2303"/>
                    </a:lnTo>
                    <a:lnTo>
                      <a:pt x="1120" y="2301"/>
                    </a:lnTo>
                    <a:lnTo>
                      <a:pt x="1114" y="2298"/>
                    </a:lnTo>
                    <a:lnTo>
                      <a:pt x="1110" y="2294"/>
                    </a:lnTo>
                    <a:lnTo>
                      <a:pt x="1106" y="2289"/>
                    </a:lnTo>
                    <a:lnTo>
                      <a:pt x="1101" y="2285"/>
                    </a:lnTo>
                    <a:lnTo>
                      <a:pt x="1098" y="2280"/>
                    </a:lnTo>
                    <a:lnTo>
                      <a:pt x="1096" y="2274"/>
                    </a:lnTo>
                    <a:lnTo>
                      <a:pt x="1094" y="2268"/>
                    </a:lnTo>
                    <a:lnTo>
                      <a:pt x="1091" y="2260"/>
                    </a:lnTo>
                    <a:lnTo>
                      <a:pt x="1090" y="2253"/>
                    </a:lnTo>
                    <a:lnTo>
                      <a:pt x="1090" y="2244"/>
                    </a:lnTo>
                    <a:lnTo>
                      <a:pt x="1090" y="2235"/>
                    </a:lnTo>
                    <a:lnTo>
                      <a:pt x="1090" y="2226"/>
                    </a:lnTo>
                    <a:lnTo>
                      <a:pt x="1093" y="2215"/>
                    </a:lnTo>
                    <a:lnTo>
                      <a:pt x="1095" y="2204"/>
                    </a:lnTo>
                    <a:lnTo>
                      <a:pt x="1097" y="2192"/>
                    </a:lnTo>
                    <a:lnTo>
                      <a:pt x="1099" y="2185"/>
                    </a:lnTo>
                    <a:lnTo>
                      <a:pt x="1099" y="2177"/>
                    </a:lnTo>
                    <a:lnTo>
                      <a:pt x="1099" y="2171"/>
                    </a:lnTo>
                    <a:lnTo>
                      <a:pt x="1099" y="2163"/>
                    </a:lnTo>
                    <a:lnTo>
                      <a:pt x="1098" y="2155"/>
                    </a:lnTo>
                    <a:lnTo>
                      <a:pt x="1096" y="2149"/>
                    </a:lnTo>
                    <a:lnTo>
                      <a:pt x="1094" y="2141"/>
                    </a:lnTo>
                    <a:lnTo>
                      <a:pt x="1090" y="2134"/>
                    </a:lnTo>
                    <a:lnTo>
                      <a:pt x="1083" y="2121"/>
                    </a:lnTo>
                    <a:lnTo>
                      <a:pt x="1074" y="2108"/>
                    </a:lnTo>
                    <a:lnTo>
                      <a:pt x="1063" y="2096"/>
                    </a:lnTo>
                    <a:lnTo>
                      <a:pt x="1052" y="2084"/>
                    </a:lnTo>
                    <a:lnTo>
                      <a:pt x="1039" y="2076"/>
                    </a:lnTo>
                    <a:lnTo>
                      <a:pt x="1025" y="2067"/>
                    </a:lnTo>
                    <a:lnTo>
                      <a:pt x="1011" y="2061"/>
                    </a:lnTo>
                    <a:lnTo>
                      <a:pt x="997" y="2057"/>
                    </a:lnTo>
                    <a:lnTo>
                      <a:pt x="991" y="2056"/>
                    </a:lnTo>
                    <a:lnTo>
                      <a:pt x="983" y="2056"/>
                    </a:lnTo>
                    <a:lnTo>
                      <a:pt x="977" y="2056"/>
                    </a:lnTo>
                    <a:lnTo>
                      <a:pt x="969" y="2057"/>
                    </a:lnTo>
                    <a:lnTo>
                      <a:pt x="963" y="2058"/>
                    </a:lnTo>
                    <a:lnTo>
                      <a:pt x="956" y="2060"/>
                    </a:lnTo>
                    <a:lnTo>
                      <a:pt x="950" y="2064"/>
                    </a:lnTo>
                    <a:lnTo>
                      <a:pt x="943" y="2068"/>
                    </a:lnTo>
                    <a:lnTo>
                      <a:pt x="932" y="2074"/>
                    </a:lnTo>
                    <a:lnTo>
                      <a:pt x="920" y="2080"/>
                    </a:lnTo>
                    <a:lnTo>
                      <a:pt x="909" y="2083"/>
                    </a:lnTo>
                    <a:lnTo>
                      <a:pt x="899" y="2085"/>
                    </a:lnTo>
                    <a:lnTo>
                      <a:pt x="876" y="2090"/>
                    </a:lnTo>
                    <a:lnTo>
                      <a:pt x="855" y="2093"/>
                    </a:lnTo>
                    <a:lnTo>
                      <a:pt x="845" y="2095"/>
                    </a:lnTo>
                    <a:lnTo>
                      <a:pt x="836" y="2098"/>
                    </a:lnTo>
                    <a:lnTo>
                      <a:pt x="828" y="2103"/>
                    </a:lnTo>
                    <a:lnTo>
                      <a:pt x="819" y="2109"/>
                    </a:lnTo>
                    <a:lnTo>
                      <a:pt x="813" y="2117"/>
                    </a:lnTo>
                    <a:lnTo>
                      <a:pt x="806" y="2127"/>
                    </a:lnTo>
                    <a:lnTo>
                      <a:pt x="801" y="2139"/>
                    </a:lnTo>
                    <a:lnTo>
                      <a:pt x="797" y="2155"/>
                    </a:lnTo>
                    <a:lnTo>
                      <a:pt x="791" y="2179"/>
                    </a:lnTo>
                    <a:lnTo>
                      <a:pt x="786" y="2196"/>
                    </a:lnTo>
                    <a:lnTo>
                      <a:pt x="780" y="2211"/>
                    </a:lnTo>
                    <a:lnTo>
                      <a:pt x="775" y="2220"/>
                    </a:lnTo>
                    <a:lnTo>
                      <a:pt x="773" y="2225"/>
                    </a:lnTo>
                    <a:lnTo>
                      <a:pt x="770" y="2228"/>
                    </a:lnTo>
                    <a:lnTo>
                      <a:pt x="766" y="2230"/>
                    </a:lnTo>
                    <a:lnTo>
                      <a:pt x="764" y="2231"/>
                    </a:lnTo>
                    <a:lnTo>
                      <a:pt x="758" y="2233"/>
                    </a:lnTo>
                    <a:lnTo>
                      <a:pt x="751" y="2233"/>
                    </a:lnTo>
                    <a:lnTo>
                      <a:pt x="735" y="2231"/>
                    </a:lnTo>
                    <a:lnTo>
                      <a:pt x="717" y="2230"/>
                    </a:lnTo>
                    <a:lnTo>
                      <a:pt x="707" y="2231"/>
                    </a:lnTo>
                    <a:lnTo>
                      <a:pt x="695" y="2233"/>
                    </a:lnTo>
                    <a:lnTo>
                      <a:pt x="682" y="2239"/>
                    </a:lnTo>
                    <a:lnTo>
                      <a:pt x="668" y="2247"/>
                    </a:lnTo>
                    <a:lnTo>
                      <a:pt x="624" y="2280"/>
                    </a:lnTo>
                    <a:lnTo>
                      <a:pt x="624" y="2280"/>
                    </a:lnTo>
                    <a:lnTo>
                      <a:pt x="620" y="2268"/>
                    </a:lnTo>
                    <a:lnTo>
                      <a:pt x="615" y="2257"/>
                    </a:lnTo>
                    <a:lnTo>
                      <a:pt x="608" y="2245"/>
                    </a:lnTo>
                    <a:lnTo>
                      <a:pt x="601" y="2234"/>
                    </a:lnTo>
                    <a:lnTo>
                      <a:pt x="585" y="2212"/>
                    </a:lnTo>
                    <a:lnTo>
                      <a:pt x="571" y="2189"/>
                    </a:lnTo>
                    <a:lnTo>
                      <a:pt x="565" y="2177"/>
                    </a:lnTo>
                    <a:lnTo>
                      <a:pt x="558" y="2164"/>
                    </a:lnTo>
                    <a:lnTo>
                      <a:pt x="554" y="2151"/>
                    </a:lnTo>
                    <a:lnTo>
                      <a:pt x="550" y="2138"/>
                    </a:lnTo>
                    <a:lnTo>
                      <a:pt x="547" y="2124"/>
                    </a:lnTo>
                    <a:lnTo>
                      <a:pt x="546" y="2109"/>
                    </a:lnTo>
                    <a:lnTo>
                      <a:pt x="549" y="2094"/>
                    </a:lnTo>
                    <a:lnTo>
                      <a:pt x="552" y="2077"/>
                    </a:lnTo>
                    <a:lnTo>
                      <a:pt x="557" y="2061"/>
                    </a:lnTo>
                    <a:lnTo>
                      <a:pt x="565" y="2040"/>
                    </a:lnTo>
                    <a:lnTo>
                      <a:pt x="568" y="2030"/>
                    </a:lnTo>
                    <a:lnTo>
                      <a:pt x="571" y="2022"/>
                    </a:lnTo>
                    <a:lnTo>
                      <a:pt x="572" y="2015"/>
                    </a:lnTo>
                    <a:lnTo>
                      <a:pt x="571" y="2013"/>
                    </a:lnTo>
                    <a:lnTo>
                      <a:pt x="571" y="2011"/>
                    </a:lnTo>
                    <a:lnTo>
                      <a:pt x="570" y="2009"/>
                    </a:lnTo>
                    <a:lnTo>
                      <a:pt x="568" y="2007"/>
                    </a:lnTo>
                    <a:lnTo>
                      <a:pt x="566" y="2006"/>
                    </a:lnTo>
                    <a:lnTo>
                      <a:pt x="560" y="2005"/>
                    </a:lnTo>
                    <a:lnTo>
                      <a:pt x="553" y="2005"/>
                    </a:lnTo>
                    <a:lnTo>
                      <a:pt x="534" y="2009"/>
                    </a:lnTo>
                    <a:lnTo>
                      <a:pt x="512" y="2013"/>
                    </a:lnTo>
                    <a:lnTo>
                      <a:pt x="489" y="2019"/>
                    </a:lnTo>
                    <a:lnTo>
                      <a:pt x="466" y="2025"/>
                    </a:lnTo>
                    <a:lnTo>
                      <a:pt x="456" y="2027"/>
                    </a:lnTo>
                    <a:lnTo>
                      <a:pt x="448" y="2028"/>
                    </a:lnTo>
                    <a:lnTo>
                      <a:pt x="440" y="2028"/>
                    </a:lnTo>
                    <a:lnTo>
                      <a:pt x="435" y="2027"/>
                    </a:lnTo>
                    <a:lnTo>
                      <a:pt x="429" y="2025"/>
                    </a:lnTo>
                    <a:lnTo>
                      <a:pt x="425" y="2020"/>
                    </a:lnTo>
                    <a:lnTo>
                      <a:pt x="418" y="2014"/>
                    </a:lnTo>
                    <a:lnTo>
                      <a:pt x="413" y="2006"/>
                    </a:lnTo>
                    <a:lnTo>
                      <a:pt x="402" y="1989"/>
                    </a:lnTo>
                    <a:lnTo>
                      <a:pt x="392" y="1970"/>
                    </a:lnTo>
                    <a:lnTo>
                      <a:pt x="374" y="1929"/>
                    </a:lnTo>
                    <a:lnTo>
                      <a:pt x="362" y="1898"/>
                    </a:lnTo>
                    <a:lnTo>
                      <a:pt x="356" y="1880"/>
                    </a:lnTo>
                    <a:lnTo>
                      <a:pt x="350" y="1861"/>
                    </a:lnTo>
                    <a:lnTo>
                      <a:pt x="346" y="1842"/>
                    </a:lnTo>
                    <a:lnTo>
                      <a:pt x="342" y="1824"/>
                    </a:lnTo>
                    <a:lnTo>
                      <a:pt x="337" y="1806"/>
                    </a:lnTo>
                    <a:lnTo>
                      <a:pt x="332" y="1788"/>
                    </a:lnTo>
                    <a:lnTo>
                      <a:pt x="326" y="1772"/>
                    </a:lnTo>
                    <a:lnTo>
                      <a:pt x="320" y="1757"/>
                    </a:lnTo>
                    <a:lnTo>
                      <a:pt x="317" y="1749"/>
                    </a:lnTo>
                    <a:lnTo>
                      <a:pt x="312" y="1743"/>
                    </a:lnTo>
                    <a:lnTo>
                      <a:pt x="308" y="1736"/>
                    </a:lnTo>
                    <a:lnTo>
                      <a:pt x="303" y="1731"/>
                    </a:lnTo>
                    <a:lnTo>
                      <a:pt x="297" y="1726"/>
                    </a:lnTo>
                    <a:lnTo>
                      <a:pt x="292" y="1721"/>
                    </a:lnTo>
                    <a:lnTo>
                      <a:pt x="285" y="1717"/>
                    </a:lnTo>
                    <a:lnTo>
                      <a:pt x="278" y="1713"/>
                    </a:lnTo>
                    <a:lnTo>
                      <a:pt x="270" y="1709"/>
                    </a:lnTo>
                    <a:lnTo>
                      <a:pt x="261" y="1707"/>
                    </a:lnTo>
                    <a:lnTo>
                      <a:pt x="252" y="1705"/>
                    </a:lnTo>
                    <a:lnTo>
                      <a:pt x="242" y="1704"/>
                    </a:lnTo>
                    <a:lnTo>
                      <a:pt x="231" y="1704"/>
                    </a:lnTo>
                    <a:lnTo>
                      <a:pt x="219" y="1704"/>
                    </a:lnTo>
                    <a:lnTo>
                      <a:pt x="206" y="1705"/>
                    </a:lnTo>
                    <a:lnTo>
                      <a:pt x="193" y="1707"/>
                    </a:lnTo>
                    <a:lnTo>
                      <a:pt x="64" y="1642"/>
                    </a:lnTo>
                    <a:lnTo>
                      <a:pt x="64" y="1642"/>
                    </a:lnTo>
                    <a:lnTo>
                      <a:pt x="114" y="1572"/>
                    </a:lnTo>
                    <a:lnTo>
                      <a:pt x="117" y="1560"/>
                    </a:lnTo>
                    <a:lnTo>
                      <a:pt x="118" y="1548"/>
                    </a:lnTo>
                    <a:lnTo>
                      <a:pt x="119" y="1537"/>
                    </a:lnTo>
                    <a:lnTo>
                      <a:pt x="119" y="1526"/>
                    </a:lnTo>
                    <a:lnTo>
                      <a:pt x="117" y="1503"/>
                    </a:lnTo>
                    <a:lnTo>
                      <a:pt x="115" y="1480"/>
                    </a:lnTo>
                    <a:lnTo>
                      <a:pt x="114" y="1470"/>
                    </a:lnTo>
                    <a:lnTo>
                      <a:pt x="113" y="1458"/>
                    </a:lnTo>
                    <a:lnTo>
                      <a:pt x="113" y="1446"/>
                    </a:lnTo>
                    <a:lnTo>
                      <a:pt x="113" y="1434"/>
                    </a:lnTo>
                    <a:lnTo>
                      <a:pt x="115" y="1421"/>
                    </a:lnTo>
                    <a:lnTo>
                      <a:pt x="117" y="1408"/>
                    </a:lnTo>
                    <a:lnTo>
                      <a:pt x="122" y="1395"/>
                    </a:lnTo>
                    <a:lnTo>
                      <a:pt x="127" y="1380"/>
                    </a:lnTo>
                    <a:lnTo>
                      <a:pt x="144" y="1351"/>
                    </a:lnTo>
                    <a:lnTo>
                      <a:pt x="169" y="1313"/>
                    </a:lnTo>
                    <a:lnTo>
                      <a:pt x="175" y="1303"/>
                    </a:lnTo>
                    <a:lnTo>
                      <a:pt x="179" y="1294"/>
                    </a:lnTo>
                    <a:lnTo>
                      <a:pt x="183" y="1285"/>
                    </a:lnTo>
                    <a:lnTo>
                      <a:pt x="186" y="1276"/>
                    </a:lnTo>
                    <a:lnTo>
                      <a:pt x="187" y="1268"/>
                    </a:lnTo>
                    <a:lnTo>
                      <a:pt x="187" y="1260"/>
                    </a:lnTo>
                    <a:lnTo>
                      <a:pt x="186" y="1257"/>
                    </a:lnTo>
                    <a:lnTo>
                      <a:pt x="184" y="1254"/>
                    </a:lnTo>
                    <a:lnTo>
                      <a:pt x="182" y="1250"/>
                    </a:lnTo>
                    <a:lnTo>
                      <a:pt x="180" y="1247"/>
                    </a:lnTo>
                    <a:lnTo>
                      <a:pt x="172" y="1242"/>
                    </a:lnTo>
                    <a:lnTo>
                      <a:pt x="162" y="1236"/>
                    </a:lnTo>
                    <a:lnTo>
                      <a:pt x="150" y="1231"/>
                    </a:lnTo>
                    <a:lnTo>
                      <a:pt x="137" y="1226"/>
                    </a:lnTo>
                    <a:lnTo>
                      <a:pt x="130" y="1222"/>
                    </a:lnTo>
                    <a:lnTo>
                      <a:pt x="125" y="1219"/>
                    </a:lnTo>
                    <a:lnTo>
                      <a:pt x="119" y="1216"/>
                    </a:lnTo>
                    <a:lnTo>
                      <a:pt x="115" y="1212"/>
                    </a:lnTo>
                    <a:lnTo>
                      <a:pt x="112" y="1207"/>
                    </a:lnTo>
                    <a:lnTo>
                      <a:pt x="109" y="1203"/>
                    </a:lnTo>
                    <a:lnTo>
                      <a:pt x="107" y="1197"/>
                    </a:lnTo>
                    <a:lnTo>
                      <a:pt x="107" y="1191"/>
                    </a:lnTo>
                    <a:lnTo>
                      <a:pt x="109" y="1185"/>
                    </a:lnTo>
                    <a:lnTo>
                      <a:pt x="112" y="1178"/>
                    </a:lnTo>
                    <a:lnTo>
                      <a:pt x="117" y="1172"/>
                    </a:lnTo>
                    <a:lnTo>
                      <a:pt x="123" y="1166"/>
                    </a:lnTo>
                    <a:lnTo>
                      <a:pt x="137" y="1153"/>
                    </a:lnTo>
                    <a:lnTo>
                      <a:pt x="151" y="1140"/>
                    </a:lnTo>
                    <a:lnTo>
                      <a:pt x="157" y="1134"/>
                    </a:lnTo>
                    <a:lnTo>
                      <a:pt x="164" y="1126"/>
                    </a:lnTo>
                    <a:lnTo>
                      <a:pt x="168" y="1120"/>
                    </a:lnTo>
                    <a:lnTo>
                      <a:pt x="171" y="1112"/>
                    </a:lnTo>
                    <a:lnTo>
                      <a:pt x="174" y="1105"/>
                    </a:lnTo>
                    <a:lnTo>
                      <a:pt x="174" y="1096"/>
                    </a:lnTo>
                    <a:lnTo>
                      <a:pt x="172" y="1093"/>
                    </a:lnTo>
                    <a:lnTo>
                      <a:pt x="171" y="1088"/>
                    </a:lnTo>
                    <a:lnTo>
                      <a:pt x="169" y="1084"/>
                    </a:lnTo>
                    <a:lnTo>
                      <a:pt x="167" y="1080"/>
                    </a:lnTo>
                    <a:lnTo>
                      <a:pt x="162" y="1073"/>
                    </a:lnTo>
                    <a:lnTo>
                      <a:pt x="155" y="1067"/>
                    </a:lnTo>
                    <a:lnTo>
                      <a:pt x="149" y="1061"/>
                    </a:lnTo>
                    <a:lnTo>
                      <a:pt x="141" y="1056"/>
                    </a:lnTo>
                    <a:lnTo>
                      <a:pt x="125" y="1045"/>
                    </a:lnTo>
                    <a:lnTo>
                      <a:pt x="107" y="1033"/>
                    </a:lnTo>
                    <a:lnTo>
                      <a:pt x="90" y="1023"/>
                    </a:lnTo>
                    <a:lnTo>
                      <a:pt x="74" y="1010"/>
                    </a:lnTo>
                    <a:lnTo>
                      <a:pt x="67" y="1002"/>
                    </a:lnTo>
                    <a:lnTo>
                      <a:pt x="61" y="994"/>
                    </a:lnTo>
                    <a:lnTo>
                      <a:pt x="54" y="987"/>
                    </a:lnTo>
                    <a:lnTo>
                      <a:pt x="50" y="977"/>
                    </a:lnTo>
                    <a:lnTo>
                      <a:pt x="42" y="966"/>
                    </a:lnTo>
                    <a:lnTo>
                      <a:pt x="33" y="956"/>
                    </a:lnTo>
                    <a:lnTo>
                      <a:pt x="23" y="945"/>
                    </a:lnTo>
                    <a:lnTo>
                      <a:pt x="13" y="934"/>
                    </a:lnTo>
                    <a:lnTo>
                      <a:pt x="9" y="929"/>
                    </a:lnTo>
                    <a:lnTo>
                      <a:pt x="6" y="923"/>
                    </a:lnTo>
                    <a:lnTo>
                      <a:pt x="2" y="918"/>
                    </a:lnTo>
                    <a:lnTo>
                      <a:pt x="1" y="912"/>
                    </a:lnTo>
                    <a:lnTo>
                      <a:pt x="0" y="906"/>
                    </a:lnTo>
                    <a:lnTo>
                      <a:pt x="1" y="900"/>
                    </a:lnTo>
                    <a:lnTo>
                      <a:pt x="3" y="894"/>
                    </a:lnTo>
                    <a:lnTo>
                      <a:pt x="7" y="888"/>
                    </a:lnTo>
                    <a:lnTo>
                      <a:pt x="21" y="865"/>
                    </a:lnTo>
                    <a:lnTo>
                      <a:pt x="41" y="831"/>
                    </a:lnTo>
                    <a:lnTo>
                      <a:pt x="53" y="814"/>
                    </a:lnTo>
                    <a:lnTo>
                      <a:pt x="63" y="800"/>
                    </a:lnTo>
                    <a:lnTo>
                      <a:pt x="67" y="795"/>
                    </a:lnTo>
                    <a:lnTo>
                      <a:pt x="72" y="790"/>
                    </a:lnTo>
                    <a:lnTo>
                      <a:pt x="75" y="788"/>
                    </a:lnTo>
                    <a:lnTo>
                      <a:pt x="77" y="787"/>
                    </a:lnTo>
                    <a:lnTo>
                      <a:pt x="85" y="786"/>
                    </a:lnTo>
                    <a:lnTo>
                      <a:pt x="100" y="788"/>
                    </a:lnTo>
                    <a:lnTo>
                      <a:pt x="118" y="790"/>
                    </a:lnTo>
                    <a:lnTo>
                      <a:pt x="132" y="792"/>
                    </a:lnTo>
                    <a:lnTo>
                      <a:pt x="150" y="797"/>
                    </a:lnTo>
                    <a:lnTo>
                      <a:pt x="165" y="801"/>
                    </a:lnTo>
                    <a:lnTo>
                      <a:pt x="177" y="805"/>
                    </a:lnTo>
                    <a:lnTo>
                      <a:pt x="186" y="810"/>
                    </a:lnTo>
                    <a:lnTo>
                      <a:pt x="189" y="814"/>
                    </a:lnTo>
                    <a:lnTo>
                      <a:pt x="192" y="817"/>
                    </a:lnTo>
                    <a:lnTo>
                      <a:pt x="194" y="822"/>
                    </a:lnTo>
                    <a:lnTo>
                      <a:pt x="195" y="827"/>
                    </a:lnTo>
                    <a:lnTo>
                      <a:pt x="196" y="834"/>
                    </a:lnTo>
                    <a:lnTo>
                      <a:pt x="196" y="841"/>
                    </a:lnTo>
                    <a:lnTo>
                      <a:pt x="196" y="849"/>
                    </a:lnTo>
                    <a:lnTo>
                      <a:pt x="195" y="858"/>
                    </a:lnTo>
                    <a:lnTo>
                      <a:pt x="189" y="880"/>
                    </a:lnTo>
                    <a:lnTo>
                      <a:pt x="184" y="899"/>
                    </a:lnTo>
                    <a:lnTo>
                      <a:pt x="184" y="904"/>
                    </a:lnTo>
                    <a:lnTo>
                      <a:pt x="184" y="907"/>
                    </a:lnTo>
                    <a:lnTo>
                      <a:pt x="186" y="911"/>
                    </a:lnTo>
                    <a:lnTo>
                      <a:pt x="188" y="915"/>
                    </a:lnTo>
                    <a:lnTo>
                      <a:pt x="191" y="918"/>
                    </a:lnTo>
                    <a:lnTo>
                      <a:pt x="195" y="920"/>
                    </a:lnTo>
                    <a:lnTo>
                      <a:pt x="201" y="923"/>
                    </a:lnTo>
                    <a:lnTo>
                      <a:pt x="207" y="924"/>
                    </a:lnTo>
                    <a:lnTo>
                      <a:pt x="219" y="927"/>
                    </a:lnTo>
                    <a:lnTo>
                      <a:pt x="230" y="929"/>
                    </a:lnTo>
                    <a:lnTo>
                      <a:pt x="242" y="931"/>
                    </a:lnTo>
                    <a:lnTo>
                      <a:pt x="254" y="931"/>
                    </a:lnTo>
                    <a:lnTo>
                      <a:pt x="266" y="931"/>
                    </a:lnTo>
                    <a:lnTo>
                      <a:pt x="278" y="930"/>
                    </a:lnTo>
                    <a:lnTo>
                      <a:pt x="290" y="927"/>
                    </a:lnTo>
                    <a:lnTo>
                      <a:pt x="301" y="925"/>
                    </a:lnTo>
                    <a:lnTo>
                      <a:pt x="312" y="923"/>
                    </a:lnTo>
                    <a:lnTo>
                      <a:pt x="324" y="920"/>
                    </a:lnTo>
                    <a:lnTo>
                      <a:pt x="335" y="916"/>
                    </a:lnTo>
                    <a:lnTo>
                      <a:pt x="346" y="911"/>
                    </a:lnTo>
                    <a:lnTo>
                      <a:pt x="356" y="906"/>
                    </a:lnTo>
                    <a:lnTo>
                      <a:pt x="366" y="900"/>
                    </a:lnTo>
                    <a:lnTo>
                      <a:pt x="375" y="895"/>
                    </a:lnTo>
                    <a:lnTo>
                      <a:pt x="384" y="888"/>
                    </a:lnTo>
                    <a:lnTo>
                      <a:pt x="392" y="881"/>
                    </a:lnTo>
                    <a:lnTo>
                      <a:pt x="400" y="873"/>
                    </a:lnTo>
                    <a:lnTo>
                      <a:pt x="408" y="866"/>
                    </a:lnTo>
                    <a:lnTo>
                      <a:pt x="413" y="857"/>
                    </a:lnTo>
                    <a:lnTo>
                      <a:pt x="418" y="849"/>
                    </a:lnTo>
                    <a:lnTo>
                      <a:pt x="424" y="839"/>
                    </a:lnTo>
                    <a:lnTo>
                      <a:pt x="427" y="829"/>
                    </a:lnTo>
                    <a:lnTo>
                      <a:pt x="430" y="819"/>
                    </a:lnTo>
                    <a:lnTo>
                      <a:pt x="432" y="810"/>
                    </a:lnTo>
                    <a:lnTo>
                      <a:pt x="433" y="799"/>
                    </a:lnTo>
                    <a:lnTo>
                      <a:pt x="432" y="788"/>
                    </a:lnTo>
                    <a:lnTo>
                      <a:pt x="429" y="776"/>
                    </a:lnTo>
                    <a:lnTo>
                      <a:pt x="427" y="764"/>
                    </a:lnTo>
                    <a:lnTo>
                      <a:pt x="423" y="753"/>
                    </a:lnTo>
                    <a:lnTo>
                      <a:pt x="417" y="741"/>
                    </a:lnTo>
                    <a:lnTo>
                      <a:pt x="410" y="729"/>
                    </a:lnTo>
                    <a:lnTo>
                      <a:pt x="395" y="706"/>
                    </a:lnTo>
                    <a:lnTo>
                      <a:pt x="379" y="684"/>
                    </a:lnTo>
                    <a:lnTo>
                      <a:pt x="372" y="675"/>
                    </a:lnTo>
                    <a:lnTo>
                      <a:pt x="365" y="665"/>
                    </a:lnTo>
                    <a:lnTo>
                      <a:pt x="360" y="656"/>
                    </a:lnTo>
                    <a:lnTo>
                      <a:pt x="357" y="647"/>
                    </a:lnTo>
                    <a:lnTo>
                      <a:pt x="355" y="639"/>
                    </a:lnTo>
                    <a:lnTo>
                      <a:pt x="355" y="630"/>
                    </a:lnTo>
                    <a:lnTo>
                      <a:pt x="355" y="627"/>
                    </a:lnTo>
                    <a:lnTo>
                      <a:pt x="356" y="623"/>
                    </a:lnTo>
                    <a:lnTo>
                      <a:pt x="358" y="620"/>
                    </a:lnTo>
                    <a:lnTo>
                      <a:pt x="361" y="616"/>
                    </a:lnTo>
                    <a:lnTo>
                      <a:pt x="364" y="613"/>
                    </a:lnTo>
                    <a:lnTo>
                      <a:pt x="369" y="610"/>
                    </a:lnTo>
                    <a:lnTo>
                      <a:pt x="373" y="607"/>
                    </a:lnTo>
                    <a:lnTo>
                      <a:pt x="379" y="603"/>
                    </a:lnTo>
                    <a:lnTo>
                      <a:pt x="394" y="598"/>
                    </a:lnTo>
                    <a:lnTo>
                      <a:pt x="411" y="593"/>
                    </a:lnTo>
                    <a:lnTo>
                      <a:pt x="432" y="587"/>
                    </a:lnTo>
                    <a:lnTo>
                      <a:pt x="454" y="580"/>
                    </a:lnTo>
                    <a:lnTo>
                      <a:pt x="466" y="575"/>
                    </a:lnTo>
                    <a:lnTo>
                      <a:pt x="478" y="570"/>
                    </a:lnTo>
                    <a:lnTo>
                      <a:pt x="489" y="565"/>
                    </a:lnTo>
                    <a:lnTo>
                      <a:pt x="501" y="558"/>
                    </a:lnTo>
                    <a:lnTo>
                      <a:pt x="511" y="552"/>
                    </a:lnTo>
                    <a:lnTo>
                      <a:pt x="520" y="544"/>
                    </a:lnTo>
                    <a:lnTo>
                      <a:pt x="529" y="535"/>
                    </a:lnTo>
                    <a:lnTo>
                      <a:pt x="537" y="527"/>
                    </a:lnTo>
                    <a:lnTo>
                      <a:pt x="543" y="517"/>
                    </a:lnTo>
                    <a:lnTo>
                      <a:pt x="547" y="506"/>
                    </a:lnTo>
                    <a:lnTo>
                      <a:pt x="551" y="494"/>
                    </a:lnTo>
                    <a:lnTo>
                      <a:pt x="552" y="483"/>
                    </a:lnTo>
                    <a:lnTo>
                      <a:pt x="552" y="483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12" name="Freeform 27">
                <a:extLst>
                  <a:ext uri="{FF2B5EF4-FFF2-40B4-BE49-F238E27FC236}">
                    <a16:creationId xmlns:a16="http://schemas.microsoft.com/office/drawing/2014/main" id="{F8531C36-92D6-4356-8DD6-7CA429B2B4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30164" y="-1042583"/>
                <a:ext cx="1189037" cy="1682750"/>
              </a:xfrm>
              <a:custGeom>
                <a:avLst/>
                <a:gdLst>
                  <a:gd name="T0" fmla="*/ 463 w 2995"/>
                  <a:gd name="T1" fmla="*/ 713 h 4241"/>
                  <a:gd name="T2" fmla="*/ 332 w 2995"/>
                  <a:gd name="T3" fmla="*/ 910 h 4241"/>
                  <a:gd name="T4" fmla="*/ 225 w 2995"/>
                  <a:gd name="T5" fmla="*/ 1099 h 4241"/>
                  <a:gd name="T6" fmla="*/ 149 w 2995"/>
                  <a:gd name="T7" fmla="*/ 1267 h 4241"/>
                  <a:gd name="T8" fmla="*/ 254 w 2995"/>
                  <a:gd name="T9" fmla="*/ 1455 h 4241"/>
                  <a:gd name="T10" fmla="*/ 183 w 2995"/>
                  <a:gd name="T11" fmla="*/ 1764 h 4241"/>
                  <a:gd name="T12" fmla="*/ 45 w 2995"/>
                  <a:gd name="T13" fmla="*/ 1969 h 4241"/>
                  <a:gd name="T14" fmla="*/ 100 w 2995"/>
                  <a:gd name="T15" fmla="*/ 2181 h 4241"/>
                  <a:gd name="T16" fmla="*/ 215 w 2995"/>
                  <a:gd name="T17" fmla="*/ 2130 h 4241"/>
                  <a:gd name="T18" fmla="*/ 360 w 2995"/>
                  <a:gd name="T19" fmla="*/ 2094 h 4241"/>
                  <a:gd name="T20" fmla="*/ 298 w 2995"/>
                  <a:gd name="T21" fmla="*/ 2003 h 4241"/>
                  <a:gd name="T22" fmla="*/ 564 w 2995"/>
                  <a:gd name="T23" fmla="*/ 1719 h 4241"/>
                  <a:gd name="T24" fmla="*/ 886 w 2995"/>
                  <a:gd name="T25" fmla="*/ 1830 h 4241"/>
                  <a:gd name="T26" fmla="*/ 1003 w 2995"/>
                  <a:gd name="T27" fmla="*/ 1918 h 4241"/>
                  <a:gd name="T28" fmla="*/ 807 w 2995"/>
                  <a:gd name="T29" fmla="*/ 2129 h 4241"/>
                  <a:gd name="T30" fmla="*/ 1052 w 2995"/>
                  <a:gd name="T31" fmla="*/ 2289 h 4241"/>
                  <a:gd name="T32" fmla="*/ 1071 w 2995"/>
                  <a:gd name="T33" fmla="*/ 2540 h 4241"/>
                  <a:gd name="T34" fmla="*/ 776 w 2995"/>
                  <a:gd name="T35" fmla="*/ 2637 h 4241"/>
                  <a:gd name="T36" fmla="*/ 471 w 2995"/>
                  <a:gd name="T37" fmla="*/ 2629 h 4241"/>
                  <a:gd name="T38" fmla="*/ 238 w 2995"/>
                  <a:gd name="T39" fmla="*/ 2944 h 4241"/>
                  <a:gd name="T40" fmla="*/ 163 w 2995"/>
                  <a:gd name="T41" fmla="*/ 3312 h 4241"/>
                  <a:gd name="T42" fmla="*/ 327 w 2995"/>
                  <a:gd name="T43" fmla="*/ 3581 h 4241"/>
                  <a:gd name="T44" fmla="*/ 450 w 2995"/>
                  <a:gd name="T45" fmla="*/ 3735 h 4241"/>
                  <a:gd name="T46" fmla="*/ 611 w 2995"/>
                  <a:gd name="T47" fmla="*/ 3678 h 4241"/>
                  <a:gd name="T48" fmla="*/ 849 w 2995"/>
                  <a:gd name="T49" fmla="*/ 3677 h 4241"/>
                  <a:gd name="T50" fmla="*/ 842 w 2995"/>
                  <a:gd name="T51" fmla="*/ 3778 h 4241"/>
                  <a:gd name="T52" fmla="*/ 902 w 2995"/>
                  <a:gd name="T53" fmla="*/ 4013 h 4241"/>
                  <a:gd name="T54" fmla="*/ 927 w 2995"/>
                  <a:gd name="T55" fmla="*/ 4122 h 4241"/>
                  <a:gd name="T56" fmla="*/ 1243 w 2995"/>
                  <a:gd name="T57" fmla="*/ 4159 h 4241"/>
                  <a:gd name="T58" fmla="*/ 1146 w 2995"/>
                  <a:gd name="T59" fmla="*/ 3870 h 4241"/>
                  <a:gd name="T60" fmla="*/ 1421 w 2995"/>
                  <a:gd name="T61" fmla="*/ 3811 h 4241"/>
                  <a:gd name="T62" fmla="*/ 1853 w 2995"/>
                  <a:gd name="T63" fmla="*/ 3782 h 4241"/>
                  <a:gd name="T64" fmla="*/ 2074 w 2995"/>
                  <a:gd name="T65" fmla="*/ 3770 h 4241"/>
                  <a:gd name="T66" fmla="*/ 2407 w 2995"/>
                  <a:gd name="T67" fmla="*/ 3832 h 4241"/>
                  <a:gd name="T68" fmla="*/ 2815 w 2995"/>
                  <a:gd name="T69" fmla="*/ 3838 h 4241"/>
                  <a:gd name="T70" fmla="*/ 2778 w 2995"/>
                  <a:gd name="T71" fmla="*/ 3731 h 4241"/>
                  <a:gd name="T72" fmla="*/ 2814 w 2995"/>
                  <a:gd name="T73" fmla="*/ 3483 h 4241"/>
                  <a:gd name="T74" fmla="*/ 2476 w 2995"/>
                  <a:gd name="T75" fmla="*/ 2856 h 4241"/>
                  <a:gd name="T76" fmla="*/ 2529 w 2995"/>
                  <a:gd name="T77" fmla="*/ 2720 h 4241"/>
                  <a:gd name="T78" fmla="*/ 2403 w 2995"/>
                  <a:gd name="T79" fmla="*/ 2542 h 4241"/>
                  <a:gd name="T80" fmla="*/ 2394 w 2995"/>
                  <a:gd name="T81" fmla="*/ 2329 h 4241"/>
                  <a:gd name="T82" fmla="*/ 2434 w 2995"/>
                  <a:gd name="T83" fmla="*/ 2202 h 4241"/>
                  <a:gd name="T84" fmla="*/ 2373 w 2995"/>
                  <a:gd name="T85" fmla="*/ 2036 h 4241"/>
                  <a:gd name="T86" fmla="*/ 2333 w 2995"/>
                  <a:gd name="T87" fmla="*/ 1961 h 4241"/>
                  <a:gd name="T88" fmla="*/ 2328 w 2995"/>
                  <a:gd name="T89" fmla="*/ 1806 h 4241"/>
                  <a:gd name="T90" fmla="*/ 2318 w 2995"/>
                  <a:gd name="T91" fmla="*/ 1400 h 4241"/>
                  <a:gd name="T92" fmla="*/ 2265 w 2995"/>
                  <a:gd name="T93" fmla="*/ 1232 h 4241"/>
                  <a:gd name="T94" fmla="*/ 2324 w 2995"/>
                  <a:gd name="T95" fmla="*/ 1100 h 4241"/>
                  <a:gd name="T96" fmla="*/ 2189 w 2995"/>
                  <a:gd name="T97" fmla="*/ 940 h 4241"/>
                  <a:gd name="T98" fmla="*/ 2274 w 2995"/>
                  <a:gd name="T99" fmla="*/ 811 h 4241"/>
                  <a:gd name="T100" fmla="*/ 2132 w 2995"/>
                  <a:gd name="T101" fmla="*/ 707 h 4241"/>
                  <a:gd name="T102" fmla="*/ 2067 w 2995"/>
                  <a:gd name="T103" fmla="*/ 591 h 4241"/>
                  <a:gd name="T104" fmla="*/ 1919 w 2995"/>
                  <a:gd name="T105" fmla="*/ 546 h 4241"/>
                  <a:gd name="T106" fmla="*/ 1585 w 2995"/>
                  <a:gd name="T107" fmla="*/ 356 h 4241"/>
                  <a:gd name="T108" fmla="*/ 1328 w 2995"/>
                  <a:gd name="T109" fmla="*/ 359 h 4241"/>
                  <a:gd name="T110" fmla="*/ 1194 w 2995"/>
                  <a:gd name="T111" fmla="*/ 362 h 4241"/>
                  <a:gd name="T112" fmla="*/ 1126 w 2995"/>
                  <a:gd name="T113" fmla="*/ 88 h 4241"/>
                  <a:gd name="T114" fmla="*/ 1037 w 2995"/>
                  <a:gd name="T115" fmla="*/ 75 h 4241"/>
                  <a:gd name="T116" fmla="*/ 888 w 2995"/>
                  <a:gd name="T117" fmla="*/ 230 h 4241"/>
                  <a:gd name="T118" fmla="*/ 604 w 2995"/>
                  <a:gd name="T119" fmla="*/ 265 h 4241"/>
                  <a:gd name="T120" fmla="*/ 344 w 2995"/>
                  <a:gd name="T121" fmla="*/ 171 h 4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95" h="4241">
                    <a:moveTo>
                      <a:pt x="250" y="271"/>
                    </a:moveTo>
                    <a:lnTo>
                      <a:pt x="255" y="583"/>
                    </a:lnTo>
                    <a:lnTo>
                      <a:pt x="255" y="583"/>
                    </a:lnTo>
                    <a:lnTo>
                      <a:pt x="405" y="621"/>
                    </a:lnTo>
                    <a:lnTo>
                      <a:pt x="412" y="622"/>
                    </a:lnTo>
                    <a:lnTo>
                      <a:pt x="420" y="623"/>
                    </a:lnTo>
                    <a:lnTo>
                      <a:pt x="427" y="626"/>
                    </a:lnTo>
                    <a:lnTo>
                      <a:pt x="433" y="628"/>
                    </a:lnTo>
                    <a:lnTo>
                      <a:pt x="439" y="632"/>
                    </a:lnTo>
                    <a:lnTo>
                      <a:pt x="444" y="636"/>
                    </a:lnTo>
                    <a:lnTo>
                      <a:pt x="448" y="641"/>
                    </a:lnTo>
                    <a:lnTo>
                      <a:pt x="452" y="645"/>
                    </a:lnTo>
                    <a:lnTo>
                      <a:pt x="455" y="651"/>
                    </a:lnTo>
                    <a:lnTo>
                      <a:pt x="458" y="657"/>
                    </a:lnTo>
                    <a:lnTo>
                      <a:pt x="460" y="663"/>
                    </a:lnTo>
                    <a:lnTo>
                      <a:pt x="461" y="669"/>
                    </a:lnTo>
                    <a:lnTo>
                      <a:pt x="463" y="683"/>
                    </a:lnTo>
                    <a:lnTo>
                      <a:pt x="465" y="698"/>
                    </a:lnTo>
                    <a:lnTo>
                      <a:pt x="463" y="713"/>
                    </a:lnTo>
                    <a:lnTo>
                      <a:pt x="461" y="729"/>
                    </a:lnTo>
                    <a:lnTo>
                      <a:pt x="458" y="745"/>
                    </a:lnTo>
                    <a:lnTo>
                      <a:pt x="454" y="760"/>
                    </a:lnTo>
                    <a:lnTo>
                      <a:pt x="448" y="775"/>
                    </a:lnTo>
                    <a:lnTo>
                      <a:pt x="443" y="789"/>
                    </a:lnTo>
                    <a:lnTo>
                      <a:pt x="437" y="802"/>
                    </a:lnTo>
                    <a:lnTo>
                      <a:pt x="431" y="814"/>
                    </a:lnTo>
                    <a:lnTo>
                      <a:pt x="424" y="825"/>
                    </a:lnTo>
                    <a:lnTo>
                      <a:pt x="417" y="834"/>
                    </a:lnTo>
                    <a:lnTo>
                      <a:pt x="409" y="841"/>
                    </a:lnTo>
                    <a:lnTo>
                      <a:pt x="401" y="847"/>
                    </a:lnTo>
                    <a:lnTo>
                      <a:pt x="384" y="858"/>
                    </a:lnTo>
                    <a:lnTo>
                      <a:pt x="367" y="868"/>
                    </a:lnTo>
                    <a:lnTo>
                      <a:pt x="359" y="872"/>
                    </a:lnTo>
                    <a:lnTo>
                      <a:pt x="353" y="878"/>
                    </a:lnTo>
                    <a:lnTo>
                      <a:pt x="346" y="884"/>
                    </a:lnTo>
                    <a:lnTo>
                      <a:pt x="341" y="892"/>
                    </a:lnTo>
                    <a:lnTo>
                      <a:pt x="337" y="900"/>
                    </a:lnTo>
                    <a:lnTo>
                      <a:pt x="332" y="910"/>
                    </a:lnTo>
                    <a:lnTo>
                      <a:pt x="330" y="923"/>
                    </a:lnTo>
                    <a:lnTo>
                      <a:pt x="330" y="937"/>
                    </a:lnTo>
                    <a:lnTo>
                      <a:pt x="330" y="967"/>
                    </a:lnTo>
                    <a:lnTo>
                      <a:pt x="329" y="991"/>
                    </a:lnTo>
                    <a:lnTo>
                      <a:pt x="329" y="1001"/>
                    </a:lnTo>
                    <a:lnTo>
                      <a:pt x="327" y="1008"/>
                    </a:lnTo>
                    <a:lnTo>
                      <a:pt x="326" y="1016"/>
                    </a:lnTo>
                    <a:lnTo>
                      <a:pt x="323" y="1022"/>
                    </a:lnTo>
                    <a:lnTo>
                      <a:pt x="319" y="1029"/>
                    </a:lnTo>
                    <a:lnTo>
                      <a:pt x="315" y="1034"/>
                    </a:lnTo>
                    <a:lnTo>
                      <a:pt x="310" y="1040"/>
                    </a:lnTo>
                    <a:lnTo>
                      <a:pt x="302" y="1045"/>
                    </a:lnTo>
                    <a:lnTo>
                      <a:pt x="285" y="1056"/>
                    </a:lnTo>
                    <a:lnTo>
                      <a:pt x="260" y="1070"/>
                    </a:lnTo>
                    <a:lnTo>
                      <a:pt x="249" y="1076"/>
                    </a:lnTo>
                    <a:lnTo>
                      <a:pt x="240" y="1082"/>
                    </a:lnTo>
                    <a:lnTo>
                      <a:pt x="234" y="1088"/>
                    </a:lnTo>
                    <a:lnTo>
                      <a:pt x="228" y="1094"/>
                    </a:lnTo>
                    <a:lnTo>
                      <a:pt x="225" y="1099"/>
                    </a:lnTo>
                    <a:lnTo>
                      <a:pt x="223" y="1104"/>
                    </a:lnTo>
                    <a:lnTo>
                      <a:pt x="222" y="1111"/>
                    </a:lnTo>
                    <a:lnTo>
                      <a:pt x="222" y="1116"/>
                    </a:lnTo>
                    <a:lnTo>
                      <a:pt x="227" y="1144"/>
                    </a:lnTo>
                    <a:lnTo>
                      <a:pt x="232" y="1181"/>
                    </a:lnTo>
                    <a:lnTo>
                      <a:pt x="230" y="1186"/>
                    </a:lnTo>
                    <a:lnTo>
                      <a:pt x="229" y="1193"/>
                    </a:lnTo>
                    <a:lnTo>
                      <a:pt x="227" y="1197"/>
                    </a:lnTo>
                    <a:lnTo>
                      <a:pt x="225" y="1203"/>
                    </a:lnTo>
                    <a:lnTo>
                      <a:pt x="219" y="1211"/>
                    </a:lnTo>
                    <a:lnTo>
                      <a:pt x="210" y="1218"/>
                    </a:lnTo>
                    <a:lnTo>
                      <a:pt x="190" y="1230"/>
                    </a:lnTo>
                    <a:lnTo>
                      <a:pt x="170" y="1240"/>
                    </a:lnTo>
                    <a:lnTo>
                      <a:pt x="162" y="1246"/>
                    </a:lnTo>
                    <a:lnTo>
                      <a:pt x="155" y="1252"/>
                    </a:lnTo>
                    <a:lnTo>
                      <a:pt x="152" y="1256"/>
                    </a:lnTo>
                    <a:lnTo>
                      <a:pt x="151" y="1259"/>
                    </a:lnTo>
                    <a:lnTo>
                      <a:pt x="149" y="1263"/>
                    </a:lnTo>
                    <a:lnTo>
                      <a:pt x="149" y="1267"/>
                    </a:lnTo>
                    <a:lnTo>
                      <a:pt x="150" y="1272"/>
                    </a:lnTo>
                    <a:lnTo>
                      <a:pt x="151" y="1277"/>
                    </a:lnTo>
                    <a:lnTo>
                      <a:pt x="153" y="1283"/>
                    </a:lnTo>
                    <a:lnTo>
                      <a:pt x="158" y="1288"/>
                    </a:lnTo>
                    <a:lnTo>
                      <a:pt x="162" y="1294"/>
                    </a:lnTo>
                    <a:lnTo>
                      <a:pt x="169" y="1302"/>
                    </a:lnTo>
                    <a:lnTo>
                      <a:pt x="175" y="1310"/>
                    </a:lnTo>
                    <a:lnTo>
                      <a:pt x="184" y="1318"/>
                    </a:lnTo>
                    <a:lnTo>
                      <a:pt x="203" y="1337"/>
                    </a:lnTo>
                    <a:lnTo>
                      <a:pt x="219" y="1354"/>
                    </a:lnTo>
                    <a:lnTo>
                      <a:pt x="225" y="1364"/>
                    </a:lnTo>
                    <a:lnTo>
                      <a:pt x="232" y="1372"/>
                    </a:lnTo>
                    <a:lnTo>
                      <a:pt x="236" y="1381"/>
                    </a:lnTo>
                    <a:lnTo>
                      <a:pt x="240" y="1391"/>
                    </a:lnTo>
                    <a:lnTo>
                      <a:pt x="245" y="1400"/>
                    </a:lnTo>
                    <a:lnTo>
                      <a:pt x="248" y="1410"/>
                    </a:lnTo>
                    <a:lnTo>
                      <a:pt x="250" y="1421"/>
                    </a:lnTo>
                    <a:lnTo>
                      <a:pt x="252" y="1432"/>
                    </a:lnTo>
                    <a:lnTo>
                      <a:pt x="254" y="1455"/>
                    </a:lnTo>
                    <a:lnTo>
                      <a:pt x="255" y="1482"/>
                    </a:lnTo>
                    <a:lnTo>
                      <a:pt x="255" y="1496"/>
                    </a:lnTo>
                    <a:lnTo>
                      <a:pt x="256" y="1513"/>
                    </a:lnTo>
                    <a:lnTo>
                      <a:pt x="255" y="1530"/>
                    </a:lnTo>
                    <a:lnTo>
                      <a:pt x="254" y="1549"/>
                    </a:lnTo>
                    <a:lnTo>
                      <a:pt x="253" y="1569"/>
                    </a:lnTo>
                    <a:lnTo>
                      <a:pt x="251" y="1590"/>
                    </a:lnTo>
                    <a:lnTo>
                      <a:pt x="248" y="1611"/>
                    </a:lnTo>
                    <a:lnTo>
                      <a:pt x="243" y="1633"/>
                    </a:lnTo>
                    <a:lnTo>
                      <a:pt x="239" y="1654"/>
                    </a:lnTo>
                    <a:lnTo>
                      <a:pt x="234" y="1675"/>
                    </a:lnTo>
                    <a:lnTo>
                      <a:pt x="227" y="1694"/>
                    </a:lnTo>
                    <a:lnTo>
                      <a:pt x="221" y="1711"/>
                    </a:lnTo>
                    <a:lnTo>
                      <a:pt x="212" y="1729"/>
                    </a:lnTo>
                    <a:lnTo>
                      <a:pt x="203" y="1743"/>
                    </a:lnTo>
                    <a:lnTo>
                      <a:pt x="199" y="1749"/>
                    </a:lnTo>
                    <a:lnTo>
                      <a:pt x="194" y="1755"/>
                    </a:lnTo>
                    <a:lnTo>
                      <a:pt x="188" y="1760"/>
                    </a:lnTo>
                    <a:lnTo>
                      <a:pt x="183" y="1764"/>
                    </a:lnTo>
                    <a:lnTo>
                      <a:pt x="172" y="1774"/>
                    </a:lnTo>
                    <a:lnTo>
                      <a:pt x="162" y="1783"/>
                    </a:lnTo>
                    <a:lnTo>
                      <a:pt x="156" y="1792"/>
                    </a:lnTo>
                    <a:lnTo>
                      <a:pt x="150" y="1802"/>
                    </a:lnTo>
                    <a:lnTo>
                      <a:pt x="146" y="1812"/>
                    </a:lnTo>
                    <a:lnTo>
                      <a:pt x="143" y="1820"/>
                    </a:lnTo>
                    <a:lnTo>
                      <a:pt x="140" y="1830"/>
                    </a:lnTo>
                    <a:lnTo>
                      <a:pt x="138" y="1840"/>
                    </a:lnTo>
                    <a:lnTo>
                      <a:pt x="135" y="1858"/>
                    </a:lnTo>
                    <a:lnTo>
                      <a:pt x="130" y="1876"/>
                    </a:lnTo>
                    <a:lnTo>
                      <a:pt x="125" y="1884"/>
                    </a:lnTo>
                    <a:lnTo>
                      <a:pt x="120" y="1893"/>
                    </a:lnTo>
                    <a:lnTo>
                      <a:pt x="112" y="1901"/>
                    </a:lnTo>
                    <a:lnTo>
                      <a:pt x="103" y="1909"/>
                    </a:lnTo>
                    <a:lnTo>
                      <a:pt x="92" y="1918"/>
                    </a:lnTo>
                    <a:lnTo>
                      <a:pt x="81" y="1927"/>
                    </a:lnTo>
                    <a:lnTo>
                      <a:pt x="69" y="1940"/>
                    </a:lnTo>
                    <a:lnTo>
                      <a:pt x="57" y="1954"/>
                    </a:lnTo>
                    <a:lnTo>
                      <a:pt x="45" y="1969"/>
                    </a:lnTo>
                    <a:lnTo>
                      <a:pt x="34" y="1986"/>
                    </a:lnTo>
                    <a:lnTo>
                      <a:pt x="23" y="2003"/>
                    </a:lnTo>
                    <a:lnTo>
                      <a:pt x="15" y="2020"/>
                    </a:lnTo>
                    <a:lnTo>
                      <a:pt x="7" y="2039"/>
                    </a:lnTo>
                    <a:lnTo>
                      <a:pt x="3" y="2056"/>
                    </a:lnTo>
                    <a:lnTo>
                      <a:pt x="1" y="2065"/>
                    </a:lnTo>
                    <a:lnTo>
                      <a:pt x="0" y="2073"/>
                    </a:lnTo>
                    <a:lnTo>
                      <a:pt x="0" y="2082"/>
                    </a:lnTo>
                    <a:lnTo>
                      <a:pt x="0" y="2089"/>
                    </a:lnTo>
                    <a:lnTo>
                      <a:pt x="2" y="2098"/>
                    </a:lnTo>
                    <a:lnTo>
                      <a:pt x="4" y="2106"/>
                    </a:lnTo>
                    <a:lnTo>
                      <a:pt x="7" y="2112"/>
                    </a:lnTo>
                    <a:lnTo>
                      <a:pt x="12" y="2120"/>
                    </a:lnTo>
                    <a:lnTo>
                      <a:pt x="16" y="2126"/>
                    </a:lnTo>
                    <a:lnTo>
                      <a:pt x="22" y="2131"/>
                    </a:lnTo>
                    <a:lnTo>
                      <a:pt x="30" y="2137"/>
                    </a:lnTo>
                    <a:lnTo>
                      <a:pt x="39" y="2142"/>
                    </a:lnTo>
                    <a:lnTo>
                      <a:pt x="78" y="2166"/>
                    </a:lnTo>
                    <a:lnTo>
                      <a:pt x="100" y="2181"/>
                    </a:lnTo>
                    <a:lnTo>
                      <a:pt x="105" y="2182"/>
                    </a:lnTo>
                    <a:lnTo>
                      <a:pt x="110" y="2182"/>
                    </a:lnTo>
                    <a:lnTo>
                      <a:pt x="114" y="2180"/>
                    </a:lnTo>
                    <a:lnTo>
                      <a:pt x="121" y="2177"/>
                    </a:lnTo>
                    <a:lnTo>
                      <a:pt x="127" y="2173"/>
                    </a:lnTo>
                    <a:lnTo>
                      <a:pt x="135" y="2166"/>
                    </a:lnTo>
                    <a:lnTo>
                      <a:pt x="143" y="2157"/>
                    </a:lnTo>
                    <a:lnTo>
                      <a:pt x="153" y="2147"/>
                    </a:lnTo>
                    <a:lnTo>
                      <a:pt x="163" y="2133"/>
                    </a:lnTo>
                    <a:lnTo>
                      <a:pt x="178" y="2114"/>
                    </a:lnTo>
                    <a:lnTo>
                      <a:pt x="183" y="2110"/>
                    </a:lnTo>
                    <a:lnTo>
                      <a:pt x="187" y="2107"/>
                    </a:lnTo>
                    <a:lnTo>
                      <a:pt x="191" y="2104"/>
                    </a:lnTo>
                    <a:lnTo>
                      <a:pt x="196" y="2104"/>
                    </a:lnTo>
                    <a:lnTo>
                      <a:pt x="200" y="2104"/>
                    </a:lnTo>
                    <a:lnTo>
                      <a:pt x="203" y="2107"/>
                    </a:lnTo>
                    <a:lnTo>
                      <a:pt x="207" y="2110"/>
                    </a:lnTo>
                    <a:lnTo>
                      <a:pt x="210" y="2116"/>
                    </a:lnTo>
                    <a:lnTo>
                      <a:pt x="215" y="2130"/>
                    </a:lnTo>
                    <a:lnTo>
                      <a:pt x="222" y="2153"/>
                    </a:lnTo>
                    <a:lnTo>
                      <a:pt x="225" y="2165"/>
                    </a:lnTo>
                    <a:lnTo>
                      <a:pt x="228" y="2175"/>
                    </a:lnTo>
                    <a:lnTo>
                      <a:pt x="233" y="2181"/>
                    </a:lnTo>
                    <a:lnTo>
                      <a:pt x="235" y="2184"/>
                    </a:lnTo>
                    <a:lnTo>
                      <a:pt x="236" y="2187"/>
                    </a:lnTo>
                    <a:lnTo>
                      <a:pt x="237" y="2188"/>
                    </a:lnTo>
                    <a:lnTo>
                      <a:pt x="238" y="2189"/>
                    </a:lnTo>
                    <a:lnTo>
                      <a:pt x="240" y="2189"/>
                    </a:lnTo>
                    <a:lnTo>
                      <a:pt x="243" y="2189"/>
                    </a:lnTo>
                    <a:lnTo>
                      <a:pt x="249" y="2188"/>
                    </a:lnTo>
                    <a:lnTo>
                      <a:pt x="261" y="2180"/>
                    </a:lnTo>
                    <a:lnTo>
                      <a:pt x="274" y="2170"/>
                    </a:lnTo>
                    <a:lnTo>
                      <a:pt x="300" y="2148"/>
                    </a:lnTo>
                    <a:lnTo>
                      <a:pt x="315" y="2133"/>
                    </a:lnTo>
                    <a:lnTo>
                      <a:pt x="334" y="2119"/>
                    </a:lnTo>
                    <a:lnTo>
                      <a:pt x="354" y="2102"/>
                    </a:lnTo>
                    <a:lnTo>
                      <a:pt x="358" y="2098"/>
                    </a:lnTo>
                    <a:lnTo>
                      <a:pt x="360" y="2094"/>
                    </a:lnTo>
                    <a:lnTo>
                      <a:pt x="363" y="2089"/>
                    </a:lnTo>
                    <a:lnTo>
                      <a:pt x="363" y="2085"/>
                    </a:lnTo>
                    <a:lnTo>
                      <a:pt x="362" y="2082"/>
                    </a:lnTo>
                    <a:lnTo>
                      <a:pt x="358" y="2077"/>
                    </a:lnTo>
                    <a:lnTo>
                      <a:pt x="353" y="2074"/>
                    </a:lnTo>
                    <a:lnTo>
                      <a:pt x="345" y="2070"/>
                    </a:lnTo>
                    <a:lnTo>
                      <a:pt x="326" y="2062"/>
                    </a:lnTo>
                    <a:lnTo>
                      <a:pt x="311" y="2054"/>
                    </a:lnTo>
                    <a:lnTo>
                      <a:pt x="304" y="2050"/>
                    </a:lnTo>
                    <a:lnTo>
                      <a:pt x="299" y="2046"/>
                    </a:lnTo>
                    <a:lnTo>
                      <a:pt x="294" y="2043"/>
                    </a:lnTo>
                    <a:lnTo>
                      <a:pt x="291" y="2040"/>
                    </a:lnTo>
                    <a:lnTo>
                      <a:pt x="289" y="2035"/>
                    </a:lnTo>
                    <a:lnTo>
                      <a:pt x="287" y="2032"/>
                    </a:lnTo>
                    <a:lnTo>
                      <a:pt x="286" y="2029"/>
                    </a:lnTo>
                    <a:lnTo>
                      <a:pt x="286" y="2025"/>
                    </a:lnTo>
                    <a:lnTo>
                      <a:pt x="288" y="2018"/>
                    </a:lnTo>
                    <a:lnTo>
                      <a:pt x="292" y="2011"/>
                    </a:lnTo>
                    <a:lnTo>
                      <a:pt x="298" y="2003"/>
                    </a:lnTo>
                    <a:lnTo>
                      <a:pt x="305" y="1995"/>
                    </a:lnTo>
                    <a:lnTo>
                      <a:pt x="315" y="1987"/>
                    </a:lnTo>
                    <a:lnTo>
                      <a:pt x="325" y="1978"/>
                    </a:lnTo>
                    <a:lnTo>
                      <a:pt x="336" y="1968"/>
                    </a:lnTo>
                    <a:lnTo>
                      <a:pt x="346" y="1959"/>
                    </a:lnTo>
                    <a:lnTo>
                      <a:pt x="357" y="1948"/>
                    </a:lnTo>
                    <a:lnTo>
                      <a:pt x="367" y="1936"/>
                    </a:lnTo>
                    <a:lnTo>
                      <a:pt x="394" y="1900"/>
                    </a:lnTo>
                    <a:lnTo>
                      <a:pt x="424" y="1858"/>
                    </a:lnTo>
                    <a:lnTo>
                      <a:pt x="441" y="1837"/>
                    </a:lnTo>
                    <a:lnTo>
                      <a:pt x="457" y="1815"/>
                    </a:lnTo>
                    <a:lnTo>
                      <a:pt x="474" y="1793"/>
                    </a:lnTo>
                    <a:lnTo>
                      <a:pt x="492" y="1774"/>
                    </a:lnTo>
                    <a:lnTo>
                      <a:pt x="509" y="1756"/>
                    </a:lnTo>
                    <a:lnTo>
                      <a:pt x="527" y="1741"/>
                    </a:lnTo>
                    <a:lnTo>
                      <a:pt x="536" y="1734"/>
                    </a:lnTo>
                    <a:lnTo>
                      <a:pt x="546" y="1728"/>
                    </a:lnTo>
                    <a:lnTo>
                      <a:pt x="554" y="1723"/>
                    </a:lnTo>
                    <a:lnTo>
                      <a:pt x="564" y="1719"/>
                    </a:lnTo>
                    <a:lnTo>
                      <a:pt x="573" y="1717"/>
                    </a:lnTo>
                    <a:lnTo>
                      <a:pt x="583" y="1715"/>
                    </a:lnTo>
                    <a:lnTo>
                      <a:pt x="592" y="1715"/>
                    </a:lnTo>
                    <a:lnTo>
                      <a:pt x="601" y="1716"/>
                    </a:lnTo>
                    <a:lnTo>
                      <a:pt x="611" y="1718"/>
                    </a:lnTo>
                    <a:lnTo>
                      <a:pt x="619" y="1721"/>
                    </a:lnTo>
                    <a:lnTo>
                      <a:pt x="629" y="1726"/>
                    </a:lnTo>
                    <a:lnTo>
                      <a:pt x="639" y="1733"/>
                    </a:lnTo>
                    <a:lnTo>
                      <a:pt x="672" y="1759"/>
                    </a:lnTo>
                    <a:lnTo>
                      <a:pt x="698" y="1777"/>
                    </a:lnTo>
                    <a:lnTo>
                      <a:pt x="709" y="1784"/>
                    </a:lnTo>
                    <a:lnTo>
                      <a:pt x="720" y="1790"/>
                    </a:lnTo>
                    <a:lnTo>
                      <a:pt x="731" y="1795"/>
                    </a:lnTo>
                    <a:lnTo>
                      <a:pt x="741" y="1799"/>
                    </a:lnTo>
                    <a:lnTo>
                      <a:pt x="764" y="1805"/>
                    </a:lnTo>
                    <a:lnTo>
                      <a:pt x="791" y="1811"/>
                    </a:lnTo>
                    <a:lnTo>
                      <a:pt x="824" y="1818"/>
                    </a:lnTo>
                    <a:lnTo>
                      <a:pt x="868" y="1828"/>
                    </a:lnTo>
                    <a:lnTo>
                      <a:pt x="886" y="1830"/>
                    </a:lnTo>
                    <a:lnTo>
                      <a:pt x="911" y="1832"/>
                    </a:lnTo>
                    <a:lnTo>
                      <a:pt x="938" y="1833"/>
                    </a:lnTo>
                    <a:lnTo>
                      <a:pt x="967" y="1838"/>
                    </a:lnTo>
                    <a:lnTo>
                      <a:pt x="980" y="1840"/>
                    </a:lnTo>
                    <a:lnTo>
                      <a:pt x="992" y="1843"/>
                    </a:lnTo>
                    <a:lnTo>
                      <a:pt x="1003" y="1847"/>
                    </a:lnTo>
                    <a:lnTo>
                      <a:pt x="1012" y="1853"/>
                    </a:lnTo>
                    <a:lnTo>
                      <a:pt x="1016" y="1855"/>
                    </a:lnTo>
                    <a:lnTo>
                      <a:pt x="1019" y="1858"/>
                    </a:lnTo>
                    <a:lnTo>
                      <a:pt x="1022" y="1863"/>
                    </a:lnTo>
                    <a:lnTo>
                      <a:pt x="1023" y="1866"/>
                    </a:lnTo>
                    <a:lnTo>
                      <a:pt x="1024" y="1870"/>
                    </a:lnTo>
                    <a:lnTo>
                      <a:pt x="1024" y="1876"/>
                    </a:lnTo>
                    <a:lnTo>
                      <a:pt x="1023" y="1880"/>
                    </a:lnTo>
                    <a:lnTo>
                      <a:pt x="1022" y="1885"/>
                    </a:lnTo>
                    <a:lnTo>
                      <a:pt x="1018" y="1894"/>
                    </a:lnTo>
                    <a:lnTo>
                      <a:pt x="1014" y="1901"/>
                    </a:lnTo>
                    <a:lnTo>
                      <a:pt x="1009" y="1910"/>
                    </a:lnTo>
                    <a:lnTo>
                      <a:pt x="1003" y="1918"/>
                    </a:lnTo>
                    <a:lnTo>
                      <a:pt x="991" y="1932"/>
                    </a:lnTo>
                    <a:lnTo>
                      <a:pt x="977" y="1946"/>
                    </a:lnTo>
                    <a:lnTo>
                      <a:pt x="962" y="1959"/>
                    </a:lnTo>
                    <a:lnTo>
                      <a:pt x="946" y="1972"/>
                    </a:lnTo>
                    <a:lnTo>
                      <a:pt x="928" y="1985"/>
                    </a:lnTo>
                    <a:lnTo>
                      <a:pt x="911" y="1998"/>
                    </a:lnTo>
                    <a:lnTo>
                      <a:pt x="895" y="2009"/>
                    </a:lnTo>
                    <a:lnTo>
                      <a:pt x="877" y="2022"/>
                    </a:lnTo>
                    <a:lnTo>
                      <a:pt x="862" y="2035"/>
                    </a:lnTo>
                    <a:lnTo>
                      <a:pt x="847" y="2049"/>
                    </a:lnTo>
                    <a:lnTo>
                      <a:pt x="834" y="2063"/>
                    </a:lnTo>
                    <a:lnTo>
                      <a:pt x="822" y="2077"/>
                    </a:lnTo>
                    <a:lnTo>
                      <a:pt x="818" y="2085"/>
                    </a:lnTo>
                    <a:lnTo>
                      <a:pt x="813" y="2094"/>
                    </a:lnTo>
                    <a:lnTo>
                      <a:pt x="810" y="2101"/>
                    </a:lnTo>
                    <a:lnTo>
                      <a:pt x="807" y="2110"/>
                    </a:lnTo>
                    <a:lnTo>
                      <a:pt x="806" y="2116"/>
                    </a:lnTo>
                    <a:lnTo>
                      <a:pt x="806" y="2123"/>
                    </a:lnTo>
                    <a:lnTo>
                      <a:pt x="807" y="2129"/>
                    </a:lnTo>
                    <a:lnTo>
                      <a:pt x="809" y="2136"/>
                    </a:lnTo>
                    <a:lnTo>
                      <a:pt x="812" y="2141"/>
                    </a:lnTo>
                    <a:lnTo>
                      <a:pt x="817" y="2147"/>
                    </a:lnTo>
                    <a:lnTo>
                      <a:pt x="822" y="2152"/>
                    </a:lnTo>
                    <a:lnTo>
                      <a:pt x="829" y="2157"/>
                    </a:lnTo>
                    <a:lnTo>
                      <a:pt x="843" y="2167"/>
                    </a:lnTo>
                    <a:lnTo>
                      <a:pt x="860" y="2177"/>
                    </a:lnTo>
                    <a:lnTo>
                      <a:pt x="880" y="2187"/>
                    </a:lnTo>
                    <a:lnTo>
                      <a:pt x="900" y="2195"/>
                    </a:lnTo>
                    <a:lnTo>
                      <a:pt x="923" y="2205"/>
                    </a:lnTo>
                    <a:lnTo>
                      <a:pt x="945" y="2215"/>
                    </a:lnTo>
                    <a:lnTo>
                      <a:pt x="966" y="2224"/>
                    </a:lnTo>
                    <a:lnTo>
                      <a:pt x="987" y="2235"/>
                    </a:lnTo>
                    <a:lnTo>
                      <a:pt x="1006" y="2247"/>
                    </a:lnTo>
                    <a:lnTo>
                      <a:pt x="1025" y="2260"/>
                    </a:lnTo>
                    <a:lnTo>
                      <a:pt x="1032" y="2266"/>
                    </a:lnTo>
                    <a:lnTo>
                      <a:pt x="1040" y="2274"/>
                    </a:lnTo>
                    <a:lnTo>
                      <a:pt x="1046" y="2282"/>
                    </a:lnTo>
                    <a:lnTo>
                      <a:pt x="1052" y="2289"/>
                    </a:lnTo>
                    <a:lnTo>
                      <a:pt x="1207" y="2524"/>
                    </a:lnTo>
                    <a:lnTo>
                      <a:pt x="1205" y="2528"/>
                    </a:lnTo>
                    <a:lnTo>
                      <a:pt x="1205" y="2531"/>
                    </a:lnTo>
                    <a:lnTo>
                      <a:pt x="1198" y="2532"/>
                    </a:lnTo>
                    <a:lnTo>
                      <a:pt x="1192" y="2533"/>
                    </a:lnTo>
                    <a:lnTo>
                      <a:pt x="1184" y="2533"/>
                    </a:lnTo>
                    <a:lnTo>
                      <a:pt x="1175" y="2532"/>
                    </a:lnTo>
                    <a:lnTo>
                      <a:pt x="1158" y="2528"/>
                    </a:lnTo>
                    <a:lnTo>
                      <a:pt x="1140" y="2524"/>
                    </a:lnTo>
                    <a:lnTo>
                      <a:pt x="1122" y="2519"/>
                    </a:lnTo>
                    <a:lnTo>
                      <a:pt x="1107" y="2517"/>
                    </a:lnTo>
                    <a:lnTo>
                      <a:pt x="1101" y="2516"/>
                    </a:lnTo>
                    <a:lnTo>
                      <a:pt x="1094" y="2517"/>
                    </a:lnTo>
                    <a:lnTo>
                      <a:pt x="1090" y="2518"/>
                    </a:lnTo>
                    <a:lnTo>
                      <a:pt x="1085" y="2520"/>
                    </a:lnTo>
                    <a:lnTo>
                      <a:pt x="1081" y="2525"/>
                    </a:lnTo>
                    <a:lnTo>
                      <a:pt x="1077" y="2530"/>
                    </a:lnTo>
                    <a:lnTo>
                      <a:pt x="1074" y="2535"/>
                    </a:lnTo>
                    <a:lnTo>
                      <a:pt x="1071" y="2540"/>
                    </a:lnTo>
                    <a:lnTo>
                      <a:pt x="1069" y="2548"/>
                    </a:lnTo>
                    <a:lnTo>
                      <a:pt x="1066" y="2556"/>
                    </a:lnTo>
                    <a:lnTo>
                      <a:pt x="1064" y="2559"/>
                    </a:lnTo>
                    <a:lnTo>
                      <a:pt x="1061" y="2562"/>
                    </a:lnTo>
                    <a:lnTo>
                      <a:pt x="1056" y="2565"/>
                    </a:lnTo>
                    <a:lnTo>
                      <a:pt x="1052" y="2567"/>
                    </a:lnTo>
                    <a:lnTo>
                      <a:pt x="1044" y="2569"/>
                    </a:lnTo>
                    <a:lnTo>
                      <a:pt x="1036" y="2570"/>
                    </a:lnTo>
                    <a:lnTo>
                      <a:pt x="1025" y="2570"/>
                    </a:lnTo>
                    <a:lnTo>
                      <a:pt x="1012" y="2571"/>
                    </a:lnTo>
                    <a:lnTo>
                      <a:pt x="992" y="2571"/>
                    </a:lnTo>
                    <a:lnTo>
                      <a:pt x="973" y="2574"/>
                    </a:lnTo>
                    <a:lnTo>
                      <a:pt x="953" y="2578"/>
                    </a:lnTo>
                    <a:lnTo>
                      <a:pt x="935" y="2582"/>
                    </a:lnTo>
                    <a:lnTo>
                      <a:pt x="899" y="2594"/>
                    </a:lnTo>
                    <a:lnTo>
                      <a:pt x="864" y="2607"/>
                    </a:lnTo>
                    <a:lnTo>
                      <a:pt x="830" y="2621"/>
                    </a:lnTo>
                    <a:lnTo>
                      <a:pt x="794" y="2632"/>
                    </a:lnTo>
                    <a:lnTo>
                      <a:pt x="776" y="2637"/>
                    </a:lnTo>
                    <a:lnTo>
                      <a:pt x="757" y="2640"/>
                    </a:lnTo>
                    <a:lnTo>
                      <a:pt x="738" y="2642"/>
                    </a:lnTo>
                    <a:lnTo>
                      <a:pt x="718" y="2643"/>
                    </a:lnTo>
                    <a:lnTo>
                      <a:pt x="692" y="2642"/>
                    </a:lnTo>
                    <a:lnTo>
                      <a:pt x="668" y="2639"/>
                    </a:lnTo>
                    <a:lnTo>
                      <a:pt x="644" y="2635"/>
                    </a:lnTo>
                    <a:lnTo>
                      <a:pt x="623" y="2630"/>
                    </a:lnTo>
                    <a:lnTo>
                      <a:pt x="601" y="2625"/>
                    </a:lnTo>
                    <a:lnTo>
                      <a:pt x="580" y="2620"/>
                    </a:lnTo>
                    <a:lnTo>
                      <a:pt x="561" y="2616"/>
                    </a:lnTo>
                    <a:lnTo>
                      <a:pt x="543" y="2613"/>
                    </a:lnTo>
                    <a:lnTo>
                      <a:pt x="533" y="2613"/>
                    </a:lnTo>
                    <a:lnTo>
                      <a:pt x="524" y="2613"/>
                    </a:lnTo>
                    <a:lnTo>
                      <a:pt x="514" y="2614"/>
                    </a:lnTo>
                    <a:lnTo>
                      <a:pt x="506" y="2615"/>
                    </a:lnTo>
                    <a:lnTo>
                      <a:pt x="497" y="2617"/>
                    </a:lnTo>
                    <a:lnTo>
                      <a:pt x="488" y="2621"/>
                    </a:lnTo>
                    <a:lnTo>
                      <a:pt x="480" y="2624"/>
                    </a:lnTo>
                    <a:lnTo>
                      <a:pt x="471" y="2629"/>
                    </a:lnTo>
                    <a:lnTo>
                      <a:pt x="463" y="2636"/>
                    </a:lnTo>
                    <a:lnTo>
                      <a:pt x="455" y="2642"/>
                    </a:lnTo>
                    <a:lnTo>
                      <a:pt x="446" y="2651"/>
                    </a:lnTo>
                    <a:lnTo>
                      <a:pt x="439" y="2661"/>
                    </a:lnTo>
                    <a:lnTo>
                      <a:pt x="430" y="2671"/>
                    </a:lnTo>
                    <a:lnTo>
                      <a:pt x="422" y="2683"/>
                    </a:lnTo>
                    <a:lnTo>
                      <a:pt x="414" y="2697"/>
                    </a:lnTo>
                    <a:lnTo>
                      <a:pt x="406" y="2713"/>
                    </a:lnTo>
                    <a:lnTo>
                      <a:pt x="394" y="2734"/>
                    </a:lnTo>
                    <a:lnTo>
                      <a:pt x="382" y="2755"/>
                    </a:lnTo>
                    <a:lnTo>
                      <a:pt x="369" y="2773"/>
                    </a:lnTo>
                    <a:lnTo>
                      <a:pt x="356" y="2791"/>
                    </a:lnTo>
                    <a:lnTo>
                      <a:pt x="329" y="2824"/>
                    </a:lnTo>
                    <a:lnTo>
                      <a:pt x="302" y="2856"/>
                    </a:lnTo>
                    <a:lnTo>
                      <a:pt x="288" y="2872"/>
                    </a:lnTo>
                    <a:lnTo>
                      <a:pt x="275" y="2889"/>
                    </a:lnTo>
                    <a:lnTo>
                      <a:pt x="262" y="2906"/>
                    </a:lnTo>
                    <a:lnTo>
                      <a:pt x="250" y="2924"/>
                    </a:lnTo>
                    <a:lnTo>
                      <a:pt x="238" y="2944"/>
                    </a:lnTo>
                    <a:lnTo>
                      <a:pt x="227" y="2964"/>
                    </a:lnTo>
                    <a:lnTo>
                      <a:pt x="217" y="2987"/>
                    </a:lnTo>
                    <a:lnTo>
                      <a:pt x="208" y="3012"/>
                    </a:lnTo>
                    <a:lnTo>
                      <a:pt x="135" y="3101"/>
                    </a:lnTo>
                    <a:lnTo>
                      <a:pt x="116" y="3201"/>
                    </a:lnTo>
                    <a:lnTo>
                      <a:pt x="116" y="3201"/>
                    </a:lnTo>
                    <a:lnTo>
                      <a:pt x="186" y="3251"/>
                    </a:lnTo>
                    <a:lnTo>
                      <a:pt x="186" y="3257"/>
                    </a:lnTo>
                    <a:lnTo>
                      <a:pt x="184" y="3262"/>
                    </a:lnTo>
                    <a:lnTo>
                      <a:pt x="183" y="3267"/>
                    </a:lnTo>
                    <a:lnTo>
                      <a:pt x="179" y="3271"/>
                    </a:lnTo>
                    <a:lnTo>
                      <a:pt x="174" y="3280"/>
                    </a:lnTo>
                    <a:lnTo>
                      <a:pt x="169" y="3287"/>
                    </a:lnTo>
                    <a:lnTo>
                      <a:pt x="166" y="3290"/>
                    </a:lnTo>
                    <a:lnTo>
                      <a:pt x="164" y="3295"/>
                    </a:lnTo>
                    <a:lnTo>
                      <a:pt x="162" y="3298"/>
                    </a:lnTo>
                    <a:lnTo>
                      <a:pt x="162" y="3302"/>
                    </a:lnTo>
                    <a:lnTo>
                      <a:pt x="162" y="3307"/>
                    </a:lnTo>
                    <a:lnTo>
                      <a:pt x="163" y="3312"/>
                    </a:lnTo>
                    <a:lnTo>
                      <a:pt x="165" y="3317"/>
                    </a:lnTo>
                    <a:lnTo>
                      <a:pt x="170" y="3324"/>
                    </a:lnTo>
                    <a:lnTo>
                      <a:pt x="184" y="3341"/>
                    </a:lnTo>
                    <a:lnTo>
                      <a:pt x="198" y="3356"/>
                    </a:lnTo>
                    <a:lnTo>
                      <a:pt x="213" y="3371"/>
                    </a:lnTo>
                    <a:lnTo>
                      <a:pt x="228" y="3386"/>
                    </a:lnTo>
                    <a:lnTo>
                      <a:pt x="243" y="3400"/>
                    </a:lnTo>
                    <a:lnTo>
                      <a:pt x="258" y="3417"/>
                    </a:lnTo>
                    <a:lnTo>
                      <a:pt x="273" y="3435"/>
                    </a:lnTo>
                    <a:lnTo>
                      <a:pt x="286" y="3456"/>
                    </a:lnTo>
                    <a:lnTo>
                      <a:pt x="291" y="3463"/>
                    </a:lnTo>
                    <a:lnTo>
                      <a:pt x="294" y="3472"/>
                    </a:lnTo>
                    <a:lnTo>
                      <a:pt x="299" y="3480"/>
                    </a:lnTo>
                    <a:lnTo>
                      <a:pt x="302" y="3489"/>
                    </a:lnTo>
                    <a:lnTo>
                      <a:pt x="306" y="3507"/>
                    </a:lnTo>
                    <a:lnTo>
                      <a:pt x="312" y="3526"/>
                    </a:lnTo>
                    <a:lnTo>
                      <a:pt x="316" y="3544"/>
                    </a:lnTo>
                    <a:lnTo>
                      <a:pt x="321" y="3562"/>
                    </a:lnTo>
                    <a:lnTo>
                      <a:pt x="327" y="3581"/>
                    </a:lnTo>
                    <a:lnTo>
                      <a:pt x="336" y="3597"/>
                    </a:lnTo>
                    <a:lnTo>
                      <a:pt x="343" y="3611"/>
                    </a:lnTo>
                    <a:lnTo>
                      <a:pt x="351" y="3621"/>
                    </a:lnTo>
                    <a:lnTo>
                      <a:pt x="357" y="3626"/>
                    </a:lnTo>
                    <a:lnTo>
                      <a:pt x="365" y="3629"/>
                    </a:lnTo>
                    <a:lnTo>
                      <a:pt x="382" y="3635"/>
                    </a:lnTo>
                    <a:lnTo>
                      <a:pt x="408" y="3645"/>
                    </a:lnTo>
                    <a:lnTo>
                      <a:pt x="414" y="3647"/>
                    </a:lnTo>
                    <a:lnTo>
                      <a:pt x="418" y="3650"/>
                    </a:lnTo>
                    <a:lnTo>
                      <a:pt x="422" y="3654"/>
                    </a:lnTo>
                    <a:lnTo>
                      <a:pt x="426" y="3659"/>
                    </a:lnTo>
                    <a:lnTo>
                      <a:pt x="431" y="3667"/>
                    </a:lnTo>
                    <a:lnTo>
                      <a:pt x="435" y="3677"/>
                    </a:lnTo>
                    <a:lnTo>
                      <a:pt x="440" y="3699"/>
                    </a:lnTo>
                    <a:lnTo>
                      <a:pt x="442" y="3717"/>
                    </a:lnTo>
                    <a:lnTo>
                      <a:pt x="444" y="3726"/>
                    </a:lnTo>
                    <a:lnTo>
                      <a:pt x="447" y="3731"/>
                    </a:lnTo>
                    <a:lnTo>
                      <a:pt x="448" y="3734"/>
                    </a:lnTo>
                    <a:lnTo>
                      <a:pt x="450" y="3735"/>
                    </a:lnTo>
                    <a:lnTo>
                      <a:pt x="453" y="3737"/>
                    </a:lnTo>
                    <a:lnTo>
                      <a:pt x="456" y="3737"/>
                    </a:lnTo>
                    <a:lnTo>
                      <a:pt x="459" y="3737"/>
                    </a:lnTo>
                    <a:lnTo>
                      <a:pt x="463" y="3736"/>
                    </a:lnTo>
                    <a:lnTo>
                      <a:pt x="468" y="3734"/>
                    </a:lnTo>
                    <a:lnTo>
                      <a:pt x="473" y="3732"/>
                    </a:lnTo>
                    <a:lnTo>
                      <a:pt x="486" y="3723"/>
                    </a:lnTo>
                    <a:lnTo>
                      <a:pt x="502" y="3712"/>
                    </a:lnTo>
                    <a:lnTo>
                      <a:pt x="521" y="3697"/>
                    </a:lnTo>
                    <a:lnTo>
                      <a:pt x="536" y="3686"/>
                    </a:lnTo>
                    <a:lnTo>
                      <a:pt x="549" y="3677"/>
                    </a:lnTo>
                    <a:lnTo>
                      <a:pt x="561" y="3670"/>
                    </a:lnTo>
                    <a:lnTo>
                      <a:pt x="570" y="3666"/>
                    </a:lnTo>
                    <a:lnTo>
                      <a:pt x="578" y="3664"/>
                    </a:lnTo>
                    <a:lnTo>
                      <a:pt x="585" y="3664"/>
                    </a:lnTo>
                    <a:lnTo>
                      <a:pt x="591" y="3665"/>
                    </a:lnTo>
                    <a:lnTo>
                      <a:pt x="598" y="3668"/>
                    </a:lnTo>
                    <a:lnTo>
                      <a:pt x="603" y="3673"/>
                    </a:lnTo>
                    <a:lnTo>
                      <a:pt x="611" y="3678"/>
                    </a:lnTo>
                    <a:lnTo>
                      <a:pt x="618" y="3683"/>
                    </a:lnTo>
                    <a:lnTo>
                      <a:pt x="627" y="3690"/>
                    </a:lnTo>
                    <a:lnTo>
                      <a:pt x="637" y="3696"/>
                    </a:lnTo>
                    <a:lnTo>
                      <a:pt x="649" y="3704"/>
                    </a:lnTo>
                    <a:lnTo>
                      <a:pt x="664" y="3710"/>
                    </a:lnTo>
                    <a:lnTo>
                      <a:pt x="664" y="3713"/>
                    </a:lnTo>
                    <a:lnTo>
                      <a:pt x="665" y="3714"/>
                    </a:lnTo>
                    <a:lnTo>
                      <a:pt x="666" y="3715"/>
                    </a:lnTo>
                    <a:lnTo>
                      <a:pt x="669" y="3716"/>
                    </a:lnTo>
                    <a:lnTo>
                      <a:pt x="675" y="3717"/>
                    </a:lnTo>
                    <a:lnTo>
                      <a:pt x="683" y="3718"/>
                    </a:lnTo>
                    <a:lnTo>
                      <a:pt x="699" y="3718"/>
                    </a:lnTo>
                    <a:lnTo>
                      <a:pt x="709" y="3717"/>
                    </a:lnTo>
                    <a:lnTo>
                      <a:pt x="727" y="3713"/>
                    </a:lnTo>
                    <a:lnTo>
                      <a:pt x="753" y="3704"/>
                    </a:lnTo>
                    <a:lnTo>
                      <a:pt x="784" y="3694"/>
                    </a:lnTo>
                    <a:lnTo>
                      <a:pt x="817" y="3685"/>
                    </a:lnTo>
                    <a:lnTo>
                      <a:pt x="834" y="3680"/>
                    </a:lnTo>
                    <a:lnTo>
                      <a:pt x="849" y="3677"/>
                    </a:lnTo>
                    <a:lnTo>
                      <a:pt x="864" y="3675"/>
                    </a:lnTo>
                    <a:lnTo>
                      <a:pt x="878" y="3673"/>
                    </a:lnTo>
                    <a:lnTo>
                      <a:pt x="890" y="3673"/>
                    </a:lnTo>
                    <a:lnTo>
                      <a:pt x="900" y="3673"/>
                    </a:lnTo>
                    <a:lnTo>
                      <a:pt x="904" y="3675"/>
                    </a:lnTo>
                    <a:lnTo>
                      <a:pt x="908" y="3676"/>
                    </a:lnTo>
                    <a:lnTo>
                      <a:pt x="910" y="3678"/>
                    </a:lnTo>
                    <a:lnTo>
                      <a:pt x="912" y="3680"/>
                    </a:lnTo>
                    <a:lnTo>
                      <a:pt x="913" y="3683"/>
                    </a:lnTo>
                    <a:lnTo>
                      <a:pt x="912" y="3687"/>
                    </a:lnTo>
                    <a:lnTo>
                      <a:pt x="911" y="3691"/>
                    </a:lnTo>
                    <a:lnTo>
                      <a:pt x="908" y="3695"/>
                    </a:lnTo>
                    <a:lnTo>
                      <a:pt x="900" y="3705"/>
                    </a:lnTo>
                    <a:lnTo>
                      <a:pt x="891" y="3715"/>
                    </a:lnTo>
                    <a:lnTo>
                      <a:pt x="871" y="3735"/>
                    </a:lnTo>
                    <a:lnTo>
                      <a:pt x="857" y="3749"/>
                    </a:lnTo>
                    <a:lnTo>
                      <a:pt x="851" y="3757"/>
                    </a:lnTo>
                    <a:lnTo>
                      <a:pt x="847" y="3768"/>
                    </a:lnTo>
                    <a:lnTo>
                      <a:pt x="842" y="3778"/>
                    </a:lnTo>
                    <a:lnTo>
                      <a:pt x="837" y="3791"/>
                    </a:lnTo>
                    <a:lnTo>
                      <a:pt x="830" y="3815"/>
                    </a:lnTo>
                    <a:lnTo>
                      <a:pt x="825" y="3836"/>
                    </a:lnTo>
                    <a:lnTo>
                      <a:pt x="828" y="3850"/>
                    </a:lnTo>
                    <a:lnTo>
                      <a:pt x="830" y="3866"/>
                    </a:lnTo>
                    <a:lnTo>
                      <a:pt x="830" y="3883"/>
                    </a:lnTo>
                    <a:lnTo>
                      <a:pt x="831" y="3901"/>
                    </a:lnTo>
                    <a:lnTo>
                      <a:pt x="832" y="3918"/>
                    </a:lnTo>
                    <a:lnTo>
                      <a:pt x="834" y="3933"/>
                    </a:lnTo>
                    <a:lnTo>
                      <a:pt x="835" y="3940"/>
                    </a:lnTo>
                    <a:lnTo>
                      <a:pt x="837" y="3948"/>
                    </a:lnTo>
                    <a:lnTo>
                      <a:pt x="841" y="3955"/>
                    </a:lnTo>
                    <a:lnTo>
                      <a:pt x="844" y="3960"/>
                    </a:lnTo>
                    <a:lnTo>
                      <a:pt x="852" y="3972"/>
                    </a:lnTo>
                    <a:lnTo>
                      <a:pt x="861" y="3983"/>
                    </a:lnTo>
                    <a:lnTo>
                      <a:pt x="871" y="3991"/>
                    </a:lnTo>
                    <a:lnTo>
                      <a:pt x="881" y="3999"/>
                    </a:lnTo>
                    <a:lnTo>
                      <a:pt x="890" y="4006"/>
                    </a:lnTo>
                    <a:lnTo>
                      <a:pt x="902" y="4013"/>
                    </a:lnTo>
                    <a:lnTo>
                      <a:pt x="914" y="4019"/>
                    </a:lnTo>
                    <a:lnTo>
                      <a:pt x="927" y="4026"/>
                    </a:lnTo>
                    <a:lnTo>
                      <a:pt x="938" y="4031"/>
                    </a:lnTo>
                    <a:lnTo>
                      <a:pt x="947" y="4037"/>
                    </a:lnTo>
                    <a:lnTo>
                      <a:pt x="954" y="4042"/>
                    </a:lnTo>
                    <a:lnTo>
                      <a:pt x="961" y="4047"/>
                    </a:lnTo>
                    <a:lnTo>
                      <a:pt x="966" y="4054"/>
                    </a:lnTo>
                    <a:lnTo>
                      <a:pt x="970" y="4059"/>
                    </a:lnTo>
                    <a:lnTo>
                      <a:pt x="972" y="4065"/>
                    </a:lnTo>
                    <a:lnTo>
                      <a:pt x="974" y="4071"/>
                    </a:lnTo>
                    <a:lnTo>
                      <a:pt x="974" y="4077"/>
                    </a:lnTo>
                    <a:lnTo>
                      <a:pt x="972" y="4083"/>
                    </a:lnTo>
                    <a:lnTo>
                      <a:pt x="970" y="4090"/>
                    </a:lnTo>
                    <a:lnTo>
                      <a:pt x="965" y="4095"/>
                    </a:lnTo>
                    <a:lnTo>
                      <a:pt x="961" y="4101"/>
                    </a:lnTo>
                    <a:lnTo>
                      <a:pt x="954" y="4107"/>
                    </a:lnTo>
                    <a:lnTo>
                      <a:pt x="947" y="4112"/>
                    </a:lnTo>
                    <a:lnTo>
                      <a:pt x="937" y="4119"/>
                    </a:lnTo>
                    <a:lnTo>
                      <a:pt x="927" y="4122"/>
                    </a:lnTo>
                    <a:lnTo>
                      <a:pt x="914" y="4124"/>
                    </a:lnTo>
                    <a:lnTo>
                      <a:pt x="898" y="4126"/>
                    </a:lnTo>
                    <a:lnTo>
                      <a:pt x="882" y="4128"/>
                    </a:lnTo>
                    <a:lnTo>
                      <a:pt x="874" y="4131"/>
                    </a:lnTo>
                    <a:lnTo>
                      <a:pt x="867" y="4133"/>
                    </a:lnTo>
                    <a:lnTo>
                      <a:pt x="860" y="4135"/>
                    </a:lnTo>
                    <a:lnTo>
                      <a:pt x="854" y="4138"/>
                    </a:lnTo>
                    <a:lnTo>
                      <a:pt x="848" y="4141"/>
                    </a:lnTo>
                    <a:lnTo>
                      <a:pt x="845" y="4146"/>
                    </a:lnTo>
                    <a:lnTo>
                      <a:pt x="843" y="4151"/>
                    </a:lnTo>
                    <a:lnTo>
                      <a:pt x="842" y="4158"/>
                    </a:lnTo>
                    <a:lnTo>
                      <a:pt x="863" y="4171"/>
                    </a:lnTo>
                    <a:lnTo>
                      <a:pt x="904" y="4196"/>
                    </a:lnTo>
                    <a:lnTo>
                      <a:pt x="946" y="4225"/>
                    </a:lnTo>
                    <a:lnTo>
                      <a:pt x="968" y="4241"/>
                    </a:lnTo>
                    <a:lnTo>
                      <a:pt x="968" y="4241"/>
                    </a:lnTo>
                    <a:lnTo>
                      <a:pt x="1250" y="4175"/>
                    </a:lnTo>
                    <a:lnTo>
                      <a:pt x="1247" y="4166"/>
                    </a:lnTo>
                    <a:lnTo>
                      <a:pt x="1243" y="4159"/>
                    </a:lnTo>
                    <a:lnTo>
                      <a:pt x="1238" y="4151"/>
                    </a:lnTo>
                    <a:lnTo>
                      <a:pt x="1233" y="4142"/>
                    </a:lnTo>
                    <a:lnTo>
                      <a:pt x="1227" y="4135"/>
                    </a:lnTo>
                    <a:lnTo>
                      <a:pt x="1223" y="4127"/>
                    </a:lnTo>
                    <a:lnTo>
                      <a:pt x="1221" y="4121"/>
                    </a:lnTo>
                    <a:lnTo>
                      <a:pt x="1219" y="4114"/>
                    </a:lnTo>
                    <a:lnTo>
                      <a:pt x="1218" y="4095"/>
                    </a:lnTo>
                    <a:lnTo>
                      <a:pt x="1217" y="4081"/>
                    </a:lnTo>
                    <a:lnTo>
                      <a:pt x="1214" y="4070"/>
                    </a:lnTo>
                    <a:lnTo>
                      <a:pt x="1210" y="4060"/>
                    </a:lnTo>
                    <a:lnTo>
                      <a:pt x="1199" y="4040"/>
                    </a:lnTo>
                    <a:lnTo>
                      <a:pt x="1181" y="4011"/>
                    </a:lnTo>
                    <a:lnTo>
                      <a:pt x="1175" y="3998"/>
                    </a:lnTo>
                    <a:lnTo>
                      <a:pt x="1167" y="3976"/>
                    </a:lnTo>
                    <a:lnTo>
                      <a:pt x="1159" y="3947"/>
                    </a:lnTo>
                    <a:lnTo>
                      <a:pt x="1153" y="3916"/>
                    </a:lnTo>
                    <a:lnTo>
                      <a:pt x="1149" y="3899"/>
                    </a:lnTo>
                    <a:lnTo>
                      <a:pt x="1147" y="3884"/>
                    </a:lnTo>
                    <a:lnTo>
                      <a:pt x="1146" y="3870"/>
                    </a:lnTo>
                    <a:lnTo>
                      <a:pt x="1147" y="3856"/>
                    </a:lnTo>
                    <a:lnTo>
                      <a:pt x="1148" y="3845"/>
                    </a:lnTo>
                    <a:lnTo>
                      <a:pt x="1152" y="3836"/>
                    </a:lnTo>
                    <a:lnTo>
                      <a:pt x="1154" y="3831"/>
                    </a:lnTo>
                    <a:lnTo>
                      <a:pt x="1156" y="3828"/>
                    </a:lnTo>
                    <a:lnTo>
                      <a:pt x="1159" y="3825"/>
                    </a:lnTo>
                    <a:lnTo>
                      <a:pt x="1162" y="3824"/>
                    </a:lnTo>
                    <a:lnTo>
                      <a:pt x="1172" y="3821"/>
                    </a:lnTo>
                    <a:lnTo>
                      <a:pt x="1182" y="3818"/>
                    </a:lnTo>
                    <a:lnTo>
                      <a:pt x="1195" y="3817"/>
                    </a:lnTo>
                    <a:lnTo>
                      <a:pt x="1208" y="3816"/>
                    </a:lnTo>
                    <a:lnTo>
                      <a:pt x="1237" y="3816"/>
                    </a:lnTo>
                    <a:lnTo>
                      <a:pt x="1269" y="3816"/>
                    </a:lnTo>
                    <a:lnTo>
                      <a:pt x="1301" y="3817"/>
                    </a:lnTo>
                    <a:lnTo>
                      <a:pt x="1331" y="3818"/>
                    </a:lnTo>
                    <a:lnTo>
                      <a:pt x="1360" y="3818"/>
                    </a:lnTo>
                    <a:lnTo>
                      <a:pt x="1382" y="3817"/>
                    </a:lnTo>
                    <a:lnTo>
                      <a:pt x="1404" y="3814"/>
                    </a:lnTo>
                    <a:lnTo>
                      <a:pt x="1421" y="3811"/>
                    </a:lnTo>
                    <a:lnTo>
                      <a:pt x="1438" y="3807"/>
                    </a:lnTo>
                    <a:lnTo>
                      <a:pt x="1452" y="3801"/>
                    </a:lnTo>
                    <a:lnTo>
                      <a:pt x="1480" y="3789"/>
                    </a:lnTo>
                    <a:lnTo>
                      <a:pt x="1515" y="3776"/>
                    </a:lnTo>
                    <a:lnTo>
                      <a:pt x="1525" y="3773"/>
                    </a:lnTo>
                    <a:lnTo>
                      <a:pt x="1538" y="3770"/>
                    </a:lnTo>
                    <a:lnTo>
                      <a:pt x="1553" y="3768"/>
                    </a:lnTo>
                    <a:lnTo>
                      <a:pt x="1569" y="3767"/>
                    </a:lnTo>
                    <a:lnTo>
                      <a:pt x="1602" y="3764"/>
                    </a:lnTo>
                    <a:lnTo>
                      <a:pt x="1639" y="3763"/>
                    </a:lnTo>
                    <a:lnTo>
                      <a:pt x="1675" y="3763"/>
                    </a:lnTo>
                    <a:lnTo>
                      <a:pt x="1711" y="3764"/>
                    </a:lnTo>
                    <a:lnTo>
                      <a:pt x="1742" y="3766"/>
                    </a:lnTo>
                    <a:lnTo>
                      <a:pt x="1770" y="3766"/>
                    </a:lnTo>
                    <a:lnTo>
                      <a:pt x="1782" y="3766"/>
                    </a:lnTo>
                    <a:lnTo>
                      <a:pt x="1796" y="3768"/>
                    </a:lnTo>
                    <a:lnTo>
                      <a:pt x="1810" y="3770"/>
                    </a:lnTo>
                    <a:lnTo>
                      <a:pt x="1825" y="3774"/>
                    </a:lnTo>
                    <a:lnTo>
                      <a:pt x="1853" y="3782"/>
                    </a:lnTo>
                    <a:lnTo>
                      <a:pt x="1878" y="3788"/>
                    </a:lnTo>
                    <a:lnTo>
                      <a:pt x="1888" y="3791"/>
                    </a:lnTo>
                    <a:lnTo>
                      <a:pt x="1898" y="3793"/>
                    </a:lnTo>
                    <a:lnTo>
                      <a:pt x="1907" y="3793"/>
                    </a:lnTo>
                    <a:lnTo>
                      <a:pt x="1917" y="3793"/>
                    </a:lnTo>
                    <a:lnTo>
                      <a:pt x="1924" y="3791"/>
                    </a:lnTo>
                    <a:lnTo>
                      <a:pt x="1933" y="3789"/>
                    </a:lnTo>
                    <a:lnTo>
                      <a:pt x="1941" y="3787"/>
                    </a:lnTo>
                    <a:lnTo>
                      <a:pt x="1949" y="3785"/>
                    </a:lnTo>
                    <a:lnTo>
                      <a:pt x="1981" y="3772"/>
                    </a:lnTo>
                    <a:lnTo>
                      <a:pt x="2015" y="3759"/>
                    </a:lnTo>
                    <a:lnTo>
                      <a:pt x="2022" y="3758"/>
                    </a:lnTo>
                    <a:lnTo>
                      <a:pt x="2028" y="3757"/>
                    </a:lnTo>
                    <a:lnTo>
                      <a:pt x="2035" y="3757"/>
                    </a:lnTo>
                    <a:lnTo>
                      <a:pt x="2040" y="3758"/>
                    </a:lnTo>
                    <a:lnTo>
                      <a:pt x="2050" y="3761"/>
                    </a:lnTo>
                    <a:lnTo>
                      <a:pt x="2059" y="3764"/>
                    </a:lnTo>
                    <a:lnTo>
                      <a:pt x="2066" y="3768"/>
                    </a:lnTo>
                    <a:lnTo>
                      <a:pt x="2074" y="3770"/>
                    </a:lnTo>
                    <a:lnTo>
                      <a:pt x="2078" y="3771"/>
                    </a:lnTo>
                    <a:lnTo>
                      <a:pt x="2081" y="3771"/>
                    </a:lnTo>
                    <a:lnTo>
                      <a:pt x="2086" y="3771"/>
                    </a:lnTo>
                    <a:lnTo>
                      <a:pt x="2089" y="3770"/>
                    </a:lnTo>
                    <a:lnTo>
                      <a:pt x="2097" y="3768"/>
                    </a:lnTo>
                    <a:lnTo>
                      <a:pt x="2106" y="3766"/>
                    </a:lnTo>
                    <a:lnTo>
                      <a:pt x="2116" y="3766"/>
                    </a:lnTo>
                    <a:lnTo>
                      <a:pt x="2127" y="3766"/>
                    </a:lnTo>
                    <a:lnTo>
                      <a:pt x="2152" y="3769"/>
                    </a:lnTo>
                    <a:lnTo>
                      <a:pt x="2178" y="3773"/>
                    </a:lnTo>
                    <a:lnTo>
                      <a:pt x="2206" y="3780"/>
                    </a:lnTo>
                    <a:lnTo>
                      <a:pt x="2232" y="3786"/>
                    </a:lnTo>
                    <a:lnTo>
                      <a:pt x="2257" y="3791"/>
                    </a:lnTo>
                    <a:lnTo>
                      <a:pt x="2279" y="3796"/>
                    </a:lnTo>
                    <a:lnTo>
                      <a:pt x="2302" y="3802"/>
                    </a:lnTo>
                    <a:lnTo>
                      <a:pt x="2328" y="3809"/>
                    </a:lnTo>
                    <a:lnTo>
                      <a:pt x="2354" y="3817"/>
                    </a:lnTo>
                    <a:lnTo>
                      <a:pt x="2381" y="3826"/>
                    </a:lnTo>
                    <a:lnTo>
                      <a:pt x="2407" y="3832"/>
                    </a:lnTo>
                    <a:lnTo>
                      <a:pt x="2433" y="3838"/>
                    </a:lnTo>
                    <a:lnTo>
                      <a:pt x="2444" y="3839"/>
                    </a:lnTo>
                    <a:lnTo>
                      <a:pt x="2456" y="3840"/>
                    </a:lnTo>
                    <a:lnTo>
                      <a:pt x="2468" y="3840"/>
                    </a:lnTo>
                    <a:lnTo>
                      <a:pt x="2480" y="3839"/>
                    </a:lnTo>
                    <a:lnTo>
                      <a:pt x="2498" y="3837"/>
                    </a:lnTo>
                    <a:lnTo>
                      <a:pt x="2516" y="3836"/>
                    </a:lnTo>
                    <a:lnTo>
                      <a:pt x="2535" y="3836"/>
                    </a:lnTo>
                    <a:lnTo>
                      <a:pt x="2555" y="3838"/>
                    </a:lnTo>
                    <a:lnTo>
                      <a:pt x="2594" y="3843"/>
                    </a:lnTo>
                    <a:lnTo>
                      <a:pt x="2634" y="3850"/>
                    </a:lnTo>
                    <a:lnTo>
                      <a:pt x="2673" y="3855"/>
                    </a:lnTo>
                    <a:lnTo>
                      <a:pt x="2711" y="3859"/>
                    </a:lnTo>
                    <a:lnTo>
                      <a:pt x="2728" y="3859"/>
                    </a:lnTo>
                    <a:lnTo>
                      <a:pt x="2746" y="3858"/>
                    </a:lnTo>
                    <a:lnTo>
                      <a:pt x="2762" y="3856"/>
                    </a:lnTo>
                    <a:lnTo>
                      <a:pt x="2777" y="3852"/>
                    </a:lnTo>
                    <a:lnTo>
                      <a:pt x="2798" y="3844"/>
                    </a:lnTo>
                    <a:lnTo>
                      <a:pt x="2815" y="3838"/>
                    </a:lnTo>
                    <a:lnTo>
                      <a:pt x="2828" y="3831"/>
                    </a:lnTo>
                    <a:lnTo>
                      <a:pt x="2837" y="3826"/>
                    </a:lnTo>
                    <a:lnTo>
                      <a:pt x="2841" y="3823"/>
                    </a:lnTo>
                    <a:lnTo>
                      <a:pt x="2843" y="3821"/>
                    </a:lnTo>
                    <a:lnTo>
                      <a:pt x="2845" y="3817"/>
                    </a:lnTo>
                    <a:lnTo>
                      <a:pt x="2846" y="3815"/>
                    </a:lnTo>
                    <a:lnTo>
                      <a:pt x="2846" y="3812"/>
                    </a:lnTo>
                    <a:lnTo>
                      <a:pt x="2846" y="3810"/>
                    </a:lnTo>
                    <a:lnTo>
                      <a:pt x="2845" y="3807"/>
                    </a:lnTo>
                    <a:lnTo>
                      <a:pt x="2844" y="3803"/>
                    </a:lnTo>
                    <a:lnTo>
                      <a:pt x="2840" y="3798"/>
                    </a:lnTo>
                    <a:lnTo>
                      <a:pt x="2835" y="3791"/>
                    </a:lnTo>
                    <a:lnTo>
                      <a:pt x="2827" y="3784"/>
                    </a:lnTo>
                    <a:lnTo>
                      <a:pt x="2819" y="3776"/>
                    </a:lnTo>
                    <a:lnTo>
                      <a:pt x="2810" y="3768"/>
                    </a:lnTo>
                    <a:lnTo>
                      <a:pt x="2801" y="3758"/>
                    </a:lnTo>
                    <a:lnTo>
                      <a:pt x="2791" y="3747"/>
                    </a:lnTo>
                    <a:lnTo>
                      <a:pt x="2781" y="3735"/>
                    </a:lnTo>
                    <a:lnTo>
                      <a:pt x="2778" y="3731"/>
                    </a:lnTo>
                    <a:lnTo>
                      <a:pt x="2776" y="3727"/>
                    </a:lnTo>
                    <a:lnTo>
                      <a:pt x="2774" y="3720"/>
                    </a:lnTo>
                    <a:lnTo>
                      <a:pt x="2773" y="3715"/>
                    </a:lnTo>
                    <a:lnTo>
                      <a:pt x="2770" y="3700"/>
                    </a:lnTo>
                    <a:lnTo>
                      <a:pt x="2768" y="3683"/>
                    </a:lnTo>
                    <a:lnTo>
                      <a:pt x="2767" y="3666"/>
                    </a:lnTo>
                    <a:lnTo>
                      <a:pt x="2768" y="3647"/>
                    </a:lnTo>
                    <a:lnTo>
                      <a:pt x="2770" y="3627"/>
                    </a:lnTo>
                    <a:lnTo>
                      <a:pt x="2772" y="3608"/>
                    </a:lnTo>
                    <a:lnTo>
                      <a:pt x="2775" y="3588"/>
                    </a:lnTo>
                    <a:lnTo>
                      <a:pt x="2778" y="3569"/>
                    </a:lnTo>
                    <a:lnTo>
                      <a:pt x="2783" y="3551"/>
                    </a:lnTo>
                    <a:lnTo>
                      <a:pt x="2787" y="3533"/>
                    </a:lnTo>
                    <a:lnTo>
                      <a:pt x="2792" y="3518"/>
                    </a:lnTo>
                    <a:lnTo>
                      <a:pt x="2798" y="3504"/>
                    </a:lnTo>
                    <a:lnTo>
                      <a:pt x="2803" y="3493"/>
                    </a:lnTo>
                    <a:lnTo>
                      <a:pt x="2809" y="3486"/>
                    </a:lnTo>
                    <a:lnTo>
                      <a:pt x="2811" y="3484"/>
                    </a:lnTo>
                    <a:lnTo>
                      <a:pt x="2814" y="3483"/>
                    </a:lnTo>
                    <a:lnTo>
                      <a:pt x="2817" y="3481"/>
                    </a:lnTo>
                    <a:lnTo>
                      <a:pt x="2820" y="3481"/>
                    </a:lnTo>
                    <a:lnTo>
                      <a:pt x="2830" y="3481"/>
                    </a:lnTo>
                    <a:lnTo>
                      <a:pt x="2840" y="3481"/>
                    </a:lnTo>
                    <a:lnTo>
                      <a:pt x="2850" y="3483"/>
                    </a:lnTo>
                    <a:lnTo>
                      <a:pt x="2859" y="3483"/>
                    </a:lnTo>
                    <a:lnTo>
                      <a:pt x="2868" y="3483"/>
                    </a:lnTo>
                    <a:lnTo>
                      <a:pt x="2876" y="3480"/>
                    </a:lnTo>
                    <a:lnTo>
                      <a:pt x="2883" y="3476"/>
                    </a:lnTo>
                    <a:lnTo>
                      <a:pt x="2890" y="3472"/>
                    </a:lnTo>
                    <a:lnTo>
                      <a:pt x="2897" y="3465"/>
                    </a:lnTo>
                    <a:lnTo>
                      <a:pt x="2906" y="3459"/>
                    </a:lnTo>
                    <a:lnTo>
                      <a:pt x="2921" y="3444"/>
                    </a:lnTo>
                    <a:lnTo>
                      <a:pt x="2938" y="3426"/>
                    </a:lnTo>
                    <a:lnTo>
                      <a:pt x="2968" y="3391"/>
                    </a:lnTo>
                    <a:lnTo>
                      <a:pt x="2995" y="3359"/>
                    </a:lnTo>
                    <a:lnTo>
                      <a:pt x="2760" y="3173"/>
                    </a:lnTo>
                    <a:lnTo>
                      <a:pt x="2627" y="3113"/>
                    </a:lnTo>
                    <a:lnTo>
                      <a:pt x="2476" y="2856"/>
                    </a:lnTo>
                    <a:lnTo>
                      <a:pt x="2489" y="2859"/>
                    </a:lnTo>
                    <a:lnTo>
                      <a:pt x="2500" y="2862"/>
                    </a:lnTo>
                    <a:lnTo>
                      <a:pt x="2511" y="2860"/>
                    </a:lnTo>
                    <a:lnTo>
                      <a:pt x="2519" y="2858"/>
                    </a:lnTo>
                    <a:lnTo>
                      <a:pt x="2527" y="2854"/>
                    </a:lnTo>
                    <a:lnTo>
                      <a:pt x="2532" y="2848"/>
                    </a:lnTo>
                    <a:lnTo>
                      <a:pt x="2538" y="2841"/>
                    </a:lnTo>
                    <a:lnTo>
                      <a:pt x="2542" y="2832"/>
                    </a:lnTo>
                    <a:lnTo>
                      <a:pt x="2546" y="2824"/>
                    </a:lnTo>
                    <a:lnTo>
                      <a:pt x="2548" y="2814"/>
                    </a:lnTo>
                    <a:lnTo>
                      <a:pt x="2551" y="2803"/>
                    </a:lnTo>
                    <a:lnTo>
                      <a:pt x="2552" y="2792"/>
                    </a:lnTo>
                    <a:lnTo>
                      <a:pt x="2554" y="2771"/>
                    </a:lnTo>
                    <a:lnTo>
                      <a:pt x="2554" y="2751"/>
                    </a:lnTo>
                    <a:lnTo>
                      <a:pt x="2553" y="2746"/>
                    </a:lnTo>
                    <a:lnTo>
                      <a:pt x="2551" y="2741"/>
                    </a:lnTo>
                    <a:lnTo>
                      <a:pt x="2547" y="2735"/>
                    </a:lnTo>
                    <a:lnTo>
                      <a:pt x="2542" y="2731"/>
                    </a:lnTo>
                    <a:lnTo>
                      <a:pt x="2529" y="2720"/>
                    </a:lnTo>
                    <a:lnTo>
                      <a:pt x="2514" y="2711"/>
                    </a:lnTo>
                    <a:lnTo>
                      <a:pt x="2498" y="2702"/>
                    </a:lnTo>
                    <a:lnTo>
                      <a:pt x="2482" y="2694"/>
                    </a:lnTo>
                    <a:lnTo>
                      <a:pt x="2469" y="2686"/>
                    </a:lnTo>
                    <a:lnTo>
                      <a:pt x="2460" y="2679"/>
                    </a:lnTo>
                    <a:lnTo>
                      <a:pt x="2455" y="2674"/>
                    </a:lnTo>
                    <a:lnTo>
                      <a:pt x="2452" y="2668"/>
                    </a:lnTo>
                    <a:lnTo>
                      <a:pt x="2449" y="2663"/>
                    </a:lnTo>
                    <a:lnTo>
                      <a:pt x="2447" y="2655"/>
                    </a:lnTo>
                    <a:lnTo>
                      <a:pt x="2443" y="2641"/>
                    </a:lnTo>
                    <a:lnTo>
                      <a:pt x="2440" y="2625"/>
                    </a:lnTo>
                    <a:lnTo>
                      <a:pt x="2438" y="2610"/>
                    </a:lnTo>
                    <a:lnTo>
                      <a:pt x="2435" y="2594"/>
                    </a:lnTo>
                    <a:lnTo>
                      <a:pt x="2433" y="2587"/>
                    </a:lnTo>
                    <a:lnTo>
                      <a:pt x="2430" y="2580"/>
                    </a:lnTo>
                    <a:lnTo>
                      <a:pt x="2427" y="2573"/>
                    </a:lnTo>
                    <a:lnTo>
                      <a:pt x="2424" y="2568"/>
                    </a:lnTo>
                    <a:lnTo>
                      <a:pt x="2413" y="2554"/>
                    </a:lnTo>
                    <a:lnTo>
                      <a:pt x="2403" y="2542"/>
                    </a:lnTo>
                    <a:lnTo>
                      <a:pt x="2395" y="2532"/>
                    </a:lnTo>
                    <a:lnTo>
                      <a:pt x="2386" y="2524"/>
                    </a:lnTo>
                    <a:lnTo>
                      <a:pt x="2372" y="2509"/>
                    </a:lnTo>
                    <a:lnTo>
                      <a:pt x="2362" y="2497"/>
                    </a:lnTo>
                    <a:lnTo>
                      <a:pt x="2358" y="2490"/>
                    </a:lnTo>
                    <a:lnTo>
                      <a:pt x="2356" y="2482"/>
                    </a:lnTo>
                    <a:lnTo>
                      <a:pt x="2353" y="2475"/>
                    </a:lnTo>
                    <a:lnTo>
                      <a:pt x="2352" y="2464"/>
                    </a:lnTo>
                    <a:lnTo>
                      <a:pt x="2353" y="2452"/>
                    </a:lnTo>
                    <a:lnTo>
                      <a:pt x="2354" y="2438"/>
                    </a:lnTo>
                    <a:lnTo>
                      <a:pt x="2357" y="2421"/>
                    </a:lnTo>
                    <a:lnTo>
                      <a:pt x="2360" y="2401"/>
                    </a:lnTo>
                    <a:lnTo>
                      <a:pt x="2362" y="2392"/>
                    </a:lnTo>
                    <a:lnTo>
                      <a:pt x="2365" y="2383"/>
                    </a:lnTo>
                    <a:lnTo>
                      <a:pt x="2369" y="2374"/>
                    </a:lnTo>
                    <a:lnTo>
                      <a:pt x="2372" y="2366"/>
                    </a:lnTo>
                    <a:lnTo>
                      <a:pt x="2381" y="2351"/>
                    </a:lnTo>
                    <a:lnTo>
                      <a:pt x="2389" y="2337"/>
                    </a:lnTo>
                    <a:lnTo>
                      <a:pt x="2394" y="2329"/>
                    </a:lnTo>
                    <a:lnTo>
                      <a:pt x="2397" y="2322"/>
                    </a:lnTo>
                    <a:lnTo>
                      <a:pt x="2400" y="2314"/>
                    </a:lnTo>
                    <a:lnTo>
                      <a:pt x="2403" y="2305"/>
                    </a:lnTo>
                    <a:lnTo>
                      <a:pt x="2404" y="2298"/>
                    </a:lnTo>
                    <a:lnTo>
                      <a:pt x="2405" y="2289"/>
                    </a:lnTo>
                    <a:lnTo>
                      <a:pt x="2405" y="2279"/>
                    </a:lnTo>
                    <a:lnTo>
                      <a:pt x="2403" y="2270"/>
                    </a:lnTo>
                    <a:lnTo>
                      <a:pt x="2403" y="2263"/>
                    </a:lnTo>
                    <a:lnTo>
                      <a:pt x="2403" y="2258"/>
                    </a:lnTo>
                    <a:lnTo>
                      <a:pt x="2405" y="2254"/>
                    </a:lnTo>
                    <a:lnTo>
                      <a:pt x="2408" y="2249"/>
                    </a:lnTo>
                    <a:lnTo>
                      <a:pt x="2415" y="2242"/>
                    </a:lnTo>
                    <a:lnTo>
                      <a:pt x="2423" y="2235"/>
                    </a:lnTo>
                    <a:lnTo>
                      <a:pt x="2430" y="2229"/>
                    </a:lnTo>
                    <a:lnTo>
                      <a:pt x="2436" y="2221"/>
                    </a:lnTo>
                    <a:lnTo>
                      <a:pt x="2437" y="2218"/>
                    </a:lnTo>
                    <a:lnTo>
                      <a:pt x="2437" y="2212"/>
                    </a:lnTo>
                    <a:lnTo>
                      <a:pt x="2436" y="2208"/>
                    </a:lnTo>
                    <a:lnTo>
                      <a:pt x="2434" y="2202"/>
                    </a:lnTo>
                    <a:lnTo>
                      <a:pt x="2428" y="2193"/>
                    </a:lnTo>
                    <a:lnTo>
                      <a:pt x="2424" y="2185"/>
                    </a:lnTo>
                    <a:lnTo>
                      <a:pt x="2422" y="2179"/>
                    </a:lnTo>
                    <a:lnTo>
                      <a:pt x="2421" y="2173"/>
                    </a:lnTo>
                    <a:lnTo>
                      <a:pt x="2421" y="2160"/>
                    </a:lnTo>
                    <a:lnTo>
                      <a:pt x="2422" y="2140"/>
                    </a:lnTo>
                    <a:lnTo>
                      <a:pt x="2421" y="2131"/>
                    </a:lnTo>
                    <a:lnTo>
                      <a:pt x="2416" y="2121"/>
                    </a:lnTo>
                    <a:lnTo>
                      <a:pt x="2411" y="2108"/>
                    </a:lnTo>
                    <a:lnTo>
                      <a:pt x="2404" y="2095"/>
                    </a:lnTo>
                    <a:lnTo>
                      <a:pt x="2398" y="2081"/>
                    </a:lnTo>
                    <a:lnTo>
                      <a:pt x="2392" y="2068"/>
                    </a:lnTo>
                    <a:lnTo>
                      <a:pt x="2387" y="2054"/>
                    </a:lnTo>
                    <a:lnTo>
                      <a:pt x="2385" y="2042"/>
                    </a:lnTo>
                    <a:lnTo>
                      <a:pt x="2384" y="2040"/>
                    </a:lnTo>
                    <a:lnTo>
                      <a:pt x="2383" y="2038"/>
                    </a:lnTo>
                    <a:lnTo>
                      <a:pt x="2381" y="2036"/>
                    </a:lnTo>
                    <a:lnTo>
                      <a:pt x="2378" y="2036"/>
                    </a:lnTo>
                    <a:lnTo>
                      <a:pt x="2373" y="2036"/>
                    </a:lnTo>
                    <a:lnTo>
                      <a:pt x="2367" y="2038"/>
                    </a:lnTo>
                    <a:lnTo>
                      <a:pt x="2356" y="2041"/>
                    </a:lnTo>
                    <a:lnTo>
                      <a:pt x="2347" y="2043"/>
                    </a:lnTo>
                    <a:lnTo>
                      <a:pt x="2336" y="2043"/>
                    </a:lnTo>
                    <a:lnTo>
                      <a:pt x="2326" y="2041"/>
                    </a:lnTo>
                    <a:lnTo>
                      <a:pt x="2318" y="2039"/>
                    </a:lnTo>
                    <a:lnTo>
                      <a:pt x="2310" y="2034"/>
                    </a:lnTo>
                    <a:lnTo>
                      <a:pt x="2296" y="2022"/>
                    </a:lnTo>
                    <a:lnTo>
                      <a:pt x="2282" y="2008"/>
                    </a:lnTo>
                    <a:lnTo>
                      <a:pt x="2283" y="1998"/>
                    </a:lnTo>
                    <a:lnTo>
                      <a:pt x="2285" y="1988"/>
                    </a:lnTo>
                    <a:lnTo>
                      <a:pt x="2288" y="1981"/>
                    </a:lnTo>
                    <a:lnTo>
                      <a:pt x="2293" y="1976"/>
                    </a:lnTo>
                    <a:lnTo>
                      <a:pt x="2297" y="1972"/>
                    </a:lnTo>
                    <a:lnTo>
                      <a:pt x="2302" y="1968"/>
                    </a:lnTo>
                    <a:lnTo>
                      <a:pt x="2307" y="1966"/>
                    </a:lnTo>
                    <a:lnTo>
                      <a:pt x="2312" y="1964"/>
                    </a:lnTo>
                    <a:lnTo>
                      <a:pt x="2323" y="1963"/>
                    </a:lnTo>
                    <a:lnTo>
                      <a:pt x="2333" y="1961"/>
                    </a:lnTo>
                    <a:lnTo>
                      <a:pt x="2337" y="1959"/>
                    </a:lnTo>
                    <a:lnTo>
                      <a:pt x="2341" y="1957"/>
                    </a:lnTo>
                    <a:lnTo>
                      <a:pt x="2344" y="1953"/>
                    </a:lnTo>
                    <a:lnTo>
                      <a:pt x="2346" y="1949"/>
                    </a:lnTo>
                    <a:lnTo>
                      <a:pt x="2348" y="1942"/>
                    </a:lnTo>
                    <a:lnTo>
                      <a:pt x="2348" y="1936"/>
                    </a:lnTo>
                    <a:lnTo>
                      <a:pt x="2348" y="1931"/>
                    </a:lnTo>
                    <a:lnTo>
                      <a:pt x="2347" y="1925"/>
                    </a:lnTo>
                    <a:lnTo>
                      <a:pt x="2343" y="1915"/>
                    </a:lnTo>
                    <a:lnTo>
                      <a:pt x="2338" y="1906"/>
                    </a:lnTo>
                    <a:lnTo>
                      <a:pt x="2332" y="1896"/>
                    </a:lnTo>
                    <a:lnTo>
                      <a:pt x="2327" y="1886"/>
                    </a:lnTo>
                    <a:lnTo>
                      <a:pt x="2325" y="1882"/>
                    </a:lnTo>
                    <a:lnTo>
                      <a:pt x="2323" y="1877"/>
                    </a:lnTo>
                    <a:lnTo>
                      <a:pt x="2322" y="1871"/>
                    </a:lnTo>
                    <a:lnTo>
                      <a:pt x="2322" y="1866"/>
                    </a:lnTo>
                    <a:lnTo>
                      <a:pt x="2323" y="1846"/>
                    </a:lnTo>
                    <a:lnTo>
                      <a:pt x="2325" y="1827"/>
                    </a:lnTo>
                    <a:lnTo>
                      <a:pt x="2328" y="1806"/>
                    </a:lnTo>
                    <a:lnTo>
                      <a:pt x="2333" y="1785"/>
                    </a:lnTo>
                    <a:lnTo>
                      <a:pt x="2344" y="1743"/>
                    </a:lnTo>
                    <a:lnTo>
                      <a:pt x="2354" y="1699"/>
                    </a:lnTo>
                    <a:lnTo>
                      <a:pt x="2360" y="1678"/>
                    </a:lnTo>
                    <a:lnTo>
                      <a:pt x="2364" y="1656"/>
                    </a:lnTo>
                    <a:lnTo>
                      <a:pt x="2369" y="1635"/>
                    </a:lnTo>
                    <a:lnTo>
                      <a:pt x="2372" y="1614"/>
                    </a:lnTo>
                    <a:lnTo>
                      <a:pt x="2373" y="1594"/>
                    </a:lnTo>
                    <a:lnTo>
                      <a:pt x="2373" y="1573"/>
                    </a:lnTo>
                    <a:lnTo>
                      <a:pt x="2372" y="1563"/>
                    </a:lnTo>
                    <a:lnTo>
                      <a:pt x="2371" y="1554"/>
                    </a:lnTo>
                    <a:lnTo>
                      <a:pt x="2369" y="1545"/>
                    </a:lnTo>
                    <a:lnTo>
                      <a:pt x="2366" y="1535"/>
                    </a:lnTo>
                    <a:lnTo>
                      <a:pt x="2352" y="1498"/>
                    </a:lnTo>
                    <a:lnTo>
                      <a:pt x="2336" y="1459"/>
                    </a:lnTo>
                    <a:lnTo>
                      <a:pt x="2328" y="1439"/>
                    </a:lnTo>
                    <a:lnTo>
                      <a:pt x="2322" y="1420"/>
                    </a:lnTo>
                    <a:lnTo>
                      <a:pt x="2320" y="1410"/>
                    </a:lnTo>
                    <a:lnTo>
                      <a:pt x="2318" y="1400"/>
                    </a:lnTo>
                    <a:lnTo>
                      <a:pt x="2317" y="1391"/>
                    </a:lnTo>
                    <a:lnTo>
                      <a:pt x="2317" y="1381"/>
                    </a:lnTo>
                    <a:lnTo>
                      <a:pt x="2318" y="1371"/>
                    </a:lnTo>
                    <a:lnTo>
                      <a:pt x="2320" y="1363"/>
                    </a:lnTo>
                    <a:lnTo>
                      <a:pt x="2323" y="1354"/>
                    </a:lnTo>
                    <a:lnTo>
                      <a:pt x="2325" y="1346"/>
                    </a:lnTo>
                    <a:lnTo>
                      <a:pt x="2328" y="1337"/>
                    </a:lnTo>
                    <a:lnTo>
                      <a:pt x="2330" y="1328"/>
                    </a:lnTo>
                    <a:lnTo>
                      <a:pt x="2330" y="1323"/>
                    </a:lnTo>
                    <a:lnTo>
                      <a:pt x="2328" y="1318"/>
                    </a:lnTo>
                    <a:lnTo>
                      <a:pt x="2327" y="1313"/>
                    </a:lnTo>
                    <a:lnTo>
                      <a:pt x="2326" y="1307"/>
                    </a:lnTo>
                    <a:lnTo>
                      <a:pt x="2322" y="1299"/>
                    </a:lnTo>
                    <a:lnTo>
                      <a:pt x="2315" y="1290"/>
                    </a:lnTo>
                    <a:lnTo>
                      <a:pt x="2309" y="1283"/>
                    </a:lnTo>
                    <a:lnTo>
                      <a:pt x="2301" y="1275"/>
                    </a:lnTo>
                    <a:lnTo>
                      <a:pt x="2286" y="1260"/>
                    </a:lnTo>
                    <a:lnTo>
                      <a:pt x="2273" y="1245"/>
                    </a:lnTo>
                    <a:lnTo>
                      <a:pt x="2265" y="1232"/>
                    </a:lnTo>
                    <a:lnTo>
                      <a:pt x="2253" y="1217"/>
                    </a:lnTo>
                    <a:lnTo>
                      <a:pt x="2248" y="1210"/>
                    </a:lnTo>
                    <a:lnTo>
                      <a:pt x="2246" y="1203"/>
                    </a:lnTo>
                    <a:lnTo>
                      <a:pt x="2246" y="1199"/>
                    </a:lnTo>
                    <a:lnTo>
                      <a:pt x="2247" y="1196"/>
                    </a:lnTo>
                    <a:lnTo>
                      <a:pt x="2248" y="1193"/>
                    </a:lnTo>
                    <a:lnTo>
                      <a:pt x="2252" y="1190"/>
                    </a:lnTo>
                    <a:lnTo>
                      <a:pt x="2273" y="1174"/>
                    </a:lnTo>
                    <a:lnTo>
                      <a:pt x="2306" y="1145"/>
                    </a:lnTo>
                    <a:lnTo>
                      <a:pt x="2313" y="1138"/>
                    </a:lnTo>
                    <a:lnTo>
                      <a:pt x="2320" y="1130"/>
                    </a:lnTo>
                    <a:lnTo>
                      <a:pt x="2324" y="1123"/>
                    </a:lnTo>
                    <a:lnTo>
                      <a:pt x="2327" y="1116"/>
                    </a:lnTo>
                    <a:lnTo>
                      <a:pt x="2328" y="1113"/>
                    </a:lnTo>
                    <a:lnTo>
                      <a:pt x="2330" y="1110"/>
                    </a:lnTo>
                    <a:lnTo>
                      <a:pt x="2330" y="1107"/>
                    </a:lnTo>
                    <a:lnTo>
                      <a:pt x="2328" y="1104"/>
                    </a:lnTo>
                    <a:lnTo>
                      <a:pt x="2326" y="1102"/>
                    </a:lnTo>
                    <a:lnTo>
                      <a:pt x="2324" y="1100"/>
                    </a:lnTo>
                    <a:lnTo>
                      <a:pt x="2321" y="1098"/>
                    </a:lnTo>
                    <a:lnTo>
                      <a:pt x="2318" y="1097"/>
                    </a:lnTo>
                    <a:lnTo>
                      <a:pt x="2307" y="1093"/>
                    </a:lnTo>
                    <a:lnTo>
                      <a:pt x="2297" y="1089"/>
                    </a:lnTo>
                    <a:lnTo>
                      <a:pt x="2288" y="1086"/>
                    </a:lnTo>
                    <a:lnTo>
                      <a:pt x="2282" y="1082"/>
                    </a:lnTo>
                    <a:lnTo>
                      <a:pt x="2276" y="1078"/>
                    </a:lnTo>
                    <a:lnTo>
                      <a:pt x="2271" y="1074"/>
                    </a:lnTo>
                    <a:lnTo>
                      <a:pt x="2268" y="1070"/>
                    </a:lnTo>
                    <a:lnTo>
                      <a:pt x="2265" y="1066"/>
                    </a:lnTo>
                    <a:lnTo>
                      <a:pt x="2253" y="1043"/>
                    </a:lnTo>
                    <a:lnTo>
                      <a:pt x="2236" y="1010"/>
                    </a:lnTo>
                    <a:lnTo>
                      <a:pt x="2220" y="990"/>
                    </a:lnTo>
                    <a:lnTo>
                      <a:pt x="2200" y="966"/>
                    </a:lnTo>
                    <a:lnTo>
                      <a:pt x="2196" y="961"/>
                    </a:lnTo>
                    <a:lnTo>
                      <a:pt x="2192" y="955"/>
                    </a:lnTo>
                    <a:lnTo>
                      <a:pt x="2190" y="950"/>
                    </a:lnTo>
                    <a:lnTo>
                      <a:pt x="2189" y="945"/>
                    </a:lnTo>
                    <a:lnTo>
                      <a:pt x="2189" y="940"/>
                    </a:lnTo>
                    <a:lnTo>
                      <a:pt x="2190" y="936"/>
                    </a:lnTo>
                    <a:lnTo>
                      <a:pt x="2193" y="933"/>
                    </a:lnTo>
                    <a:lnTo>
                      <a:pt x="2198" y="929"/>
                    </a:lnTo>
                    <a:lnTo>
                      <a:pt x="2204" y="927"/>
                    </a:lnTo>
                    <a:lnTo>
                      <a:pt x="2207" y="924"/>
                    </a:lnTo>
                    <a:lnTo>
                      <a:pt x="2210" y="921"/>
                    </a:lnTo>
                    <a:lnTo>
                      <a:pt x="2214" y="918"/>
                    </a:lnTo>
                    <a:lnTo>
                      <a:pt x="2217" y="910"/>
                    </a:lnTo>
                    <a:lnTo>
                      <a:pt x="2219" y="901"/>
                    </a:lnTo>
                    <a:lnTo>
                      <a:pt x="2221" y="883"/>
                    </a:lnTo>
                    <a:lnTo>
                      <a:pt x="2224" y="866"/>
                    </a:lnTo>
                    <a:lnTo>
                      <a:pt x="2227" y="859"/>
                    </a:lnTo>
                    <a:lnTo>
                      <a:pt x="2231" y="854"/>
                    </a:lnTo>
                    <a:lnTo>
                      <a:pt x="2236" y="847"/>
                    </a:lnTo>
                    <a:lnTo>
                      <a:pt x="2243" y="842"/>
                    </a:lnTo>
                    <a:lnTo>
                      <a:pt x="2256" y="832"/>
                    </a:lnTo>
                    <a:lnTo>
                      <a:pt x="2268" y="821"/>
                    </a:lnTo>
                    <a:lnTo>
                      <a:pt x="2271" y="816"/>
                    </a:lnTo>
                    <a:lnTo>
                      <a:pt x="2274" y="811"/>
                    </a:lnTo>
                    <a:lnTo>
                      <a:pt x="2275" y="808"/>
                    </a:lnTo>
                    <a:lnTo>
                      <a:pt x="2275" y="805"/>
                    </a:lnTo>
                    <a:lnTo>
                      <a:pt x="2274" y="802"/>
                    </a:lnTo>
                    <a:lnTo>
                      <a:pt x="2273" y="800"/>
                    </a:lnTo>
                    <a:lnTo>
                      <a:pt x="2269" y="793"/>
                    </a:lnTo>
                    <a:lnTo>
                      <a:pt x="2262" y="787"/>
                    </a:lnTo>
                    <a:lnTo>
                      <a:pt x="2252" y="779"/>
                    </a:lnTo>
                    <a:lnTo>
                      <a:pt x="2236" y="772"/>
                    </a:lnTo>
                    <a:lnTo>
                      <a:pt x="2213" y="763"/>
                    </a:lnTo>
                    <a:lnTo>
                      <a:pt x="2185" y="753"/>
                    </a:lnTo>
                    <a:lnTo>
                      <a:pt x="2171" y="749"/>
                    </a:lnTo>
                    <a:lnTo>
                      <a:pt x="2159" y="744"/>
                    </a:lnTo>
                    <a:lnTo>
                      <a:pt x="2148" y="737"/>
                    </a:lnTo>
                    <a:lnTo>
                      <a:pt x="2138" y="730"/>
                    </a:lnTo>
                    <a:lnTo>
                      <a:pt x="2136" y="726"/>
                    </a:lnTo>
                    <a:lnTo>
                      <a:pt x="2133" y="723"/>
                    </a:lnTo>
                    <a:lnTo>
                      <a:pt x="2132" y="720"/>
                    </a:lnTo>
                    <a:lnTo>
                      <a:pt x="2132" y="716"/>
                    </a:lnTo>
                    <a:lnTo>
                      <a:pt x="2132" y="707"/>
                    </a:lnTo>
                    <a:lnTo>
                      <a:pt x="2132" y="698"/>
                    </a:lnTo>
                    <a:lnTo>
                      <a:pt x="2132" y="694"/>
                    </a:lnTo>
                    <a:lnTo>
                      <a:pt x="2132" y="690"/>
                    </a:lnTo>
                    <a:lnTo>
                      <a:pt x="2131" y="685"/>
                    </a:lnTo>
                    <a:lnTo>
                      <a:pt x="2130" y="682"/>
                    </a:lnTo>
                    <a:lnTo>
                      <a:pt x="2128" y="679"/>
                    </a:lnTo>
                    <a:lnTo>
                      <a:pt x="2124" y="676"/>
                    </a:lnTo>
                    <a:lnTo>
                      <a:pt x="2119" y="673"/>
                    </a:lnTo>
                    <a:lnTo>
                      <a:pt x="2114" y="671"/>
                    </a:lnTo>
                    <a:lnTo>
                      <a:pt x="2101" y="668"/>
                    </a:lnTo>
                    <a:lnTo>
                      <a:pt x="2090" y="663"/>
                    </a:lnTo>
                    <a:lnTo>
                      <a:pt x="2082" y="656"/>
                    </a:lnTo>
                    <a:lnTo>
                      <a:pt x="2076" y="650"/>
                    </a:lnTo>
                    <a:lnTo>
                      <a:pt x="2073" y="643"/>
                    </a:lnTo>
                    <a:lnTo>
                      <a:pt x="2069" y="636"/>
                    </a:lnTo>
                    <a:lnTo>
                      <a:pt x="2067" y="628"/>
                    </a:lnTo>
                    <a:lnTo>
                      <a:pt x="2067" y="619"/>
                    </a:lnTo>
                    <a:lnTo>
                      <a:pt x="2067" y="604"/>
                    </a:lnTo>
                    <a:lnTo>
                      <a:pt x="2067" y="591"/>
                    </a:lnTo>
                    <a:lnTo>
                      <a:pt x="2066" y="586"/>
                    </a:lnTo>
                    <a:lnTo>
                      <a:pt x="2064" y="581"/>
                    </a:lnTo>
                    <a:lnTo>
                      <a:pt x="2062" y="577"/>
                    </a:lnTo>
                    <a:lnTo>
                      <a:pt x="2058" y="575"/>
                    </a:lnTo>
                    <a:lnTo>
                      <a:pt x="2053" y="575"/>
                    </a:lnTo>
                    <a:lnTo>
                      <a:pt x="2047" y="576"/>
                    </a:lnTo>
                    <a:lnTo>
                      <a:pt x="2040" y="578"/>
                    </a:lnTo>
                    <a:lnTo>
                      <a:pt x="2034" y="581"/>
                    </a:lnTo>
                    <a:lnTo>
                      <a:pt x="2026" y="584"/>
                    </a:lnTo>
                    <a:lnTo>
                      <a:pt x="2019" y="586"/>
                    </a:lnTo>
                    <a:lnTo>
                      <a:pt x="2012" y="588"/>
                    </a:lnTo>
                    <a:lnTo>
                      <a:pt x="2006" y="589"/>
                    </a:lnTo>
                    <a:lnTo>
                      <a:pt x="1993" y="588"/>
                    </a:lnTo>
                    <a:lnTo>
                      <a:pt x="1980" y="584"/>
                    </a:lnTo>
                    <a:lnTo>
                      <a:pt x="1967" y="578"/>
                    </a:lnTo>
                    <a:lnTo>
                      <a:pt x="1954" y="572"/>
                    </a:lnTo>
                    <a:lnTo>
                      <a:pt x="1941" y="564"/>
                    </a:lnTo>
                    <a:lnTo>
                      <a:pt x="1930" y="556"/>
                    </a:lnTo>
                    <a:lnTo>
                      <a:pt x="1919" y="546"/>
                    </a:lnTo>
                    <a:lnTo>
                      <a:pt x="1911" y="537"/>
                    </a:lnTo>
                    <a:lnTo>
                      <a:pt x="1797" y="374"/>
                    </a:lnTo>
                    <a:lnTo>
                      <a:pt x="1797" y="374"/>
                    </a:lnTo>
                    <a:lnTo>
                      <a:pt x="1775" y="372"/>
                    </a:lnTo>
                    <a:lnTo>
                      <a:pt x="1753" y="371"/>
                    </a:lnTo>
                    <a:lnTo>
                      <a:pt x="1731" y="369"/>
                    </a:lnTo>
                    <a:lnTo>
                      <a:pt x="1713" y="367"/>
                    </a:lnTo>
                    <a:lnTo>
                      <a:pt x="1692" y="358"/>
                    </a:lnTo>
                    <a:lnTo>
                      <a:pt x="1663" y="344"/>
                    </a:lnTo>
                    <a:lnTo>
                      <a:pt x="1648" y="338"/>
                    </a:lnTo>
                    <a:lnTo>
                      <a:pt x="1636" y="332"/>
                    </a:lnTo>
                    <a:lnTo>
                      <a:pt x="1629" y="330"/>
                    </a:lnTo>
                    <a:lnTo>
                      <a:pt x="1625" y="329"/>
                    </a:lnTo>
                    <a:lnTo>
                      <a:pt x="1622" y="329"/>
                    </a:lnTo>
                    <a:lnTo>
                      <a:pt x="1619" y="329"/>
                    </a:lnTo>
                    <a:lnTo>
                      <a:pt x="1610" y="334"/>
                    </a:lnTo>
                    <a:lnTo>
                      <a:pt x="1601" y="341"/>
                    </a:lnTo>
                    <a:lnTo>
                      <a:pt x="1594" y="348"/>
                    </a:lnTo>
                    <a:lnTo>
                      <a:pt x="1585" y="356"/>
                    </a:lnTo>
                    <a:lnTo>
                      <a:pt x="1569" y="373"/>
                    </a:lnTo>
                    <a:lnTo>
                      <a:pt x="1553" y="389"/>
                    </a:lnTo>
                    <a:lnTo>
                      <a:pt x="1544" y="397"/>
                    </a:lnTo>
                    <a:lnTo>
                      <a:pt x="1535" y="403"/>
                    </a:lnTo>
                    <a:lnTo>
                      <a:pt x="1527" y="409"/>
                    </a:lnTo>
                    <a:lnTo>
                      <a:pt x="1518" y="414"/>
                    </a:lnTo>
                    <a:lnTo>
                      <a:pt x="1508" y="418"/>
                    </a:lnTo>
                    <a:lnTo>
                      <a:pt x="1497" y="420"/>
                    </a:lnTo>
                    <a:lnTo>
                      <a:pt x="1486" y="421"/>
                    </a:lnTo>
                    <a:lnTo>
                      <a:pt x="1475" y="420"/>
                    </a:lnTo>
                    <a:lnTo>
                      <a:pt x="1462" y="416"/>
                    </a:lnTo>
                    <a:lnTo>
                      <a:pt x="1449" y="411"/>
                    </a:lnTo>
                    <a:lnTo>
                      <a:pt x="1436" y="406"/>
                    </a:lnTo>
                    <a:lnTo>
                      <a:pt x="1421" y="399"/>
                    </a:lnTo>
                    <a:lnTo>
                      <a:pt x="1394" y="385"/>
                    </a:lnTo>
                    <a:lnTo>
                      <a:pt x="1368" y="372"/>
                    </a:lnTo>
                    <a:lnTo>
                      <a:pt x="1354" y="367"/>
                    </a:lnTo>
                    <a:lnTo>
                      <a:pt x="1341" y="362"/>
                    </a:lnTo>
                    <a:lnTo>
                      <a:pt x="1328" y="359"/>
                    </a:lnTo>
                    <a:lnTo>
                      <a:pt x="1316" y="358"/>
                    </a:lnTo>
                    <a:lnTo>
                      <a:pt x="1310" y="358"/>
                    </a:lnTo>
                    <a:lnTo>
                      <a:pt x="1304" y="359"/>
                    </a:lnTo>
                    <a:lnTo>
                      <a:pt x="1298" y="360"/>
                    </a:lnTo>
                    <a:lnTo>
                      <a:pt x="1292" y="362"/>
                    </a:lnTo>
                    <a:lnTo>
                      <a:pt x="1286" y="365"/>
                    </a:lnTo>
                    <a:lnTo>
                      <a:pt x="1281" y="368"/>
                    </a:lnTo>
                    <a:lnTo>
                      <a:pt x="1275" y="372"/>
                    </a:lnTo>
                    <a:lnTo>
                      <a:pt x="1270" y="376"/>
                    </a:lnTo>
                    <a:lnTo>
                      <a:pt x="1265" y="381"/>
                    </a:lnTo>
                    <a:lnTo>
                      <a:pt x="1259" y="384"/>
                    </a:lnTo>
                    <a:lnTo>
                      <a:pt x="1253" y="385"/>
                    </a:lnTo>
                    <a:lnTo>
                      <a:pt x="1247" y="386"/>
                    </a:lnTo>
                    <a:lnTo>
                      <a:pt x="1240" y="385"/>
                    </a:lnTo>
                    <a:lnTo>
                      <a:pt x="1233" y="384"/>
                    </a:lnTo>
                    <a:lnTo>
                      <a:pt x="1226" y="382"/>
                    </a:lnTo>
                    <a:lnTo>
                      <a:pt x="1219" y="379"/>
                    </a:lnTo>
                    <a:lnTo>
                      <a:pt x="1206" y="371"/>
                    </a:lnTo>
                    <a:lnTo>
                      <a:pt x="1194" y="362"/>
                    </a:lnTo>
                    <a:lnTo>
                      <a:pt x="1188" y="358"/>
                    </a:lnTo>
                    <a:lnTo>
                      <a:pt x="1184" y="353"/>
                    </a:lnTo>
                    <a:lnTo>
                      <a:pt x="1180" y="348"/>
                    </a:lnTo>
                    <a:lnTo>
                      <a:pt x="1177" y="343"/>
                    </a:lnTo>
                    <a:lnTo>
                      <a:pt x="1168" y="327"/>
                    </a:lnTo>
                    <a:lnTo>
                      <a:pt x="1164" y="313"/>
                    </a:lnTo>
                    <a:lnTo>
                      <a:pt x="1162" y="306"/>
                    </a:lnTo>
                    <a:lnTo>
                      <a:pt x="1161" y="301"/>
                    </a:lnTo>
                    <a:lnTo>
                      <a:pt x="1161" y="295"/>
                    </a:lnTo>
                    <a:lnTo>
                      <a:pt x="1161" y="290"/>
                    </a:lnTo>
                    <a:lnTo>
                      <a:pt x="1167" y="266"/>
                    </a:lnTo>
                    <a:lnTo>
                      <a:pt x="1177" y="234"/>
                    </a:lnTo>
                    <a:lnTo>
                      <a:pt x="1175" y="223"/>
                    </a:lnTo>
                    <a:lnTo>
                      <a:pt x="1172" y="210"/>
                    </a:lnTo>
                    <a:lnTo>
                      <a:pt x="1168" y="195"/>
                    </a:lnTo>
                    <a:lnTo>
                      <a:pt x="1162" y="179"/>
                    </a:lnTo>
                    <a:lnTo>
                      <a:pt x="1148" y="143"/>
                    </a:lnTo>
                    <a:lnTo>
                      <a:pt x="1133" y="106"/>
                    </a:lnTo>
                    <a:lnTo>
                      <a:pt x="1126" y="88"/>
                    </a:lnTo>
                    <a:lnTo>
                      <a:pt x="1119" y="71"/>
                    </a:lnTo>
                    <a:lnTo>
                      <a:pt x="1114" y="55"/>
                    </a:lnTo>
                    <a:lnTo>
                      <a:pt x="1109" y="40"/>
                    </a:lnTo>
                    <a:lnTo>
                      <a:pt x="1107" y="25"/>
                    </a:lnTo>
                    <a:lnTo>
                      <a:pt x="1106" y="15"/>
                    </a:lnTo>
                    <a:lnTo>
                      <a:pt x="1106" y="9"/>
                    </a:lnTo>
                    <a:lnTo>
                      <a:pt x="1107" y="6"/>
                    </a:lnTo>
                    <a:lnTo>
                      <a:pt x="1109" y="3"/>
                    </a:lnTo>
                    <a:lnTo>
                      <a:pt x="1111" y="0"/>
                    </a:lnTo>
                    <a:lnTo>
                      <a:pt x="1103" y="0"/>
                    </a:lnTo>
                    <a:lnTo>
                      <a:pt x="1095" y="2"/>
                    </a:lnTo>
                    <a:lnTo>
                      <a:pt x="1089" y="3"/>
                    </a:lnTo>
                    <a:lnTo>
                      <a:pt x="1082" y="6"/>
                    </a:lnTo>
                    <a:lnTo>
                      <a:pt x="1077" y="9"/>
                    </a:lnTo>
                    <a:lnTo>
                      <a:pt x="1072" y="13"/>
                    </a:lnTo>
                    <a:lnTo>
                      <a:pt x="1068" y="17"/>
                    </a:lnTo>
                    <a:lnTo>
                      <a:pt x="1064" y="22"/>
                    </a:lnTo>
                    <a:lnTo>
                      <a:pt x="1051" y="46"/>
                    </a:lnTo>
                    <a:lnTo>
                      <a:pt x="1037" y="75"/>
                    </a:lnTo>
                    <a:lnTo>
                      <a:pt x="1031" y="84"/>
                    </a:lnTo>
                    <a:lnTo>
                      <a:pt x="1025" y="92"/>
                    </a:lnTo>
                    <a:lnTo>
                      <a:pt x="1018" y="101"/>
                    </a:lnTo>
                    <a:lnTo>
                      <a:pt x="1011" y="110"/>
                    </a:lnTo>
                    <a:lnTo>
                      <a:pt x="997" y="125"/>
                    </a:lnTo>
                    <a:lnTo>
                      <a:pt x="981" y="139"/>
                    </a:lnTo>
                    <a:lnTo>
                      <a:pt x="966" y="152"/>
                    </a:lnTo>
                    <a:lnTo>
                      <a:pt x="952" y="166"/>
                    </a:lnTo>
                    <a:lnTo>
                      <a:pt x="947" y="173"/>
                    </a:lnTo>
                    <a:lnTo>
                      <a:pt x="940" y="180"/>
                    </a:lnTo>
                    <a:lnTo>
                      <a:pt x="935" y="187"/>
                    </a:lnTo>
                    <a:lnTo>
                      <a:pt x="931" y="195"/>
                    </a:lnTo>
                    <a:lnTo>
                      <a:pt x="924" y="205"/>
                    </a:lnTo>
                    <a:lnTo>
                      <a:pt x="919" y="212"/>
                    </a:lnTo>
                    <a:lnTo>
                      <a:pt x="912" y="218"/>
                    </a:lnTo>
                    <a:lnTo>
                      <a:pt x="907" y="223"/>
                    </a:lnTo>
                    <a:lnTo>
                      <a:pt x="900" y="226"/>
                    </a:lnTo>
                    <a:lnTo>
                      <a:pt x="894" y="229"/>
                    </a:lnTo>
                    <a:lnTo>
                      <a:pt x="888" y="230"/>
                    </a:lnTo>
                    <a:lnTo>
                      <a:pt x="882" y="231"/>
                    </a:lnTo>
                    <a:lnTo>
                      <a:pt x="868" y="231"/>
                    </a:lnTo>
                    <a:lnTo>
                      <a:pt x="852" y="230"/>
                    </a:lnTo>
                    <a:lnTo>
                      <a:pt x="845" y="231"/>
                    </a:lnTo>
                    <a:lnTo>
                      <a:pt x="836" y="231"/>
                    </a:lnTo>
                    <a:lnTo>
                      <a:pt x="828" y="233"/>
                    </a:lnTo>
                    <a:lnTo>
                      <a:pt x="818" y="235"/>
                    </a:lnTo>
                    <a:lnTo>
                      <a:pt x="808" y="239"/>
                    </a:lnTo>
                    <a:lnTo>
                      <a:pt x="797" y="245"/>
                    </a:lnTo>
                    <a:lnTo>
                      <a:pt x="786" y="250"/>
                    </a:lnTo>
                    <a:lnTo>
                      <a:pt x="777" y="257"/>
                    </a:lnTo>
                    <a:lnTo>
                      <a:pt x="766" y="263"/>
                    </a:lnTo>
                    <a:lnTo>
                      <a:pt x="755" y="267"/>
                    </a:lnTo>
                    <a:lnTo>
                      <a:pt x="744" y="272"/>
                    </a:lnTo>
                    <a:lnTo>
                      <a:pt x="733" y="273"/>
                    </a:lnTo>
                    <a:lnTo>
                      <a:pt x="699" y="274"/>
                    </a:lnTo>
                    <a:lnTo>
                      <a:pt x="666" y="273"/>
                    </a:lnTo>
                    <a:lnTo>
                      <a:pt x="635" y="270"/>
                    </a:lnTo>
                    <a:lnTo>
                      <a:pt x="604" y="265"/>
                    </a:lnTo>
                    <a:lnTo>
                      <a:pt x="574" y="259"/>
                    </a:lnTo>
                    <a:lnTo>
                      <a:pt x="544" y="250"/>
                    </a:lnTo>
                    <a:lnTo>
                      <a:pt x="513" y="239"/>
                    </a:lnTo>
                    <a:lnTo>
                      <a:pt x="482" y="226"/>
                    </a:lnTo>
                    <a:lnTo>
                      <a:pt x="470" y="220"/>
                    </a:lnTo>
                    <a:lnTo>
                      <a:pt x="457" y="211"/>
                    </a:lnTo>
                    <a:lnTo>
                      <a:pt x="442" y="200"/>
                    </a:lnTo>
                    <a:lnTo>
                      <a:pt x="428" y="190"/>
                    </a:lnTo>
                    <a:lnTo>
                      <a:pt x="414" y="179"/>
                    </a:lnTo>
                    <a:lnTo>
                      <a:pt x="399" y="170"/>
                    </a:lnTo>
                    <a:lnTo>
                      <a:pt x="392" y="167"/>
                    </a:lnTo>
                    <a:lnTo>
                      <a:pt x="386" y="164"/>
                    </a:lnTo>
                    <a:lnTo>
                      <a:pt x="380" y="163"/>
                    </a:lnTo>
                    <a:lnTo>
                      <a:pt x="375" y="162"/>
                    </a:lnTo>
                    <a:lnTo>
                      <a:pt x="368" y="163"/>
                    </a:lnTo>
                    <a:lnTo>
                      <a:pt x="363" y="163"/>
                    </a:lnTo>
                    <a:lnTo>
                      <a:pt x="357" y="165"/>
                    </a:lnTo>
                    <a:lnTo>
                      <a:pt x="353" y="166"/>
                    </a:lnTo>
                    <a:lnTo>
                      <a:pt x="344" y="171"/>
                    </a:lnTo>
                    <a:lnTo>
                      <a:pt x="336" y="179"/>
                    </a:lnTo>
                    <a:lnTo>
                      <a:pt x="328" y="186"/>
                    </a:lnTo>
                    <a:lnTo>
                      <a:pt x="321" y="195"/>
                    </a:lnTo>
                    <a:lnTo>
                      <a:pt x="315" y="205"/>
                    </a:lnTo>
                    <a:lnTo>
                      <a:pt x="310" y="216"/>
                    </a:lnTo>
                    <a:lnTo>
                      <a:pt x="297" y="235"/>
                    </a:lnTo>
                    <a:lnTo>
                      <a:pt x="284" y="252"/>
                    </a:lnTo>
                    <a:lnTo>
                      <a:pt x="277" y="260"/>
                    </a:lnTo>
                    <a:lnTo>
                      <a:pt x="268" y="265"/>
                    </a:lnTo>
                    <a:lnTo>
                      <a:pt x="264" y="267"/>
                    </a:lnTo>
                    <a:lnTo>
                      <a:pt x="260" y="268"/>
                    </a:lnTo>
                    <a:lnTo>
                      <a:pt x="254" y="270"/>
                    </a:lnTo>
                    <a:lnTo>
                      <a:pt x="250" y="271"/>
                    </a:lnTo>
                    <a:lnTo>
                      <a:pt x="250" y="271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  <p:sp>
            <p:nvSpPr>
              <p:cNvPr id="113" name="Freeform 28">
                <a:extLst>
                  <a:ext uri="{FF2B5EF4-FFF2-40B4-BE49-F238E27FC236}">
                    <a16:creationId xmlns:a16="http://schemas.microsoft.com/office/drawing/2014/main" id="{6C9756F0-74E1-4351-9E30-0BB9F59641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30164" y="-1042583"/>
                <a:ext cx="1189037" cy="1682750"/>
              </a:xfrm>
              <a:custGeom>
                <a:avLst/>
                <a:gdLst>
                  <a:gd name="T0" fmla="*/ 463 w 2995"/>
                  <a:gd name="T1" fmla="*/ 713 h 4241"/>
                  <a:gd name="T2" fmla="*/ 332 w 2995"/>
                  <a:gd name="T3" fmla="*/ 910 h 4241"/>
                  <a:gd name="T4" fmla="*/ 225 w 2995"/>
                  <a:gd name="T5" fmla="*/ 1099 h 4241"/>
                  <a:gd name="T6" fmla="*/ 149 w 2995"/>
                  <a:gd name="T7" fmla="*/ 1267 h 4241"/>
                  <a:gd name="T8" fmla="*/ 254 w 2995"/>
                  <a:gd name="T9" fmla="*/ 1455 h 4241"/>
                  <a:gd name="T10" fmla="*/ 183 w 2995"/>
                  <a:gd name="T11" fmla="*/ 1764 h 4241"/>
                  <a:gd name="T12" fmla="*/ 45 w 2995"/>
                  <a:gd name="T13" fmla="*/ 1969 h 4241"/>
                  <a:gd name="T14" fmla="*/ 100 w 2995"/>
                  <a:gd name="T15" fmla="*/ 2181 h 4241"/>
                  <a:gd name="T16" fmla="*/ 215 w 2995"/>
                  <a:gd name="T17" fmla="*/ 2130 h 4241"/>
                  <a:gd name="T18" fmla="*/ 360 w 2995"/>
                  <a:gd name="T19" fmla="*/ 2094 h 4241"/>
                  <a:gd name="T20" fmla="*/ 298 w 2995"/>
                  <a:gd name="T21" fmla="*/ 2003 h 4241"/>
                  <a:gd name="T22" fmla="*/ 564 w 2995"/>
                  <a:gd name="T23" fmla="*/ 1719 h 4241"/>
                  <a:gd name="T24" fmla="*/ 886 w 2995"/>
                  <a:gd name="T25" fmla="*/ 1830 h 4241"/>
                  <a:gd name="T26" fmla="*/ 1003 w 2995"/>
                  <a:gd name="T27" fmla="*/ 1918 h 4241"/>
                  <a:gd name="T28" fmla="*/ 807 w 2995"/>
                  <a:gd name="T29" fmla="*/ 2129 h 4241"/>
                  <a:gd name="T30" fmla="*/ 1052 w 2995"/>
                  <a:gd name="T31" fmla="*/ 2289 h 4241"/>
                  <a:gd name="T32" fmla="*/ 1071 w 2995"/>
                  <a:gd name="T33" fmla="*/ 2540 h 4241"/>
                  <a:gd name="T34" fmla="*/ 776 w 2995"/>
                  <a:gd name="T35" fmla="*/ 2637 h 4241"/>
                  <a:gd name="T36" fmla="*/ 471 w 2995"/>
                  <a:gd name="T37" fmla="*/ 2629 h 4241"/>
                  <a:gd name="T38" fmla="*/ 238 w 2995"/>
                  <a:gd name="T39" fmla="*/ 2944 h 4241"/>
                  <a:gd name="T40" fmla="*/ 163 w 2995"/>
                  <a:gd name="T41" fmla="*/ 3312 h 4241"/>
                  <a:gd name="T42" fmla="*/ 327 w 2995"/>
                  <a:gd name="T43" fmla="*/ 3581 h 4241"/>
                  <a:gd name="T44" fmla="*/ 450 w 2995"/>
                  <a:gd name="T45" fmla="*/ 3735 h 4241"/>
                  <a:gd name="T46" fmla="*/ 611 w 2995"/>
                  <a:gd name="T47" fmla="*/ 3678 h 4241"/>
                  <a:gd name="T48" fmla="*/ 849 w 2995"/>
                  <a:gd name="T49" fmla="*/ 3677 h 4241"/>
                  <a:gd name="T50" fmla="*/ 842 w 2995"/>
                  <a:gd name="T51" fmla="*/ 3778 h 4241"/>
                  <a:gd name="T52" fmla="*/ 902 w 2995"/>
                  <a:gd name="T53" fmla="*/ 4013 h 4241"/>
                  <a:gd name="T54" fmla="*/ 927 w 2995"/>
                  <a:gd name="T55" fmla="*/ 4122 h 4241"/>
                  <a:gd name="T56" fmla="*/ 1243 w 2995"/>
                  <a:gd name="T57" fmla="*/ 4159 h 4241"/>
                  <a:gd name="T58" fmla="*/ 1146 w 2995"/>
                  <a:gd name="T59" fmla="*/ 3870 h 4241"/>
                  <a:gd name="T60" fmla="*/ 1421 w 2995"/>
                  <a:gd name="T61" fmla="*/ 3811 h 4241"/>
                  <a:gd name="T62" fmla="*/ 1853 w 2995"/>
                  <a:gd name="T63" fmla="*/ 3782 h 4241"/>
                  <a:gd name="T64" fmla="*/ 2074 w 2995"/>
                  <a:gd name="T65" fmla="*/ 3770 h 4241"/>
                  <a:gd name="T66" fmla="*/ 2407 w 2995"/>
                  <a:gd name="T67" fmla="*/ 3832 h 4241"/>
                  <a:gd name="T68" fmla="*/ 2815 w 2995"/>
                  <a:gd name="T69" fmla="*/ 3838 h 4241"/>
                  <a:gd name="T70" fmla="*/ 2778 w 2995"/>
                  <a:gd name="T71" fmla="*/ 3731 h 4241"/>
                  <a:gd name="T72" fmla="*/ 2814 w 2995"/>
                  <a:gd name="T73" fmla="*/ 3483 h 4241"/>
                  <a:gd name="T74" fmla="*/ 2476 w 2995"/>
                  <a:gd name="T75" fmla="*/ 2856 h 4241"/>
                  <a:gd name="T76" fmla="*/ 2529 w 2995"/>
                  <a:gd name="T77" fmla="*/ 2720 h 4241"/>
                  <a:gd name="T78" fmla="*/ 2403 w 2995"/>
                  <a:gd name="T79" fmla="*/ 2542 h 4241"/>
                  <a:gd name="T80" fmla="*/ 2394 w 2995"/>
                  <a:gd name="T81" fmla="*/ 2329 h 4241"/>
                  <a:gd name="T82" fmla="*/ 2434 w 2995"/>
                  <a:gd name="T83" fmla="*/ 2202 h 4241"/>
                  <a:gd name="T84" fmla="*/ 2373 w 2995"/>
                  <a:gd name="T85" fmla="*/ 2036 h 4241"/>
                  <a:gd name="T86" fmla="*/ 2333 w 2995"/>
                  <a:gd name="T87" fmla="*/ 1961 h 4241"/>
                  <a:gd name="T88" fmla="*/ 2328 w 2995"/>
                  <a:gd name="T89" fmla="*/ 1806 h 4241"/>
                  <a:gd name="T90" fmla="*/ 2318 w 2995"/>
                  <a:gd name="T91" fmla="*/ 1400 h 4241"/>
                  <a:gd name="T92" fmla="*/ 2265 w 2995"/>
                  <a:gd name="T93" fmla="*/ 1232 h 4241"/>
                  <a:gd name="T94" fmla="*/ 2324 w 2995"/>
                  <a:gd name="T95" fmla="*/ 1100 h 4241"/>
                  <a:gd name="T96" fmla="*/ 2189 w 2995"/>
                  <a:gd name="T97" fmla="*/ 940 h 4241"/>
                  <a:gd name="T98" fmla="*/ 2274 w 2995"/>
                  <a:gd name="T99" fmla="*/ 811 h 4241"/>
                  <a:gd name="T100" fmla="*/ 2132 w 2995"/>
                  <a:gd name="T101" fmla="*/ 707 h 4241"/>
                  <a:gd name="T102" fmla="*/ 2067 w 2995"/>
                  <a:gd name="T103" fmla="*/ 591 h 4241"/>
                  <a:gd name="T104" fmla="*/ 1919 w 2995"/>
                  <a:gd name="T105" fmla="*/ 546 h 4241"/>
                  <a:gd name="T106" fmla="*/ 1585 w 2995"/>
                  <a:gd name="T107" fmla="*/ 356 h 4241"/>
                  <a:gd name="T108" fmla="*/ 1328 w 2995"/>
                  <a:gd name="T109" fmla="*/ 359 h 4241"/>
                  <a:gd name="T110" fmla="*/ 1194 w 2995"/>
                  <a:gd name="T111" fmla="*/ 362 h 4241"/>
                  <a:gd name="T112" fmla="*/ 1126 w 2995"/>
                  <a:gd name="T113" fmla="*/ 88 h 4241"/>
                  <a:gd name="T114" fmla="*/ 1037 w 2995"/>
                  <a:gd name="T115" fmla="*/ 75 h 4241"/>
                  <a:gd name="T116" fmla="*/ 888 w 2995"/>
                  <a:gd name="T117" fmla="*/ 230 h 4241"/>
                  <a:gd name="T118" fmla="*/ 604 w 2995"/>
                  <a:gd name="T119" fmla="*/ 265 h 4241"/>
                  <a:gd name="T120" fmla="*/ 344 w 2995"/>
                  <a:gd name="T121" fmla="*/ 171 h 4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95" h="4241">
                    <a:moveTo>
                      <a:pt x="250" y="271"/>
                    </a:moveTo>
                    <a:lnTo>
                      <a:pt x="255" y="583"/>
                    </a:lnTo>
                    <a:lnTo>
                      <a:pt x="255" y="583"/>
                    </a:lnTo>
                    <a:lnTo>
                      <a:pt x="405" y="621"/>
                    </a:lnTo>
                    <a:lnTo>
                      <a:pt x="412" y="622"/>
                    </a:lnTo>
                    <a:lnTo>
                      <a:pt x="420" y="623"/>
                    </a:lnTo>
                    <a:lnTo>
                      <a:pt x="427" y="626"/>
                    </a:lnTo>
                    <a:lnTo>
                      <a:pt x="433" y="628"/>
                    </a:lnTo>
                    <a:lnTo>
                      <a:pt x="439" y="632"/>
                    </a:lnTo>
                    <a:lnTo>
                      <a:pt x="444" y="636"/>
                    </a:lnTo>
                    <a:lnTo>
                      <a:pt x="448" y="641"/>
                    </a:lnTo>
                    <a:lnTo>
                      <a:pt x="452" y="645"/>
                    </a:lnTo>
                    <a:lnTo>
                      <a:pt x="455" y="651"/>
                    </a:lnTo>
                    <a:lnTo>
                      <a:pt x="458" y="657"/>
                    </a:lnTo>
                    <a:lnTo>
                      <a:pt x="460" y="663"/>
                    </a:lnTo>
                    <a:lnTo>
                      <a:pt x="461" y="669"/>
                    </a:lnTo>
                    <a:lnTo>
                      <a:pt x="463" y="683"/>
                    </a:lnTo>
                    <a:lnTo>
                      <a:pt x="465" y="698"/>
                    </a:lnTo>
                    <a:lnTo>
                      <a:pt x="463" y="713"/>
                    </a:lnTo>
                    <a:lnTo>
                      <a:pt x="461" y="729"/>
                    </a:lnTo>
                    <a:lnTo>
                      <a:pt x="458" y="745"/>
                    </a:lnTo>
                    <a:lnTo>
                      <a:pt x="454" y="760"/>
                    </a:lnTo>
                    <a:lnTo>
                      <a:pt x="448" y="775"/>
                    </a:lnTo>
                    <a:lnTo>
                      <a:pt x="443" y="789"/>
                    </a:lnTo>
                    <a:lnTo>
                      <a:pt x="437" y="802"/>
                    </a:lnTo>
                    <a:lnTo>
                      <a:pt x="431" y="814"/>
                    </a:lnTo>
                    <a:lnTo>
                      <a:pt x="424" y="825"/>
                    </a:lnTo>
                    <a:lnTo>
                      <a:pt x="417" y="834"/>
                    </a:lnTo>
                    <a:lnTo>
                      <a:pt x="409" y="841"/>
                    </a:lnTo>
                    <a:lnTo>
                      <a:pt x="401" y="847"/>
                    </a:lnTo>
                    <a:lnTo>
                      <a:pt x="384" y="858"/>
                    </a:lnTo>
                    <a:lnTo>
                      <a:pt x="367" y="868"/>
                    </a:lnTo>
                    <a:lnTo>
                      <a:pt x="359" y="872"/>
                    </a:lnTo>
                    <a:lnTo>
                      <a:pt x="353" y="878"/>
                    </a:lnTo>
                    <a:lnTo>
                      <a:pt x="346" y="884"/>
                    </a:lnTo>
                    <a:lnTo>
                      <a:pt x="341" y="892"/>
                    </a:lnTo>
                    <a:lnTo>
                      <a:pt x="337" y="900"/>
                    </a:lnTo>
                    <a:lnTo>
                      <a:pt x="332" y="910"/>
                    </a:lnTo>
                    <a:lnTo>
                      <a:pt x="330" y="923"/>
                    </a:lnTo>
                    <a:lnTo>
                      <a:pt x="330" y="937"/>
                    </a:lnTo>
                    <a:lnTo>
                      <a:pt x="330" y="967"/>
                    </a:lnTo>
                    <a:lnTo>
                      <a:pt x="329" y="991"/>
                    </a:lnTo>
                    <a:lnTo>
                      <a:pt x="329" y="1001"/>
                    </a:lnTo>
                    <a:lnTo>
                      <a:pt x="327" y="1008"/>
                    </a:lnTo>
                    <a:lnTo>
                      <a:pt x="326" y="1016"/>
                    </a:lnTo>
                    <a:lnTo>
                      <a:pt x="323" y="1022"/>
                    </a:lnTo>
                    <a:lnTo>
                      <a:pt x="319" y="1029"/>
                    </a:lnTo>
                    <a:lnTo>
                      <a:pt x="315" y="1034"/>
                    </a:lnTo>
                    <a:lnTo>
                      <a:pt x="310" y="1040"/>
                    </a:lnTo>
                    <a:lnTo>
                      <a:pt x="302" y="1045"/>
                    </a:lnTo>
                    <a:lnTo>
                      <a:pt x="285" y="1056"/>
                    </a:lnTo>
                    <a:lnTo>
                      <a:pt x="260" y="1070"/>
                    </a:lnTo>
                    <a:lnTo>
                      <a:pt x="249" y="1076"/>
                    </a:lnTo>
                    <a:lnTo>
                      <a:pt x="240" y="1082"/>
                    </a:lnTo>
                    <a:lnTo>
                      <a:pt x="234" y="1088"/>
                    </a:lnTo>
                    <a:lnTo>
                      <a:pt x="228" y="1094"/>
                    </a:lnTo>
                    <a:lnTo>
                      <a:pt x="225" y="1099"/>
                    </a:lnTo>
                    <a:lnTo>
                      <a:pt x="223" y="1104"/>
                    </a:lnTo>
                    <a:lnTo>
                      <a:pt x="222" y="1111"/>
                    </a:lnTo>
                    <a:lnTo>
                      <a:pt x="222" y="1116"/>
                    </a:lnTo>
                    <a:lnTo>
                      <a:pt x="227" y="1144"/>
                    </a:lnTo>
                    <a:lnTo>
                      <a:pt x="232" y="1181"/>
                    </a:lnTo>
                    <a:lnTo>
                      <a:pt x="230" y="1186"/>
                    </a:lnTo>
                    <a:lnTo>
                      <a:pt x="229" y="1193"/>
                    </a:lnTo>
                    <a:lnTo>
                      <a:pt x="227" y="1197"/>
                    </a:lnTo>
                    <a:lnTo>
                      <a:pt x="225" y="1203"/>
                    </a:lnTo>
                    <a:lnTo>
                      <a:pt x="219" y="1211"/>
                    </a:lnTo>
                    <a:lnTo>
                      <a:pt x="210" y="1218"/>
                    </a:lnTo>
                    <a:lnTo>
                      <a:pt x="190" y="1230"/>
                    </a:lnTo>
                    <a:lnTo>
                      <a:pt x="170" y="1240"/>
                    </a:lnTo>
                    <a:lnTo>
                      <a:pt x="162" y="1246"/>
                    </a:lnTo>
                    <a:lnTo>
                      <a:pt x="155" y="1252"/>
                    </a:lnTo>
                    <a:lnTo>
                      <a:pt x="152" y="1256"/>
                    </a:lnTo>
                    <a:lnTo>
                      <a:pt x="151" y="1259"/>
                    </a:lnTo>
                    <a:lnTo>
                      <a:pt x="149" y="1263"/>
                    </a:lnTo>
                    <a:lnTo>
                      <a:pt x="149" y="1267"/>
                    </a:lnTo>
                    <a:lnTo>
                      <a:pt x="150" y="1272"/>
                    </a:lnTo>
                    <a:lnTo>
                      <a:pt x="151" y="1277"/>
                    </a:lnTo>
                    <a:lnTo>
                      <a:pt x="153" y="1283"/>
                    </a:lnTo>
                    <a:lnTo>
                      <a:pt x="158" y="1288"/>
                    </a:lnTo>
                    <a:lnTo>
                      <a:pt x="162" y="1294"/>
                    </a:lnTo>
                    <a:lnTo>
                      <a:pt x="169" y="1302"/>
                    </a:lnTo>
                    <a:lnTo>
                      <a:pt x="175" y="1310"/>
                    </a:lnTo>
                    <a:lnTo>
                      <a:pt x="184" y="1318"/>
                    </a:lnTo>
                    <a:lnTo>
                      <a:pt x="203" y="1337"/>
                    </a:lnTo>
                    <a:lnTo>
                      <a:pt x="219" y="1354"/>
                    </a:lnTo>
                    <a:lnTo>
                      <a:pt x="225" y="1364"/>
                    </a:lnTo>
                    <a:lnTo>
                      <a:pt x="232" y="1372"/>
                    </a:lnTo>
                    <a:lnTo>
                      <a:pt x="236" y="1381"/>
                    </a:lnTo>
                    <a:lnTo>
                      <a:pt x="240" y="1391"/>
                    </a:lnTo>
                    <a:lnTo>
                      <a:pt x="245" y="1400"/>
                    </a:lnTo>
                    <a:lnTo>
                      <a:pt x="248" y="1410"/>
                    </a:lnTo>
                    <a:lnTo>
                      <a:pt x="250" y="1421"/>
                    </a:lnTo>
                    <a:lnTo>
                      <a:pt x="252" y="1432"/>
                    </a:lnTo>
                    <a:lnTo>
                      <a:pt x="254" y="1455"/>
                    </a:lnTo>
                    <a:lnTo>
                      <a:pt x="255" y="1482"/>
                    </a:lnTo>
                    <a:lnTo>
                      <a:pt x="255" y="1496"/>
                    </a:lnTo>
                    <a:lnTo>
                      <a:pt x="256" y="1513"/>
                    </a:lnTo>
                    <a:lnTo>
                      <a:pt x="255" y="1530"/>
                    </a:lnTo>
                    <a:lnTo>
                      <a:pt x="254" y="1549"/>
                    </a:lnTo>
                    <a:lnTo>
                      <a:pt x="253" y="1569"/>
                    </a:lnTo>
                    <a:lnTo>
                      <a:pt x="251" y="1590"/>
                    </a:lnTo>
                    <a:lnTo>
                      <a:pt x="248" y="1611"/>
                    </a:lnTo>
                    <a:lnTo>
                      <a:pt x="243" y="1633"/>
                    </a:lnTo>
                    <a:lnTo>
                      <a:pt x="239" y="1654"/>
                    </a:lnTo>
                    <a:lnTo>
                      <a:pt x="234" y="1675"/>
                    </a:lnTo>
                    <a:lnTo>
                      <a:pt x="227" y="1694"/>
                    </a:lnTo>
                    <a:lnTo>
                      <a:pt x="221" y="1711"/>
                    </a:lnTo>
                    <a:lnTo>
                      <a:pt x="212" y="1729"/>
                    </a:lnTo>
                    <a:lnTo>
                      <a:pt x="203" y="1743"/>
                    </a:lnTo>
                    <a:lnTo>
                      <a:pt x="199" y="1749"/>
                    </a:lnTo>
                    <a:lnTo>
                      <a:pt x="194" y="1755"/>
                    </a:lnTo>
                    <a:lnTo>
                      <a:pt x="188" y="1760"/>
                    </a:lnTo>
                    <a:lnTo>
                      <a:pt x="183" y="1764"/>
                    </a:lnTo>
                    <a:lnTo>
                      <a:pt x="172" y="1774"/>
                    </a:lnTo>
                    <a:lnTo>
                      <a:pt x="162" y="1783"/>
                    </a:lnTo>
                    <a:lnTo>
                      <a:pt x="156" y="1792"/>
                    </a:lnTo>
                    <a:lnTo>
                      <a:pt x="150" y="1802"/>
                    </a:lnTo>
                    <a:lnTo>
                      <a:pt x="146" y="1812"/>
                    </a:lnTo>
                    <a:lnTo>
                      <a:pt x="143" y="1820"/>
                    </a:lnTo>
                    <a:lnTo>
                      <a:pt x="140" y="1830"/>
                    </a:lnTo>
                    <a:lnTo>
                      <a:pt x="138" y="1840"/>
                    </a:lnTo>
                    <a:lnTo>
                      <a:pt x="135" y="1858"/>
                    </a:lnTo>
                    <a:lnTo>
                      <a:pt x="130" y="1876"/>
                    </a:lnTo>
                    <a:lnTo>
                      <a:pt x="125" y="1884"/>
                    </a:lnTo>
                    <a:lnTo>
                      <a:pt x="120" y="1893"/>
                    </a:lnTo>
                    <a:lnTo>
                      <a:pt x="112" y="1901"/>
                    </a:lnTo>
                    <a:lnTo>
                      <a:pt x="103" y="1909"/>
                    </a:lnTo>
                    <a:lnTo>
                      <a:pt x="92" y="1918"/>
                    </a:lnTo>
                    <a:lnTo>
                      <a:pt x="81" y="1927"/>
                    </a:lnTo>
                    <a:lnTo>
                      <a:pt x="69" y="1940"/>
                    </a:lnTo>
                    <a:lnTo>
                      <a:pt x="57" y="1954"/>
                    </a:lnTo>
                    <a:lnTo>
                      <a:pt x="45" y="1969"/>
                    </a:lnTo>
                    <a:lnTo>
                      <a:pt x="34" y="1986"/>
                    </a:lnTo>
                    <a:lnTo>
                      <a:pt x="23" y="2003"/>
                    </a:lnTo>
                    <a:lnTo>
                      <a:pt x="15" y="2020"/>
                    </a:lnTo>
                    <a:lnTo>
                      <a:pt x="7" y="2039"/>
                    </a:lnTo>
                    <a:lnTo>
                      <a:pt x="3" y="2056"/>
                    </a:lnTo>
                    <a:lnTo>
                      <a:pt x="1" y="2065"/>
                    </a:lnTo>
                    <a:lnTo>
                      <a:pt x="0" y="2073"/>
                    </a:lnTo>
                    <a:lnTo>
                      <a:pt x="0" y="2082"/>
                    </a:lnTo>
                    <a:lnTo>
                      <a:pt x="0" y="2089"/>
                    </a:lnTo>
                    <a:lnTo>
                      <a:pt x="2" y="2098"/>
                    </a:lnTo>
                    <a:lnTo>
                      <a:pt x="4" y="2106"/>
                    </a:lnTo>
                    <a:lnTo>
                      <a:pt x="7" y="2112"/>
                    </a:lnTo>
                    <a:lnTo>
                      <a:pt x="12" y="2120"/>
                    </a:lnTo>
                    <a:lnTo>
                      <a:pt x="16" y="2126"/>
                    </a:lnTo>
                    <a:lnTo>
                      <a:pt x="22" y="2131"/>
                    </a:lnTo>
                    <a:lnTo>
                      <a:pt x="30" y="2137"/>
                    </a:lnTo>
                    <a:lnTo>
                      <a:pt x="39" y="2142"/>
                    </a:lnTo>
                    <a:lnTo>
                      <a:pt x="78" y="2166"/>
                    </a:lnTo>
                    <a:lnTo>
                      <a:pt x="100" y="2181"/>
                    </a:lnTo>
                    <a:lnTo>
                      <a:pt x="105" y="2182"/>
                    </a:lnTo>
                    <a:lnTo>
                      <a:pt x="110" y="2182"/>
                    </a:lnTo>
                    <a:lnTo>
                      <a:pt x="114" y="2180"/>
                    </a:lnTo>
                    <a:lnTo>
                      <a:pt x="121" y="2177"/>
                    </a:lnTo>
                    <a:lnTo>
                      <a:pt x="127" y="2173"/>
                    </a:lnTo>
                    <a:lnTo>
                      <a:pt x="135" y="2166"/>
                    </a:lnTo>
                    <a:lnTo>
                      <a:pt x="143" y="2157"/>
                    </a:lnTo>
                    <a:lnTo>
                      <a:pt x="153" y="2147"/>
                    </a:lnTo>
                    <a:lnTo>
                      <a:pt x="163" y="2133"/>
                    </a:lnTo>
                    <a:lnTo>
                      <a:pt x="178" y="2114"/>
                    </a:lnTo>
                    <a:lnTo>
                      <a:pt x="183" y="2110"/>
                    </a:lnTo>
                    <a:lnTo>
                      <a:pt x="187" y="2107"/>
                    </a:lnTo>
                    <a:lnTo>
                      <a:pt x="191" y="2104"/>
                    </a:lnTo>
                    <a:lnTo>
                      <a:pt x="196" y="2104"/>
                    </a:lnTo>
                    <a:lnTo>
                      <a:pt x="200" y="2104"/>
                    </a:lnTo>
                    <a:lnTo>
                      <a:pt x="203" y="2107"/>
                    </a:lnTo>
                    <a:lnTo>
                      <a:pt x="207" y="2110"/>
                    </a:lnTo>
                    <a:lnTo>
                      <a:pt x="210" y="2116"/>
                    </a:lnTo>
                    <a:lnTo>
                      <a:pt x="215" y="2130"/>
                    </a:lnTo>
                    <a:lnTo>
                      <a:pt x="222" y="2153"/>
                    </a:lnTo>
                    <a:lnTo>
                      <a:pt x="225" y="2165"/>
                    </a:lnTo>
                    <a:lnTo>
                      <a:pt x="228" y="2175"/>
                    </a:lnTo>
                    <a:lnTo>
                      <a:pt x="233" y="2181"/>
                    </a:lnTo>
                    <a:lnTo>
                      <a:pt x="235" y="2184"/>
                    </a:lnTo>
                    <a:lnTo>
                      <a:pt x="236" y="2187"/>
                    </a:lnTo>
                    <a:lnTo>
                      <a:pt x="237" y="2188"/>
                    </a:lnTo>
                    <a:lnTo>
                      <a:pt x="238" y="2189"/>
                    </a:lnTo>
                    <a:lnTo>
                      <a:pt x="240" y="2189"/>
                    </a:lnTo>
                    <a:lnTo>
                      <a:pt x="243" y="2189"/>
                    </a:lnTo>
                    <a:lnTo>
                      <a:pt x="249" y="2188"/>
                    </a:lnTo>
                    <a:lnTo>
                      <a:pt x="261" y="2180"/>
                    </a:lnTo>
                    <a:lnTo>
                      <a:pt x="274" y="2170"/>
                    </a:lnTo>
                    <a:lnTo>
                      <a:pt x="300" y="2148"/>
                    </a:lnTo>
                    <a:lnTo>
                      <a:pt x="315" y="2133"/>
                    </a:lnTo>
                    <a:lnTo>
                      <a:pt x="334" y="2119"/>
                    </a:lnTo>
                    <a:lnTo>
                      <a:pt x="354" y="2102"/>
                    </a:lnTo>
                    <a:lnTo>
                      <a:pt x="358" y="2098"/>
                    </a:lnTo>
                    <a:lnTo>
                      <a:pt x="360" y="2094"/>
                    </a:lnTo>
                    <a:lnTo>
                      <a:pt x="363" y="2089"/>
                    </a:lnTo>
                    <a:lnTo>
                      <a:pt x="363" y="2085"/>
                    </a:lnTo>
                    <a:lnTo>
                      <a:pt x="362" y="2082"/>
                    </a:lnTo>
                    <a:lnTo>
                      <a:pt x="358" y="2077"/>
                    </a:lnTo>
                    <a:lnTo>
                      <a:pt x="353" y="2074"/>
                    </a:lnTo>
                    <a:lnTo>
                      <a:pt x="345" y="2070"/>
                    </a:lnTo>
                    <a:lnTo>
                      <a:pt x="326" y="2062"/>
                    </a:lnTo>
                    <a:lnTo>
                      <a:pt x="311" y="2054"/>
                    </a:lnTo>
                    <a:lnTo>
                      <a:pt x="304" y="2050"/>
                    </a:lnTo>
                    <a:lnTo>
                      <a:pt x="299" y="2046"/>
                    </a:lnTo>
                    <a:lnTo>
                      <a:pt x="294" y="2043"/>
                    </a:lnTo>
                    <a:lnTo>
                      <a:pt x="291" y="2040"/>
                    </a:lnTo>
                    <a:lnTo>
                      <a:pt x="289" y="2035"/>
                    </a:lnTo>
                    <a:lnTo>
                      <a:pt x="287" y="2032"/>
                    </a:lnTo>
                    <a:lnTo>
                      <a:pt x="286" y="2029"/>
                    </a:lnTo>
                    <a:lnTo>
                      <a:pt x="286" y="2025"/>
                    </a:lnTo>
                    <a:lnTo>
                      <a:pt x="288" y="2018"/>
                    </a:lnTo>
                    <a:lnTo>
                      <a:pt x="292" y="2011"/>
                    </a:lnTo>
                    <a:lnTo>
                      <a:pt x="298" y="2003"/>
                    </a:lnTo>
                    <a:lnTo>
                      <a:pt x="305" y="1995"/>
                    </a:lnTo>
                    <a:lnTo>
                      <a:pt x="315" y="1987"/>
                    </a:lnTo>
                    <a:lnTo>
                      <a:pt x="325" y="1978"/>
                    </a:lnTo>
                    <a:lnTo>
                      <a:pt x="336" y="1968"/>
                    </a:lnTo>
                    <a:lnTo>
                      <a:pt x="346" y="1959"/>
                    </a:lnTo>
                    <a:lnTo>
                      <a:pt x="357" y="1948"/>
                    </a:lnTo>
                    <a:lnTo>
                      <a:pt x="367" y="1936"/>
                    </a:lnTo>
                    <a:lnTo>
                      <a:pt x="394" y="1900"/>
                    </a:lnTo>
                    <a:lnTo>
                      <a:pt x="424" y="1858"/>
                    </a:lnTo>
                    <a:lnTo>
                      <a:pt x="441" y="1837"/>
                    </a:lnTo>
                    <a:lnTo>
                      <a:pt x="457" y="1815"/>
                    </a:lnTo>
                    <a:lnTo>
                      <a:pt x="474" y="1793"/>
                    </a:lnTo>
                    <a:lnTo>
                      <a:pt x="492" y="1774"/>
                    </a:lnTo>
                    <a:lnTo>
                      <a:pt x="509" y="1756"/>
                    </a:lnTo>
                    <a:lnTo>
                      <a:pt x="527" y="1741"/>
                    </a:lnTo>
                    <a:lnTo>
                      <a:pt x="536" y="1734"/>
                    </a:lnTo>
                    <a:lnTo>
                      <a:pt x="546" y="1728"/>
                    </a:lnTo>
                    <a:lnTo>
                      <a:pt x="554" y="1723"/>
                    </a:lnTo>
                    <a:lnTo>
                      <a:pt x="564" y="1719"/>
                    </a:lnTo>
                    <a:lnTo>
                      <a:pt x="573" y="1717"/>
                    </a:lnTo>
                    <a:lnTo>
                      <a:pt x="583" y="1715"/>
                    </a:lnTo>
                    <a:lnTo>
                      <a:pt x="592" y="1715"/>
                    </a:lnTo>
                    <a:lnTo>
                      <a:pt x="601" y="1716"/>
                    </a:lnTo>
                    <a:lnTo>
                      <a:pt x="611" y="1718"/>
                    </a:lnTo>
                    <a:lnTo>
                      <a:pt x="619" y="1721"/>
                    </a:lnTo>
                    <a:lnTo>
                      <a:pt x="629" y="1726"/>
                    </a:lnTo>
                    <a:lnTo>
                      <a:pt x="639" y="1733"/>
                    </a:lnTo>
                    <a:lnTo>
                      <a:pt x="672" y="1759"/>
                    </a:lnTo>
                    <a:lnTo>
                      <a:pt x="698" y="1777"/>
                    </a:lnTo>
                    <a:lnTo>
                      <a:pt x="709" y="1784"/>
                    </a:lnTo>
                    <a:lnTo>
                      <a:pt x="720" y="1790"/>
                    </a:lnTo>
                    <a:lnTo>
                      <a:pt x="731" y="1795"/>
                    </a:lnTo>
                    <a:lnTo>
                      <a:pt x="741" y="1799"/>
                    </a:lnTo>
                    <a:lnTo>
                      <a:pt x="764" y="1805"/>
                    </a:lnTo>
                    <a:lnTo>
                      <a:pt x="791" y="1811"/>
                    </a:lnTo>
                    <a:lnTo>
                      <a:pt x="824" y="1818"/>
                    </a:lnTo>
                    <a:lnTo>
                      <a:pt x="868" y="1828"/>
                    </a:lnTo>
                    <a:lnTo>
                      <a:pt x="886" y="1830"/>
                    </a:lnTo>
                    <a:lnTo>
                      <a:pt x="911" y="1832"/>
                    </a:lnTo>
                    <a:lnTo>
                      <a:pt x="938" y="1833"/>
                    </a:lnTo>
                    <a:lnTo>
                      <a:pt x="967" y="1838"/>
                    </a:lnTo>
                    <a:lnTo>
                      <a:pt x="980" y="1840"/>
                    </a:lnTo>
                    <a:lnTo>
                      <a:pt x="992" y="1843"/>
                    </a:lnTo>
                    <a:lnTo>
                      <a:pt x="1003" y="1847"/>
                    </a:lnTo>
                    <a:lnTo>
                      <a:pt x="1012" y="1853"/>
                    </a:lnTo>
                    <a:lnTo>
                      <a:pt x="1016" y="1855"/>
                    </a:lnTo>
                    <a:lnTo>
                      <a:pt x="1019" y="1858"/>
                    </a:lnTo>
                    <a:lnTo>
                      <a:pt x="1022" y="1863"/>
                    </a:lnTo>
                    <a:lnTo>
                      <a:pt x="1023" y="1866"/>
                    </a:lnTo>
                    <a:lnTo>
                      <a:pt x="1024" y="1870"/>
                    </a:lnTo>
                    <a:lnTo>
                      <a:pt x="1024" y="1876"/>
                    </a:lnTo>
                    <a:lnTo>
                      <a:pt x="1023" y="1880"/>
                    </a:lnTo>
                    <a:lnTo>
                      <a:pt x="1022" y="1885"/>
                    </a:lnTo>
                    <a:lnTo>
                      <a:pt x="1018" y="1894"/>
                    </a:lnTo>
                    <a:lnTo>
                      <a:pt x="1014" y="1901"/>
                    </a:lnTo>
                    <a:lnTo>
                      <a:pt x="1009" y="1910"/>
                    </a:lnTo>
                    <a:lnTo>
                      <a:pt x="1003" y="1918"/>
                    </a:lnTo>
                    <a:lnTo>
                      <a:pt x="991" y="1932"/>
                    </a:lnTo>
                    <a:lnTo>
                      <a:pt x="977" y="1946"/>
                    </a:lnTo>
                    <a:lnTo>
                      <a:pt x="962" y="1959"/>
                    </a:lnTo>
                    <a:lnTo>
                      <a:pt x="946" y="1972"/>
                    </a:lnTo>
                    <a:lnTo>
                      <a:pt x="928" y="1985"/>
                    </a:lnTo>
                    <a:lnTo>
                      <a:pt x="911" y="1998"/>
                    </a:lnTo>
                    <a:lnTo>
                      <a:pt x="895" y="2009"/>
                    </a:lnTo>
                    <a:lnTo>
                      <a:pt x="877" y="2022"/>
                    </a:lnTo>
                    <a:lnTo>
                      <a:pt x="862" y="2035"/>
                    </a:lnTo>
                    <a:lnTo>
                      <a:pt x="847" y="2049"/>
                    </a:lnTo>
                    <a:lnTo>
                      <a:pt x="834" y="2063"/>
                    </a:lnTo>
                    <a:lnTo>
                      <a:pt x="822" y="2077"/>
                    </a:lnTo>
                    <a:lnTo>
                      <a:pt x="818" y="2085"/>
                    </a:lnTo>
                    <a:lnTo>
                      <a:pt x="813" y="2094"/>
                    </a:lnTo>
                    <a:lnTo>
                      <a:pt x="810" y="2101"/>
                    </a:lnTo>
                    <a:lnTo>
                      <a:pt x="807" y="2110"/>
                    </a:lnTo>
                    <a:lnTo>
                      <a:pt x="806" y="2116"/>
                    </a:lnTo>
                    <a:lnTo>
                      <a:pt x="806" y="2123"/>
                    </a:lnTo>
                    <a:lnTo>
                      <a:pt x="807" y="2129"/>
                    </a:lnTo>
                    <a:lnTo>
                      <a:pt x="809" y="2136"/>
                    </a:lnTo>
                    <a:lnTo>
                      <a:pt x="812" y="2141"/>
                    </a:lnTo>
                    <a:lnTo>
                      <a:pt x="817" y="2147"/>
                    </a:lnTo>
                    <a:lnTo>
                      <a:pt x="822" y="2152"/>
                    </a:lnTo>
                    <a:lnTo>
                      <a:pt x="829" y="2157"/>
                    </a:lnTo>
                    <a:lnTo>
                      <a:pt x="843" y="2167"/>
                    </a:lnTo>
                    <a:lnTo>
                      <a:pt x="860" y="2177"/>
                    </a:lnTo>
                    <a:lnTo>
                      <a:pt x="880" y="2187"/>
                    </a:lnTo>
                    <a:lnTo>
                      <a:pt x="900" y="2195"/>
                    </a:lnTo>
                    <a:lnTo>
                      <a:pt x="923" y="2205"/>
                    </a:lnTo>
                    <a:lnTo>
                      <a:pt x="945" y="2215"/>
                    </a:lnTo>
                    <a:lnTo>
                      <a:pt x="966" y="2224"/>
                    </a:lnTo>
                    <a:lnTo>
                      <a:pt x="987" y="2235"/>
                    </a:lnTo>
                    <a:lnTo>
                      <a:pt x="1006" y="2247"/>
                    </a:lnTo>
                    <a:lnTo>
                      <a:pt x="1025" y="2260"/>
                    </a:lnTo>
                    <a:lnTo>
                      <a:pt x="1032" y="2266"/>
                    </a:lnTo>
                    <a:lnTo>
                      <a:pt x="1040" y="2274"/>
                    </a:lnTo>
                    <a:lnTo>
                      <a:pt x="1046" y="2282"/>
                    </a:lnTo>
                    <a:lnTo>
                      <a:pt x="1052" y="2289"/>
                    </a:lnTo>
                    <a:lnTo>
                      <a:pt x="1207" y="2524"/>
                    </a:lnTo>
                    <a:lnTo>
                      <a:pt x="1205" y="2528"/>
                    </a:lnTo>
                    <a:lnTo>
                      <a:pt x="1205" y="2531"/>
                    </a:lnTo>
                    <a:lnTo>
                      <a:pt x="1198" y="2532"/>
                    </a:lnTo>
                    <a:lnTo>
                      <a:pt x="1192" y="2533"/>
                    </a:lnTo>
                    <a:lnTo>
                      <a:pt x="1184" y="2533"/>
                    </a:lnTo>
                    <a:lnTo>
                      <a:pt x="1175" y="2532"/>
                    </a:lnTo>
                    <a:lnTo>
                      <a:pt x="1158" y="2528"/>
                    </a:lnTo>
                    <a:lnTo>
                      <a:pt x="1140" y="2524"/>
                    </a:lnTo>
                    <a:lnTo>
                      <a:pt x="1122" y="2519"/>
                    </a:lnTo>
                    <a:lnTo>
                      <a:pt x="1107" y="2517"/>
                    </a:lnTo>
                    <a:lnTo>
                      <a:pt x="1101" y="2516"/>
                    </a:lnTo>
                    <a:lnTo>
                      <a:pt x="1094" y="2517"/>
                    </a:lnTo>
                    <a:lnTo>
                      <a:pt x="1090" y="2518"/>
                    </a:lnTo>
                    <a:lnTo>
                      <a:pt x="1085" y="2520"/>
                    </a:lnTo>
                    <a:lnTo>
                      <a:pt x="1081" y="2525"/>
                    </a:lnTo>
                    <a:lnTo>
                      <a:pt x="1077" y="2530"/>
                    </a:lnTo>
                    <a:lnTo>
                      <a:pt x="1074" y="2535"/>
                    </a:lnTo>
                    <a:lnTo>
                      <a:pt x="1071" y="2540"/>
                    </a:lnTo>
                    <a:lnTo>
                      <a:pt x="1069" y="2548"/>
                    </a:lnTo>
                    <a:lnTo>
                      <a:pt x="1066" y="2556"/>
                    </a:lnTo>
                    <a:lnTo>
                      <a:pt x="1064" y="2559"/>
                    </a:lnTo>
                    <a:lnTo>
                      <a:pt x="1061" y="2562"/>
                    </a:lnTo>
                    <a:lnTo>
                      <a:pt x="1056" y="2565"/>
                    </a:lnTo>
                    <a:lnTo>
                      <a:pt x="1052" y="2567"/>
                    </a:lnTo>
                    <a:lnTo>
                      <a:pt x="1044" y="2569"/>
                    </a:lnTo>
                    <a:lnTo>
                      <a:pt x="1036" y="2570"/>
                    </a:lnTo>
                    <a:lnTo>
                      <a:pt x="1025" y="2570"/>
                    </a:lnTo>
                    <a:lnTo>
                      <a:pt x="1012" y="2571"/>
                    </a:lnTo>
                    <a:lnTo>
                      <a:pt x="992" y="2571"/>
                    </a:lnTo>
                    <a:lnTo>
                      <a:pt x="973" y="2574"/>
                    </a:lnTo>
                    <a:lnTo>
                      <a:pt x="953" y="2578"/>
                    </a:lnTo>
                    <a:lnTo>
                      <a:pt x="935" y="2582"/>
                    </a:lnTo>
                    <a:lnTo>
                      <a:pt x="899" y="2594"/>
                    </a:lnTo>
                    <a:lnTo>
                      <a:pt x="864" y="2607"/>
                    </a:lnTo>
                    <a:lnTo>
                      <a:pt x="830" y="2621"/>
                    </a:lnTo>
                    <a:lnTo>
                      <a:pt x="794" y="2632"/>
                    </a:lnTo>
                    <a:lnTo>
                      <a:pt x="776" y="2637"/>
                    </a:lnTo>
                    <a:lnTo>
                      <a:pt x="757" y="2640"/>
                    </a:lnTo>
                    <a:lnTo>
                      <a:pt x="738" y="2642"/>
                    </a:lnTo>
                    <a:lnTo>
                      <a:pt x="718" y="2643"/>
                    </a:lnTo>
                    <a:lnTo>
                      <a:pt x="692" y="2642"/>
                    </a:lnTo>
                    <a:lnTo>
                      <a:pt x="668" y="2639"/>
                    </a:lnTo>
                    <a:lnTo>
                      <a:pt x="644" y="2635"/>
                    </a:lnTo>
                    <a:lnTo>
                      <a:pt x="623" y="2630"/>
                    </a:lnTo>
                    <a:lnTo>
                      <a:pt x="601" y="2625"/>
                    </a:lnTo>
                    <a:lnTo>
                      <a:pt x="580" y="2620"/>
                    </a:lnTo>
                    <a:lnTo>
                      <a:pt x="561" y="2616"/>
                    </a:lnTo>
                    <a:lnTo>
                      <a:pt x="543" y="2613"/>
                    </a:lnTo>
                    <a:lnTo>
                      <a:pt x="533" y="2613"/>
                    </a:lnTo>
                    <a:lnTo>
                      <a:pt x="524" y="2613"/>
                    </a:lnTo>
                    <a:lnTo>
                      <a:pt x="514" y="2614"/>
                    </a:lnTo>
                    <a:lnTo>
                      <a:pt x="506" y="2615"/>
                    </a:lnTo>
                    <a:lnTo>
                      <a:pt x="497" y="2617"/>
                    </a:lnTo>
                    <a:lnTo>
                      <a:pt x="488" y="2621"/>
                    </a:lnTo>
                    <a:lnTo>
                      <a:pt x="480" y="2624"/>
                    </a:lnTo>
                    <a:lnTo>
                      <a:pt x="471" y="2629"/>
                    </a:lnTo>
                    <a:lnTo>
                      <a:pt x="463" y="2636"/>
                    </a:lnTo>
                    <a:lnTo>
                      <a:pt x="455" y="2642"/>
                    </a:lnTo>
                    <a:lnTo>
                      <a:pt x="446" y="2651"/>
                    </a:lnTo>
                    <a:lnTo>
                      <a:pt x="439" y="2661"/>
                    </a:lnTo>
                    <a:lnTo>
                      <a:pt x="430" y="2671"/>
                    </a:lnTo>
                    <a:lnTo>
                      <a:pt x="422" y="2683"/>
                    </a:lnTo>
                    <a:lnTo>
                      <a:pt x="414" y="2697"/>
                    </a:lnTo>
                    <a:lnTo>
                      <a:pt x="406" y="2713"/>
                    </a:lnTo>
                    <a:lnTo>
                      <a:pt x="394" y="2734"/>
                    </a:lnTo>
                    <a:lnTo>
                      <a:pt x="382" y="2755"/>
                    </a:lnTo>
                    <a:lnTo>
                      <a:pt x="369" y="2773"/>
                    </a:lnTo>
                    <a:lnTo>
                      <a:pt x="356" y="2791"/>
                    </a:lnTo>
                    <a:lnTo>
                      <a:pt x="329" y="2824"/>
                    </a:lnTo>
                    <a:lnTo>
                      <a:pt x="302" y="2856"/>
                    </a:lnTo>
                    <a:lnTo>
                      <a:pt x="288" y="2872"/>
                    </a:lnTo>
                    <a:lnTo>
                      <a:pt x="275" y="2889"/>
                    </a:lnTo>
                    <a:lnTo>
                      <a:pt x="262" y="2906"/>
                    </a:lnTo>
                    <a:lnTo>
                      <a:pt x="250" y="2924"/>
                    </a:lnTo>
                    <a:lnTo>
                      <a:pt x="238" y="2944"/>
                    </a:lnTo>
                    <a:lnTo>
                      <a:pt x="227" y="2964"/>
                    </a:lnTo>
                    <a:lnTo>
                      <a:pt x="217" y="2987"/>
                    </a:lnTo>
                    <a:lnTo>
                      <a:pt x="208" y="3012"/>
                    </a:lnTo>
                    <a:lnTo>
                      <a:pt x="135" y="3101"/>
                    </a:lnTo>
                    <a:lnTo>
                      <a:pt x="116" y="3201"/>
                    </a:lnTo>
                    <a:lnTo>
                      <a:pt x="116" y="3201"/>
                    </a:lnTo>
                    <a:lnTo>
                      <a:pt x="186" y="3251"/>
                    </a:lnTo>
                    <a:lnTo>
                      <a:pt x="186" y="3257"/>
                    </a:lnTo>
                    <a:lnTo>
                      <a:pt x="184" y="3262"/>
                    </a:lnTo>
                    <a:lnTo>
                      <a:pt x="183" y="3267"/>
                    </a:lnTo>
                    <a:lnTo>
                      <a:pt x="179" y="3271"/>
                    </a:lnTo>
                    <a:lnTo>
                      <a:pt x="174" y="3280"/>
                    </a:lnTo>
                    <a:lnTo>
                      <a:pt x="169" y="3287"/>
                    </a:lnTo>
                    <a:lnTo>
                      <a:pt x="166" y="3290"/>
                    </a:lnTo>
                    <a:lnTo>
                      <a:pt x="164" y="3295"/>
                    </a:lnTo>
                    <a:lnTo>
                      <a:pt x="162" y="3298"/>
                    </a:lnTo>
                    <a:lnTo>
                      <a:pt x="162" y="3302"/>
                    </a:lnTo>
                    <a:lnTo>
                      <a:pt x="162" y="3307"/>
                    </a:lnTo>
                    <a:lnTo>
                      <a:pt x="163" y="3312"/>
                    </a:lnTo>
                    <a:lnTo>
                      <a:pt x="165" y="3317"/>
                    </a:lnTo>
                    <a:lnTo>
                      <a:pt x="170" y="3324"/>
                    </a:lnTo>
                    <a:lnTo>
                      <a:pt x="184" y="3341"/>
                    </a:lnTo>
                    <a:lnTo>
                      <a:pt x="198" y="3356"/>
                    </a:lnTo>
                    <a:lnTo>
                      <a:pt x="213" y="3371"/>
                    </a:lnTo>
                    <a:lnTo>
                      <a:pt x="228" y="3386"/>
                    </a:lnTo>
                    <a:lnTo>
                      <a:pt x="243" y="3400"/>
                    </a:lnTo>
                    <a:lnTo>
                      <a:pt x="258" y="3417"/>
                    </a:lnTo>
                    <a:lnTo>
                      <a:pt x="273" y="3435"/>
                    </a:lnTo>
                    <a:lnTo>
                      <a:pt x="286" y="3456"/>
                    </a:lnTo>
                    <a:lnTo>
                      <a:pt x="291" y="3463"/>
                    </a:lnTo>
                    <a:lnTo>
                      <a:pt x="294" y="3472"/>
                    </a:lnTo>
                    <a:lnTo>
                      <a:pt x="299" y="3480"/>
                    </a:lnTo>
                    <a:lnTo>
                      <a:pt x="302" y="3489"/>
                    </a:lnTo>
                    <a:lnTo>
                      <a:pt x="306" y="3507"/>
                    </a:lnTo>
                    <a:lnTo>
                      <a:pt x="312" y="3526"/>
                    </a:lnTo>
                    <a:lnTo>
                      <a:pt x="316" y="3544"/>
                    </a:lnTo>
                    <a:lnTo>
                      <a:pt x="321" y="3562"/>
                    </a:lnTo>
                    <a:lnTo>
                      <a:pt x="327" y="3581"/>
                    </a:lnTo>
                    <a:lnTo>
                      <a:pt x="336" y="3597"/>
                    </a:lnTo>
                    <a:lnTo>
                      <a:pt x="343" y="3611"/>
                    </a:lnTo>
                    <a:lnTo>
                      <a:pt x="351" y="3621"/>
                    </a:lnTo>
                    <a:lnTo>
                      <a:pt x="357" y="3626"/>
                    </a:lnTo>
                    <a:lnTo>
                      <a:pt x="365" y="3629"/>
                    </a:lnTo>
                    <a:lnTo>
                      <a:pt x="382" y="3635"/>
                    </a:lnTo>
                    <a:lnTo>
                      <a:pt x="408" y="3645"/>
                    </a:lnTo>
                    <a:lnTo>
                      <a:pt x="414" y="3647"/>
                    </a:lnTo>
                    <a:lnTo>
                      <a:pt x="418" y="3650"/>
                    </a:lnTo>
                    <a:lnTo>
                      <a:pt x="422" y="3654"/>
                    </a:lnTo>
                    <a:lnTo>
                      <a:pt x="426" y="3659"/>
                    </a:lnTo>
                    <a:lnTo>
                      <a:pt x="431" y="3667"/>
                    </a:lnTo>
                    <a:lnTo>
                      <a:pt x="435" y="3677"/>
                    </a:lnTo>
                    <a:lnTo>
                      <a:pt x="440" y="3699"/>
                    </a:lnTo>
                    <a:lnTo>
                      <a:pt x="442" y="3717"/>
                    </a:lnTo>
                    <a:lnTo>
                      <a:pt x="444" y="3726"/>
                    </a:lnTo>
                    <a:lnTo>
                      <a:pt x="447" y="3731"/>
                    </a:lnTo>
                    <a:lnTo>
                      <a:pt x="448" y="3734"/>
                    </a:lnTo>
                    <a:lnTo>
                      <a:pt x="450" y="3735"/>
                    </a:lnTo>
                    <a:lnTo>
                      <a:pt x="453" y="3737"/>
                    </a:lnTo>
                    <a:lnTo>
                      <a:pt x="456" y="3737"/>
                    </a:lnTo>
                    <a:lnTo>
                      <a:pt x="459" y="3737"/>
                    </a:lnTo>
                    <a:lnTo>
                      <a:pt x="463" y="3736"/>
                    </a:lnTo>
                    <a:lnTo>
                      <a:pt x="468" y="3734"/>
                    </a:lnTo>
                    <a:lnTo>
                      <a:pt x="473" y="3732"/>
                    </a:lnTo>
                    <a:lnTo>
                      <a:pt x="486" y="3723"/>
                    </a:lnTo>
                    <a:lnTo>
                      <a:pt x="502" y="3712"/>
                    </a:lnTo>
                    <a:lnTo>
                      <a:pt x="521" y="3697"/>
                    </a:lnTo>
                    <a:lnTo>
                      <a:pt x="536" y="3686"/>
                    </a:lnTo>
                    <a:lnTo>
                      <a:pt x="549" y="3677"/>
                    </a:lnTo>
                    <a:lnTo>
                      <a:pt x="561" y="3670"/>
                    </a:lnTo>
                    <a:lnTo>
                      <a:pt x="570" y="3666"/>
                    </a:lnTo>
                    <a:lnTo>
                      <a:pt x="578" y="3664"/>
                    </a:lnTo>
                    <a:lnTo>
                      <a:pt x="585" y="3664"/>
                    </a:lnTo>
                    <a:lnTo>
                      <a:pt x="591" y="3665"/>
                    </a:lnTo>
                    <a:lnTo>
                      <a:pt x="598" y="3668"/>
                    </a:lnTo>
                    <a:lnTo>
                      <a:pt x="603" y="3673"/>
                    </a:lnTo>
                    <a:lnTo>
                      <a:pt x="611" y="3678"/>
                    </a:lnTo>
                    <a:lnTo>
                      <a:pt x="618" y="3683"/>
                    </a:lnTo>
                    <a:lnTo>
                      <a:pt x="627" y="3690"/>
                    </a:lnTo>
                    <a:lnTo>
                      <a:pt x="637" y="3696"/>
                    </a:lnTo>
                    <a:lnTo>
                      <a:pt x="649" y="3704"/>
                    </a:lnTo>
                    <a:lnTo>
                      <a:pt x="664" y="3710"/>
                    </a:lnTo>
                    <a:lnTo>
                      <a:pt x="664" y="3713"/>
                    </a:lnTo>
                    <a:lnTo>
                      <a:pt x="665" y="3714"/>
                    </a:lnTo>
                    <a:lnTo>
                      <a:pt x="666" y="3715"/>
                    </a:lnTo>
                    <a:lnTo>
                      <a:pt x="669" y="3716"/>
                    </a:lnTo>
                    <a:lnTo>
                      <a:pt x="675" y="3717"/>
                    </a:lnTo>
                    <a:lnTo>
                      <a:pt x="683" y="3718"/>
                    </a:lnTo>
                    <a:lnTo>
                      <a:pt x="699" y="3718"/>
                    </a:lnTo>
                    <a:lnTo>
                      <a:pt x="709" y="3717"/>
                    </a:lnTo>
                    <a:lnTo>
                      <a:pt x="727" y="3713"/>
                    </a:lnTo>
                    <a:lnTo>
                      <a:pt x="753" y="3704"/>
                    </a:lnTo>
                    <a:lnTo>
                      <a:pt x="784" y="3694"/>
                    </a:lnTo>
                    <a:lnTo>
                      <a:pt x="817" y="3685"/>
                    </a:lnTo>
                    <a:lnTo>
                      <a:pt x="834" y="3680"/>
                    </a:lnTo>
                    <a:lnTo>
                      <a:pt x="849" y="3677"/>
                    </a:lnTo>
                    <a:lnTo>
                      <a:pt x="864" y="3675"/>
                    </a:lnTo>
                    <a:lnTo>
                      <a:pt x="878" y="3673"/>
                    </a:lnTo>
                    <a:lnTo>
                      <a:pt x="890" y="3673"/>
                    </a:lnTo>
                    <a:lnTo>
                      <a:pt x="900" y="3673"/>
                    </a:lnTo>
                    <a:lnTo>
                      <a:pt x="904" y="3675"/>
                    </a:lnTo>
                    <a:lnTo>
                      <a:pt x="908" y="3676"/>
                    </a:lnTo>
                    <a:lnTo>
                      <a:pt x="910" y="3678"/>
                    </a:lnTo>
                    <a:lnTo>
                      <a:pt x="912" y="3680"/>
                    </a:lnTo>
                    <a:lnTo>
                      <a:pt x="913" y="3683"/>
                    </a:lnTo>
                    <a:lnTo>
                      <a:pt x="912" y="3687"/>
                    </a:lnTo>
                    <a:lnTo>
                      <a:pt x="911" y="3691"/>
                    </a:lnTo>
                    <a:lnTo>
                      <a:pt x="908" y="3695"/>
                    </a:lnTo>
                    <a:lnTo>
                      <a:pt x="900" y="3705"/>
                    </a:lnTo>
                    <a:lnTo>
                      <a:pt x="891" y="3715"/>
                    </a:lnTo>
                    <a:lnTo>
                      <a:pt x="871" y="3735"/>
                    </a:lnTo>
                    <a:lnTo>
                      <a:pt x="857" y="3749"/>
                    </a:lnTo>
                    <a:lnTo>
                      <a:pt x="851" y="3757"/>
                    </a:lnTo>
                    <a:lnTo>
                      <a:pt x="847" y="3768"/>
                    </a:lnTo>
                    <a:lnTo>
                      <a:pt x="842" y="3778"/>
                    </a:lnTo>
                    <a:lnTo>
                      <a:pt x="837" y="3791"/>
                    </a:lnTo>
                    <a:lnTo>
                      <a:pt x="830" y="3815"/>
                    </a:lnTo>
                    <a:lnTo>
                      <a:pt x="825" y="3836"/>
                    </a:lnTo>
                    <a:lnTo>
                      <a:pt x="828" y="3850"/>
                    </a:lnTo>
                    <a:lnTo>
                      <a:pt x="830" y="3866"/>
                    </a:lnTo>
                    <a:lnTo>
                      <a:pt x="830" y="3883"/>
                    </a:lnTo>
                    <a:lnTo>
                      <a:pt x="831" y="3901"/>
                    </a:lnTo>
                    <a:lnTo>
                      <a:pt x="832" y="3918"/>
                    </a:lnTo>
                    <a:lnTo>
                      <a:pt x="834" y="3933"/>
                    </a:lnTo>
                    <a:lnTo>
                      <a:pt x="835" y="3940"/>
                    </a:lnTo>
                    <a:lnTo>
                      <a:pt x="837" y="3948"/>
                    </a:lnTo>
                    <a:lnTo>
                      <a:pt x="841" y="3955"/>
                    </a:lnTo>
                    <a:lnTo>
                      <a:pt x="844" y="3960"/>
                    </a:lnTo>
                    <a:lnTo>
                      <a:pt x="852" y="3972"/>
                    </a:lnTo>
                    <a:lnTo>
                      <a:pt x="861" y="3983"/>
                    </a:lnTo>
                    <a:lnTo>
                      <a:pt x="871" y="3991"/>
                    </a:lnTo>
                    <a:lnTo>
                      <a:pt x="881" y="3999"/>
                    </a:lnTo>
                    <a:lnTo>
                      <a:pt x="890" y="4006"/>
                    </a:lnTo>
                    <a:lnTo>
                      <a:pt x="902" y="4013"/>
                    </a:lnTo>
                    <a:lnTo>
                      <a:pt x="914" y="4019"/>
                    </a:lnTo>
                    <a:lnTo>
                      <a:pt x="927" y="4026"/>
                    </a:lnTo>
                    <a:lnTo>
                      <a:pt x="938" y="4031"/>
                    </a:lnTo>
                    <a:lnTo>
                      <a:pt x="947" y="4037"/>
                    </a:lnTo>
                    <a:lnTo>
                      <a:pt x="954" y="4042"/>
                    </a:lnTo>
                    <a:lnTo>
                      <a:pt x="961" y="4047"/>
                    </a:lnTo>
                    <a:lnTo>
                      <a:pt x="966" y="4054"/>
                    </a:lnTo>
                    <a:lnTo>
                      <a:pt x="970" y="4059"/>
                    </a:lnTo>
                    <a:lnTo>
                      <a:pt x="972" y="4065"/>
                    </a:lnTo>
                    <a:lnTo>
                      <a:pt x="974" y="4071"/>
                    </a:lnTo>
                    <a:lnTo>
                      <a:pt x="974" y="4077"/>
                    </a:lnTo>
                    <a:lnTo>
                      <a:pt x="972" y="4083"/>
                    </a:lnTo>
                    <a:lnTo>
                      <a:pt x="970" y="4090"/>
                    </a:lnTo>
                    <a:lnTo>
                      <a:pt x="965" y="4095"/>
                    </a:lnTo>
                    <a:lnTo>
                      <a:pt x="961" y="4101"/>
                    </a:lnTo>
                    <a:lnTo>
                      <a:pt x="954" y="4107"/>
                    </a:lnTo>
                    <a:lnTo>
                      <a:pt x="947" y="4112"/>
                    </a:lnTo>
                    <a:lnTo>
                      <a:pt x="937" y="4119"/>
                    </a:lnTo>
                    <a:lnTo>
                      <a:pt x="927" y="4122"/>
                    </a:lnTo>
                    <a:lnTo>
                      <a:pt x="914" y="4124"/>
                    </a:lnTo>
                    <a:lnTo>
                      <a:pt x="898" y="4126"/>
                    </a:lnTo>
                    <a:lnTo>
                      <a:pt x="882" y="4128"/>
                    </a:lnTo>
                    <a:lnTo>
                      <a:pt x="874" y="4131"/>
                    </a:lnTo>
                    <a:lnTo>
                      <a:pt x="867" y="4133"/>
                    </a:lnTo>
                    <a:lnTo>
                      <a:pt x="860" y="4135"/>
                    </a:lnTo>
                    <a:lnTo>
                      <a:pt x="854" y="4138"/>
                    </a:lnTo>
                    <a:lnTo>
                      <a:pt x="848" y="4141"/>
                    </a:lnTo>
                    <a:lnTo>
                      <a:pt x="845" y="4146"/>
                    </a:lnTo>
                    <a:lnTo>
                      <a:pt x="843" y="4151"/>
                    </a:lnTo>
                    <a:lnTo>
                      <a:pt x="842" y="4158"/>
                    </a:lnTo>
                    <a:lnTo>
                      <a:pt x="863" y="4171"/>
                    </a:lnTo>
                    <a:lnTo>
                      <a:pt x="904" y="4196"/>
                    </a:lnTo>
                    <a:lnTo>
                      <a:pt x="946" y="4225"/>
                    </a:lnTo>
                    <a:lnTo>
                      <a:pt x="968" y="4241"/>
                    </a:lnTo>
                    <a:lnTo>
                      <a:pt x="968" y="4241"/>
                    </a:lnTo>
                    <a:lnTo>
                      <a:pt x="1250" y="4175"/>
                    </a:lnTo>
                    <a:lnTo>
                      <a:pt x="1247" y="4166"/>
                    </a:lnTo>
                    <a:lnTo>
                      <a:pt x="1243" y="4159"/>
                    </a:lnTo>
                    <a:lnTo>
                      <a:pt x="1238" y="4151"/>
                    </a:lnTo>
                    <a:lnTo>
                      <a:pt x="1233" y="4142"/>
                    </a:lnTo>
                    <a:lnTo>
                      <a:pt x="1227" y="4135"/>
                    </a:lnTo>
                    <a:lnTo>
                      <a:pt x="1223" y="4127"/>
                    </a:lnTo>
                    <a:lnTo>
                      <a:pt x="1221" y="4121"/>
                    </a:lnTo>
                    <a:lnTo>
                      <a:pt x="1219" y="4114"/>
                    </a:lnTo>
                    <a:lnTo>
                      <a:pt x="1218" y="4095"/>
                    </a:lnTo>
                    <a:lnTo>
                      <a:pt x="1217" y="4081"/>
                    </a:lnTo>
                    <a:lnTo>
                      <a:pt x="1214" y="4070"/>
                    </a:lnTo>
                    <a:lnTo>
                      <a:pt x="1210" y="4060"/>
                    </a:lnTo>
                    <a:lnTo>
                      <a:pt x="1199" y="4040"/>
                    </a:lnTo>
                    <a:lnTo>
                      <a:pt x="1181" y="4011"/>
                    </a:lnTo>
                    <a:lnTo>
                      <a:pt x="1175" y="3998"/>
                    </a:lnTo>
                    <a:lnTo>
                      <a:pt x="1167" y="3976"/>
                    </a:lnTo>
                    <a:lnTo>
                      <a:pt x="1159" y="3947"/>
                    </a:lnTo>
                    <a:lnTo>
                      <a:pt x="1153" y="3916"/>
                    </a:lnTo>
                    <a:lnTo>
                      <a:pt x="1149" y="3899"/>
                    </a:lnTo>
                    <a:lnTo>
                      <a:pt x="1147" y="3884"/>
                    </a:lnTo>
                    <a:lnTo>
                      <a:pt x="1146" y="3870"/>
                    </a:lnTo>
                    <a:lnTo>
                      <a:pt x="1147" y="3856"/>
                    </a:lnTo>
                    <a:lnTo>
                      <a:pt x="1148" y="3845"/>
                    </a:lnTo>
                    <a:lnTo>
                      <a:pt x="1152" y="3836"/>
                    </a:lnTo>
                    <a:lnTo>
                      <a:pt x="1154" y="3831"/>
                    </a:lnTo>
                    <a:lnTo>
                      <a:pt x="1156" y="3828"/>
                    </a:lnTo>
                    <a:lnTo>
                      <a:pt x="1159" y="3825"/>
                    </a:lnTo>
                    <a:lnTo>
                      <a:pt x="1162" y="3824"/>
                    </a:lnTo>
                    <a:lnTo>
                      <a:pt x="1172" y="3821"/>
                    </a:lnTo>
                    <a:lnTo>
                      <a:pt x="1182" y="3818"/>
                    </a:lnTo>
                    <a:lnTo>
                      <a:pt x="1195" y="3817"/>
                    </a:lnTo>
                    <a:lnTo>
                      <a:pt x="1208" y="3816"/>
                    </a:lnTo>
                    <a:lnTo>
                      <a:pt x="1237" y="3816"/>
                    </a:lnTo>
                    <a:lnTo>
                      <a:pt x="1269" y="3816"/>
                    </a:lnTo>
                    <a:lnTo>
                      <a:pt x="1301" y="3817"/>
                    </a:lnTo>
                    <a:lnTo>
                      <a:pt x="1331" y="3818"/>
                    </a:lnTo>
                    <a:lnTo>
                      <a:pt x="1360" y="3818"/>
                    </a:lnTo>
                    <a:lnTo>
                      <a:pt x="1382" y="3817"/>
                    </a:lnTo>
                    <a:lnTo>
                      <a:pt x="1404" y="3814"/>
                    </a:lnTo>
                    <a:lnTo>
                      <a:pt x="1421" y="3811"/>
                    </a:lnTo>
                    <a:lnTo>
                      <a:pt x="1438" y="3807"/>
                    </a:lnTo>
                    <a:lnTo>
                      <a:pt x="1452" y="3801"/>
                    </a:lnTo>
                    <a:lnTo>
                      <a:pt x="1480" y="3789"/>
                    </a:lnTo>
                    <a:lnTo>
                      <a:pt x="1515" y="3776"/>
                    </a:lnTo>
                    <a:lnTo>
                      <a:pt x="1525" y="3773"/>
                    </a:lnTo>
                    <a:lnTo>
                      <a:pt x="1538" y="3770"/>
                    </a:lnTo>
                    <a:lnTo>
                      <a:pt x="1553" y="3768"/>
                    </a:lnTo>
                    <a:lnTo>
                      <a:pt x="1569" y="3767"/>
                    </a:lnTo>
                    <a:lnTo>
                      <a:pt x="1602" y="3764"/>
                    </a:lnTo>
                    <a:lnTo>
                      <a:pt x="1639" y="3763"/>
                    </a:lnTo>
                    <a:lnTo>
                      <a:pt x="1675" y="3763"/>
                    </a:lnTo>
                    <a:lnTo>
                      <a:pt x="1711" y="3764"/>
                    </a:lnTo>
                    <a:lnTo>
                      <a:pt x="1742" y="3766"/>
                    </a:lnTo>
                    <a:lnTo>
                      <a:pt x="1770" y="3766"/>
                    </a:lnTo>
                    <a:lnTo>
                      <a:pt x="1782" y="3766"/>
                    </a:lnTo>
                    <a:lnTo>
                      <a:pt x="1796" y="3768"/>
                    </a:lnTo>
                    <a:lnTo>
                      <a:pt x="1810" y="3770"/>
                    </a:lnTo>
                    <a:lnTo>
                      <a:pt x="1825" y="3774"/>
                    </a:lnTo>
                    <a:lnTo>
                      <a:pt x="1853" y="3782"/>
                    </a:lnTo>
                    <a:lnTo>
                      <a:pt x="1878" y="3788"/>
                    </a:lnTo>
                    <a:lnTo>
                      <a:pt x="1888" y="3791"/>
                    </a:lnTo>
                    <a:lnTo>
                      <a:pt x="1898" y="3793"/>
                    </a:lnTo>
                    <a:lnTo>
                      <a:pt x="1907" y="3793"/>
                    </a:lnTo>
                    <a:lnTo>
                      <a:pt x="1917" y="3793"/>
                    </a:lnTo>
                    <a:lnTo>
                      <a:pt x="1924" y="3791"/>
                    </a:lnTo>
                    <a:lnTo>
                      <a:pt x="1933" y="3789"/>
                    </a:lnTo>
                    <a:lnTo>
                      <a:pt x="1941" y="3787"/>
                    </a:lnTo>
                    <a:lnTo>
                      <a:pt x="1949" y="3785"/>
                    </a:lnTo>
                    <a:lnTo>
                      <a:pt x="1981" y="3772"/>
                    </a:lnTo>
                    <a:lnTo>
                      <a:pt x="2015" y="3759"/>
                    </a:lnTo>
                    <a:lnTo>
                      <a:pt x="2022" y="3758"/>
                    </a:lnTo>
                    <a:lnTo>
                      <a:pt x="2028" y="3757"/>
                    </a:lnTo>
                    <a:lnTo>
                      <a:pt x="2035" y="3757"/>
                    </a:lnTo>
                    <a:lnTo>
                      <a:pt x="2040" y="3758"/>
                    </a:lnTo>
                    <a:lnTo>
                      <a:pt x="2050" y="3761"/>
                    </a:lnTo>
                    <a:lnTo>
                      <a:pt x="2059" y="3764"/>
                    </a:lnTo>
                    <a:lnTo>
                      <a:pt x="2066" y="3768"/>
                    </a:lnTo>
                    <a:lnTo>
                      <a:pt x="2074" y="3770"/>
                    </a:lnTo>
                    <a:lnTo>
                      <a:pt x="2078" y="3771"/>
                    </a:lnTo>
                    <a:lnTo>
                      <a:pt x="2081" y="3771"/>
                    </a:lnTo>
                    <a:lnTo>
                      <a:pt x="2086" y="3771"/>
                    </a:lnTo>
                    <a:lnTo>
                      <a:pt x="2089" y="3770"/>
                    </a:lnTo>
                    <a:lnTo>
                      <a:pt x="2097" y="3768"/>
                    </a:lnTo>
                    <a:lnTo>
                      <a:pt x="2106" y="3766"/>
                    </a:lnTo>
                    <a:lnTo>
                      <a:pt x="2116" y="3766"/>
                    </a:lnTo>
                    <a:lnTo>
                      <a:pt x="2127" y="3766"/>
                    </a:lnTo>
                    <a:lnTo>
                      <a:pt x="2152" y="3769"/>
                    </a:lnTo>
                    <a:lnTo>
                      <a:pt x="2178" y="3773"/>
                    </a:lnTo>
                    <a:lnTo>
                      <a:pt x="2206" y="3780"/>
                    </a:lnTo>
                    <a:lnTo>
                      <a:pt x="2232" y="3786"/>
                    </a:lnTo>
                    <a:lnTo>
                      <a:pt x="2257" y="3791"/>
                    </a:lnTo>
                    <a:lnTo>
                      <a:pt x="2279" y="3796"/>
                    </a:lnTo>
                    <a:lnTo>
                      <a:pt x="2302" y="3802"/>
                    </a:lnTo>
                    <a:lnTo>
                      <a:pt x="2328" y="3809"/>
                    </a:lnTo>
                    <a:lnTo>
                      <a:pt x="2354" y="3817"/>
                    </a:lnTo>
                    <a:lnTo>
                      <a:pt x="2381" y="3826"/>
                    </a:lnTo>
                    <a:lnTo>
                      <a:pt x="2407" y="3832"/>
                    </a:lnTo>
                    <a:lnTo>
                      <a:pt x="2433" y="3838"/>
                    </a:lnTo>
                    <a:lnTo>
                      <a:pt x="2444" y="3839"/>
                    </a:lnTo>
                    <a:lnTo>
                      <a:pt x="2456" y="3840"/>
                    </a:lnTo>
                    <a:lnTo>
                      <a:pt x="2468" y="3840"/>
                    </a:lnTo>
                    <a:lnTo>
                      <a:pt x="2480" y="3839"/>
                    </a:lnTo>
                    <a:lnTo>
                      <a:pt x="2498" y="3837"/>
                    </a:lnTo>
                    <a:lnTo>
                      <a:pt x="2516" y="3836"/>
                    </a:lnTo>
                    <a:lnTo>
                      <a:pt x="2535" y="3836"/>
                    </a:lnTo>
                    <a:lnTo>
                      <a:pt x="2555" y="3838"/>
                    </a:lnTo>
                    <a:lnTo>
                      <a:pt x="2594" y="3843"/>
                    </a:lnTo>
                    <a:lnTo>
                      <a:pt x="2634" y="3850"/>
                    </a:lnTo>
                    <a:lnTo>
                      <a:pt x="2673" y="3855"/>
                    </a:lnTo>
                    <a:lnTo>
                      <a:pt x="2711" y="3859"/>
                    </a:lnTo>
                    <a:lnTo>
                      <a:pt x="2728" y="3859"/>
                    </a:lnTo>
                    <a:lnTo>
                      <a:pt x="2746" y="3858"/>
                    </a:lnTo>
                    <a:lnTo>
                      <a:pt x="2762" y="3856"/>
                    </a:lnTo>
                    <a:lnTo>
                      <a:pt x="2777" y="3852"/>
                    </a:lnTo>
                    <a:lnTo>
                      <a:pt x="2798" y="3844"/>
                    </a:lnTo>
                    <a:lnTo>
                      <a:pt x="2815" y="3838"/>
                    </a:lnTo>
                    <a:lnTo>
                      <a:pt x="2828" y="3831"/>
                    </a:lnTo>
                    <a:lnTo>
                      <a:pt x="2837" y="3826"/>
                    </a:lnTo>
                    <a:lnTo>
                      <a:pt x="2841" y="3823"/>
                    </a:lnTo>
                    <a:lnTo>
                      <a:pt x="2843" y="3821"/>
                    </a:lnTo>
                    <a:lnTo>
                      <a:pt x="2845" y="3817"/>
                    </a:lnTo>
                    <a:lnTo>
                      <a:pt x="2846" y="3815"/>
                    </a:lnTo>
                    <a:lnTo>
                      <a:pt x="2846" y="3812"/>
                    </a:lnTo>
                    <a:lnTo>
                      <a:pt x="2846" y="3810"/>
                    </a:lnTo>
                    <a:lnTo>
                      <a:pt x="2845" y="3807"/>
                    </a:lnTo>
                    <a:lnTo>
                      <a:pt x="2844" y="3803"/>
                    </a:lnTo>
                    <a:lnTo>
                      <a:pt x="2840" y="3798"/>
                    </a:lnTo>
                    <a:lnTo>
                      <a:pt x="2835" y="3791"/>
                    </a:lnTo>
                    <a:lnTo>
                      <a:pt x="2827" y="3784"/>
                    </a:lnTo>
                    <a:lnTo>
                      <a:pt x="2819" y="3776"/>
                    </a:lnTo>
                    <a:lnTo>
                      <a:pt x="2810" y="3768"/>
                    </a:lnTo>
                    <a:lnTo>
                      <a:pt x="2801" y="3758"/>
                    </a:lnTo>
                    <a:lnTo>
                      <a:pt x="2791" y="3747"/>
                    </a:lnTo>
                    <a:lnTo>
                      <a:pt x="2781" y="3735"/>
                    </a:lnTo>
                    <a:lnTo>
                      <a:pt x="2778" y="3731"/>
                    </a:lnTo>
                    <a:lnTo>
                      <a:pt x="2776" y="3727"/>
                    </a:lnTo>
                    <a:lnTo>
                      <a:pt x="2774" y="3720"/>
                    </a:lnTo>
                    <a:lnTo>
                      <a:pt x="2773" y="3715"/>
                    </a:lnTo>
                    <a:lnTo>
                      <a:pt x="2770" y="3700"/>
                    </a:lnTo>
                    <a:lnTo>
                      <a:pt x="2768" y="3683"/>
                    </a:lnTo>
                    <a:lnTo>
                      <a:pt x="2767" y="3666"/>
                    </a:lnTo>
                    <a:lnTo>
                      <a:pt x="2768" y="3647"/>
                    </a:lnTo>
                    <a:lnTo>
                      <a:pt x="2770" y="3627"/>
                    </a:lnTo>
                    <a:lnTo>
                      <a:pt x="2772" y="3608"/>
                    </a:lnTo>
                    <a:lnTo>
                      <a:pt x="2775" y="3588"/>
                    </a:lnTo>
                    <a:lnTo>
                      <a:pt x="2778" y="3569"/>
                    </a:lnTo>
                    <a:lnTo>
                      <a:pt x="2783" y="3551"/>
                    </a:lnTo>
                    <a:lnTo>
                      <a:pt x="2787" y="3533"/>
                    </a:lnTo>
                    <a:lnTo>
                      <a:pt x="2792" y="3518"/>
                    </a:lnTo>
                    <a:lnTo>
                      <a:pt x="2798" y="3504"/>
                    </a:lnTo>
                    <a:lnTo>
                      <a:pt x="2803" y="3493"/>
                    </a:lnTo>
                    <a:lnTo>
                      <a:pt x="2809" y="3486"/>
                    </a:lnTo>
                    <a:lnTo>
                      <a:pt x="2811" y="3484"/>
                    </a:lnTo>
                    <a:lnTo>
                      <a:pt x="2814" y="3483"/>
                    </a:lnTo>
                    <a:lnTo>
                      <a:pt x="2817" y="3481"/>
                    </a:lnTo>
                    <a:lnTo>
                      <a:pt x="2820" y="3481"/>
                    </a:lnTo>
                    <a:lnTo>
                      <a:pt x="2830" y="3481"/>
                    </a:lnTo>
                    <a:lnTo>
                      <a:pt x="2840" y="3481"/>
                    </a:lnTo>
                    <a:lnTo>
                      <a:pt x="2850" y="3483"/>
                    </a:lnTo>
                    <a:lnTo>
                      <a:pt x="2859" y="3483"/>
                    </a:lnTo>
                    <a:lnTo>
                      <a:pt x="2868" y="3483"/>
                    </a:lnTo>
                    <a:lnTo>
                      <a:pt x="2876" y="3480"/>
                    </a:lnTo>
                    <a:lnTo>
                      <a:pt x="2883" y="3476"/>
                    </a:lnTo>
                    <a:lnTo>
                      <a:pt x="2890" y="3472"/>
                    </a:lnTo>
                    <a:lnTo>
                      <a:pt x="2897" y="3465"/>
                    </a:lnTo>
                    <a:lnTo>
                      <a:pt x="2906" y="3459"/>
                    </a:lnTo>
                    <a:lnTo>
                      <a:pt x="2921" y="3444"/>
                    </a:lnTo>
                    <a:lnTo>
                      <a:pt x="2938" y="3426"/>
                    </a:lnTo>
                    <a:lnTo>
                      <a:pt x="2968" y="3391"/>
                    </a:lnTo>
                    <a:lnTo>
                      <a:pt x="2995" y="3359"/>
                    </a:lnTo>
                    <a:lnTo>
                      <a:pt x="2760" y="3173"/>
                    </a:lnTo>
                    <a:lnTo>
                      <a:pt x="2627" y="3113"/>
                    </a:lnTo>
                    <a:lnTo>
                      <a:pt x="2476" y="2856"/>
                    </a:lnTo>
                    <a:lnTo>
                      <a:pt x="2489" y="2859"/>
                    </a:lnTo>
                    <a:lnTo>
                      <a:pt x="2500" y="2862"/>
                    </a:lnTo>
                    <a:lnTo>
                      <a:pt x="2511" y="2860"/>
                    </a:lnTo>
                    <a:lnTo>
                      <a:pt x="2519" y="2858"/>
                    </a:lnTo>
                    <a:lnTo>
                      <a:pt x="2527" y="2854"/>
                    </a:lnTo>
                    <a:lnTo>
                      <a:pt x="2532" y="2848"/>
                    </a:lnTo>
                    <a:lnTo>
                      <a:pt x="2538" y="2841"/>
                    </a:lnTo>
                    <a:lnTo>
                      <a:pt x="2542" y="2832"/>
                    </a:lnTo>
                    <a:lnTo>
                      <a:pt x="2546" y="2824"/>
                    </a:lnTo>
                    <a:lnTo>
                      <a:pt x="2548" y="2814"/>
                    </a:lnTo>
                    <a:lnTo>
                      <a:pt x="2551" y="2803"/>
                    </a:lnTo>
                    <a:lnTo>
                      <a:pt x="2552" y="2792"/>
                    </a:lnTo>
                    <a:lnTo>
                      <a:pt x="2554" y="2771"/>
                    </a:lnTo>
                    <a:lnTo>
                      <a:pt x="2554" y="2751"/>
                    </a:lnTo>
                    <a:lnTo>
                      <a:pt x="2553" y="2746"/>
                    </a:lnTo>
                    <a:lnTo>
                      <a:pt x="2551" y="2741"/>
                    </a:lnTo>
                    <a:lnTo>
                      <a:pt x="2547" y="2735"/>
                    </a:lnTo>
                    <a:lnTo>
                      <a:pt x="2542" y="2731"/>
                    </a:lnTo>
                    <a:lnTo>
                      <a:pt x="2529" y="2720"/>
                    </a:lnTo>
                    <a:lnTo>
                      <a:pt x="2514" y="2711"/>
                    </a:lnTo>
                    <a:lnTo>
                      <a:pt x="2498" y="2702"/>
                    </a:lnTo>
                    <a:lnTo>
                      <a:pt x="2482" y="2694"/>
                    </a:lnTo>
                    <a:lnTo>
                      <a:pt x="2469" y="2686"/>
                    </a:lnTo>
                    <a:lnTo>
                      <a:pt x="2460" y="2679"/>
                    </a:lnTo>
                    <a:lnTo>
                      <a:pt x="2455" y="2674"/>
                    </a:lnTo>
                    <a:lnTo>
                      <a:pt x="2452" y="2668"/>
                    </a:lnTo>
                    <a:lnTo>
                      <a:pt x="2449" y="2663"/>
                    </a:lnTo>
                    <a:lnTo>
                      <a:pt x="2447" y="2655"/>
                    </a:lnTo>
                    <a:lnTo>
                      <a:pt x="2443" y="2641"/>
                    </a:lnTo>
                    <a:lnTo>
                      <a:pt x="2440" y="2625"/>
                    </a:lnTo>
                    <a:lnTo>
                      <a:pt x="2438" y="2610"/>
                    </a:lnTo>
                    <a:lnTo>
                      <a:pt x="2435" y="2594"/>
                    </a:lnTo>
                    <a:lnTo>
                      <a:pt x="2433" y="2587"/>
                    </a:lnTo>
                    <a:lnTo>
                      <a:pt x="2430" y="2580"/>
                    </a:lnTo>
                    <a:lnTo>
                      <a:pt x="2427" y="2573"/>
                    </a:lnTo>
                    <a:lnTo>
                      <a:pt x="2424" y="2568"/>
                    </a:lnTo>
                    <a:lnTo>
                      <a:pt x="2413" y="2554"/>
                    </a:lnTo>
                    <a:lnTo>
                      <a:pt x="2403" y="2542"/>
                    </a:lnTo>
                    <a:lnTo>
                      <a:pt x="2395" y="2532"/>
                    </a:lnTo>
                    <a:lnTo>
                      <a:pt x="2386" y="2524"/>
                    </a:lnTo>
                    <a:lnTo>
                      <a:pt x="2372" y="2509"/>
                    </a:lnTo>
                    <a:lnTo>
                      <a:pt x="2362" y="2497"/>
                    </a:lnTo>
                    <a:lnTo>
                      <a:pt x="2358" y="2490"/>
                    </a:lnTo>
                    <a:lnTo>
                      <a:pt x="2356" y="2482"/>
                    </a:lnTo>
                    <a:lnTo>
                      <a:pt x="2353" y="2475"/>
                    </a:lnTo>
                    <a:lnTo>
                      <a:pt x="2352" y="2464"/>
                    </a:lnTo>
                    <a:lnTo>
                      <a:pt x="2353" y="2452"/>
                    </a:lnTo>
                    <a:lnTo>
                      <a:pt x="2354" y="2438"/>
                    </a:lnTo>
                    <a:lnTo>
                      <a:pt x="2357" y="2421"/>
                    </a:lnTo>
                    <a:lnTo>
                      <a:pt x="2360" y="2401"/>
                    </a:lnTo>
                    <a:lnTo>
                      <a:pt x="2362" y="2392"/>
                    </a:lnTo>
                    <a:lnTo>
                      <a:pt x="2365" y="2383"/>
                    </a:lnTo>
                    <a:lnTo>
                      <a:pt x="2369" y="2374"/>
                    </a:lnTo>
                    <a:lnTo>
                      <a:pt x="2372" y="2366"/>
                    </a:lnTo>
                    <a:lnTo>
                      <a:pt x="2381" y="2351"/>
                    </a:lnTo>
                    <a:lnTo>
                      <a:pt x="2389" y="2337"/>
                    </a:lnTo>
                    <a:lnTo>
                      <a:pt x="2394" y="2329"/>
                    </a:lnTo>
                    <a:lnTo>
                      <a:pt x="2397" y="2322"/>
                    </a:lnTo>
                    <a:lnTo>
                      <a:pt x="2400" y="2314"/>
                    </a:lnTo>
                    <a:lnTo>
                      <a:pt x="2403" y="2305"/>
                    </a:lnTo>
                    <a:lnTo>
                      <a:pt x="2404" y="2298"/>
                    </a:lnTo>
                    <a:lnTo>
                      <a:pt x="2405" y="2289"/>
                    </a:lnTo>
                    <a:lnTo>
                      <a:pt x="2405" y="2279"/>
                    </a:lnTo>
                    <a:lnTo>
                      <a:pt x="2403" y="2270"/>
                    </a:lnTo>
                    <a:lnTo>
                      <a:pt x="2403" y="2263"/>
                    </a:lnTo>
                    <a:lnTo>
                      <a:pt x="2403" y="2258"/>
                    </a:lnTo>
                    <a:lnTo>
                      <a:pt x="2405" y="2254"/>
                    </a:lnTo>
                    <a:lnTo>
                      <a:pt x="2408" y="2249"/>
                    </a:lnTo>
                    <a:lnTo>
                      <a:pt x="2415" y="2242"/>
                    </a:lnTo>
                    <a:lnTo>
                      <a:pt x="2423" y="2235"/>
                    </a:lnTo>
                    <a:lnTo>
                      <a:pt x="2430" y="2229"/>
                    </a:lnTo>
                    <a:lnTo>
                      <a:pt x="2436" y="2221"/>
                    </a:lnTo>
                    <a:lnTo>
                      <a:pt x="2437" y="2218"/>
                    </a:lnTo>
                    <a:lnTo>
                      <a:pt x="2437" y="2212"/>
                    </a:lnTo>
                    <a:lnTo>
                      <a:pt x="2436" y="2208"/>
                    </a:lnTo>
                    <a:lnTo>
                      <a:pt x="2434" y="2202"/>
                    </a:lnTo>
                    <a:lnTo>
                      <a:pt x="2428" y="2193"/>
                    </a:lnTo>
                    <a:lnTo>
                      <a:pt x="2424" y="2185"/>
                    </a:lnTo>
                    <a:lnTo>
                      <a:pt x="2422" y="2179"/>
                    </a:lnTo>
                    <a:lnTo>
                      <a:pt x="2421" y="2173"/>
                    </a:lnTo>
                    <a:lnTo>
                      <a:pt x="2421" y="2160"/>
                    </a:lnTo>
                    <a:lnTo>
                      <a:pt x="2422" y="2140"/>
                    </a:lnTo>
                    <a:lnTo>
                      <a:pt x="2421" y="2131"/>
                    </a:lnTo>
                    <a:lnTo>
                      <a:pt x="2416" y="2121"/>
                    </a:lnTo>
                    <a:lnTo>
                      <a:pt x="2411" y="2108"/>
                    </a:lnTo>
                    <a:lnTo>
                      <a:pt x="2404" y="2095"/>
                    </a:lnTo>
                    <a:lnTo>
                      <a:pt x="2398" y="2081"/>
                    </a:lnTo>
                    <a:lnTo>
                      <a:pt x="2392" y="2068"/>
                    </a:lnTo>
                    <a:lnTo>
                      <a:pt x="2387" y="2054"/>
                    </a:lnTo>
                    <a:lnTo>
                      <a:pt x="2385" y="2042"/>
                    </a:lnTo>
                    <a:lnTo>
                      <a:pt x="2384" y="2040"/>
                    </a:lnTo>
                    <a:lnTo>
                      <a:pt x="2383" y="2038"/>
                    </a:lnTo>
                    <a:lnTo>
                      <a:pt x="2381" y="2036"/>
                    </a:lnTo>
                    <a:lnTo>
                      <a:pt x="2378" y="2036"/>
                    </a:lnTo>
                    <a:lnTo>
                      <a:pt x="2373" y="2036"/>
                    </a:lnTo>
                    <a:lnTo>
                      <a:pt x="2367" y="2038"/>
                    </a:lnTo>
                    <a:lnTo>
                      <a:pt x="2356" y="2041"/>
                    </a:lnTo>
                    <a:lnTo>
                      <a:pt x="2347" y="2043"/>
                    </a:lnTo>
                    <a:lnTo>
                      <a:pt x="2336" y="2043"/>
                    </a:lnTo>
                    <a:lnTo>
                      <a:pt x="2326" y="2041"/>
                    </a:lnTo>
                    <a:lnTo>
                      <a:pt x="2318" y="2039"/>
                    </a:lnTo>
                    <a:lnTo>
                      <a:pt x="2310" y="2034"/>
                    </a:lnTo>
                    <a:lnTo>
                      <a:pt x="2296" y="2022"/>
                    </a:lnTo>
                    <a:lnTo>
                      <a:pt x="2282" y="2008"/>
                    </a:lnTo>
                    <a:lnTo>
                      <a:pt x="2283" y="1998"/>
                    </a:lnTo>
                    <a:lnTo>
                      <a:pt x="2285" y="1988"/>
                    </a:lnTo>
                    <a:lnTo>
                      <a:pt x="2288" y="1981"/>
                    </a:lnTo>
                    <a:lnTo>
                      <a:pt x="2293" y="1976"/>
                    </a:lnTo>
                    <a:lnTo>
                      <a:pt x="2297" y="1972"/>
                    </a:lnTo>
                    <a:lnTo>
                      <a:pt x="2302" y="1968"/>
                    </a:lnTo>
                    <a:lnTo>
                      <a:pt x="2307" y="1966"/>
                    </a:lnTo>
                    <a:lnTo>
                      <a:pt x="2312" y="1964"/>
                    </a:lnTo>
                    <a:lnTo>
                      <a:pt x="2323" y="1963"/>
                    </a:lnTo>
                    <a:lnTo>
                      <a:pt x="2333" y="1961"/>
                    </a:lnTo>
                    <a:lnTo>
                      <a:pt x="2337" y="1959"/>
                    </a:lnTo>
                    <a:lnTo>
                      <a:pt x="2341" y="1957"/>
                    </a:lnTo>
                    <a:lnTo>
                      <a:pt x="2344" y="1953"/>
                    </a:lnTo>
                    <a:lnTo>
                      <a:pt x="2346" y="1949"/>
                    </a:lnTo>
                    <a:lnTo>
                      <a:pt x="2348" y="1942"/>
                    </a:lnTo>
                    <a:lnTo>
                      <a:pt x="2348" y="1936"/>
                    </a:lnTo>
                    <a:lnTo>
                      <a:pt x="2348" y="1931"/>
                    </a:lnTo>
                    <a:lnTo>
                      <a:pt x="2347" y="1925"/>
                    </a:lnTo>
                    <a:lnTo>
                      <a:pt x="2343" y="1915"/>
                    </a:lnTo>
                    <a:lnTo>
                      <a:pt x="2338" y="1906"/>
                    </a:lnTo>
                    <a:lnTo>
                      <a:pt x="2332" y="1896"/>
                    </a:lnTo>
                    <a:lnTo>
                      <a:pt x="2327" y="1886"/>
                    </a:lnTo>
                    <a:lnTo>
                      <a:pt x="2325" y="1882"/>
                    </a:lnTo>
                    <a:lnTo>
                      <a:pt x="2323" y="1877"/>
                    </a:lnTo>
                    <a:lnTo>
                      <a:pt x="2322" y="1871"/>
                    </a:lnTo>
                    <a:lnTo>
                      <a:pt x="2322" y="1866"/>
                    </a:lnTo>
                    <a:lnTo>
                      <a:pt x="2323" y="1846"/>
                    </a:lnTo>
                    <a:lnTo>
                      <a:pt x="2325" y="1827"/>
                    </a:lnTo>
                    <a:lnTo>
                      <a:pt x="2328" y="1806"/>
                    </a:lnTo>
                    <a:lnTo>
                      <a:pt x="2333" y="1785"/>
                    </a:lnTo>
                    <a:lnTo>
                      <a:pt x="2344" y="1743"/>
                    </a:lnTo>
                    <a:lnTo>
                      <a:pt x="2354" y="1699"/>
                    </a:lnTo>
                    <a:lnTo>
                      <a:pt x="2360" y="1678"/>
                    </a:lnTo>
                    <a:lnTo>
                      <a:pt x="2364" y="1656"/>
                    </a:lnTo>
                    <a:lnTo>
                      <a:pt x="2369" y="1635"/>
                    </a:lnTo>
                    <a:lnTo>
                      <a:pt x="2372" y="1614"/>
                    </a:lnTo>
                    <a:lnTo>
                      <a:pt x="2373" y="1594"/>
                    </a:lnTo>
                    <a:lnTo>
                      <a:pt x="2373" y="1573"/>
                    </a:lnTo>
                    <a:lnTo>
                      <a:pt x="2372" y="1563"/>
                    </a:lnTo>
                    <a:lnTo>
                      <a:pt x="2371" y="1554"/>
                    </a:lnTo>
                    <a:lnTo>
                      <a:pt x="2369" y="1545"/>
                    </a:lnTo>
                    <a:lnTo>
                      <a:pt x="2366" y="1535"/>
                    </a:lnTo>
                    <a:lnTo>
                      <a:pt x="2352" y="1498"/>
                    </a:lnTo>
                    <a:lnTo>
                      <a:pt x="2336" y="1459"/>
                    </a:lnTo>
                    <a:lnTo>
                      <a:pt x="2328" y="1439"/>
                    </a:lnTo>
                    <a:lnTo>
                      <a:pt x="2322" y="1420"/>
                    </a:lnTo>
                    <a:lnTo>
                      <a:pt x="2320" y="1410"/>
                    </a:lnTo>
                    <a:lnTo>
                      <a:pt x="2318" y="1400"/>
                    </a:lnTo>
                    <a:lnTo>
                      <a:pt x="2317" y="1391"/>
                    </a:lnTo>
                    <a:lnTo>
                      <a:pt x="2317" y="1381"/>
                    </a:lnTo>
                    <a:lnTo>
                      <a:pt x="2318" y="1371"/>
                    </a:lnTo>
                    <a:lnTo>
                      <a:pt x="2320" y="1363"/>
                    </a:lnTo>
                    <a:lnTo>
                      <a:pt x="2323" y="1354"/>
                    </a:lnTo>
                    <a:lnTo>
                      <a:pt x="2325" y="1346"/>
                    </a:lnTo>
                    <a:lnTo>
                      <a:pt x="2328" y="1337"/>
                    </a:lnTo>
                    <a:lnTo>
                      <a:pt x="2330" y="1328"/>
                    </a:lnTo>
                    <a:lnTo>
                      <a:pt x="2330" y="1323"/>
                    </a:lnTo>
                    <a:lnTo>
                      <a:pt x="2328" y="1318"/>
                    </a:lnTo>
                    <a:lnTo>
                      <a:pt x="2327" y="1313"/>
                    </a:lnTo>
                    <a:lnTo>
                      <a:pt x="2326" y="1307"/>
                    </a:lnTo>
                    <a:lnTo>
                      <a:pt x="2322" y="1299"/>
                    </a:lnTo>
                    <a:lnTo>
                      <a:pt x="2315" y="1290"/>
                    </a:lnTo>
                    <a:lnTo>
                      <a:pt x="2309" y="1283"/>
                    </a:lnTo>
                    <a:lnTo>
                      <a:pt x="2301" y="1275"/>
                    </a:lnTo>
                    <a:lnTo>
                      <a:pt x="2286" y="1260"/>
                    </a:lnTo>
                    <a:lnTo>
                      <a:pt x="2273" y="1245"/>
                    </a:lnTo>
                    <a:lnTo>
                      <a:pt x="2265" y="1232"/>
                    </a:lnTo>
                    <a:lnTo>
                      <a:pt x="2253" y="1217"/>
                    </a:lnTo>
                    <a:lnTo>
                      <a:pt x="2248" y="1210"/>
                    </a:lnTo>
                    <a:lnTo>
                      <a:pt x="2246" y="1203"/>
                    </a:lnTo>
                    <a:lnTo>
                      <a:pt x="2246" y="1199"/>
                    </a:lnTo>
                    <a:lnTo>
                      <a:pt x="2247" y="1196"/>
                    </a:lnTo>
                    <a:lnTo>
                      <a:pt x="2248" y="1193"/>
                    </a:lnTo>
                    <a:lnTo>
                      <a:pt x="2252" y="1190"/>
                    </a:lnTo>
                    <a:lnTo>
                      <a:pt x="2273" y="1174"/>
                    </a:lnTo>
                    <a:lnTo>
                      <a:pt x="2306" y="1145"/>
                    </a:lnTo>
                    <a:lnTo>
                      <a:pt x="2313" y="1138"/>
                    </a:lnTo>
                    <a:lnTo>
                      <a:pt x="2320" y="1130"/>
                    </a:lnTo>
                    <a:lnTo>
                      <a:pt x="2324" y="1123"/>
                    </a:lnTo>
                    <a:lnTo>
                      <a:pt x="2327" y="1116"/>
                    </a:lnTo>
                    <a:lnTo>
                      <a:pt x="2328" y="1113"/>
                    </a:lnTo>
                    <a:lnTo>
                      <a:pt x="2330" y="1110"/>
                    </a:lnTo>
                    <a:lnTo>
                      <a:pt x="2330" y="1107"/>
                    </a:lnTo>
                    <a:lnTo>
                      <a:pt x="2328" y="1104"/>
                    </a:lnTo>
                    <a:lnTo>
                      <a:pt x="2326" y="1102"/>
                    </a:lnTo>
                    <a:lnTo>
                      <a:pt x="2324" y="1100"/>
                    </a:lnTo>
                    <a:lnTo>
                      <a:pt x="2321" y="1098"/>
                    </a:lnTo>
                    <a:lnTo>
                      <a:pt x="2318" y="1097"/>
                    </a:lnTo>
                    <a:lnTo>
                      <a:pt x="2307" y="1093"/>
                    </a:lnTo>
                    <a:lnTo>
                      <a:pt x="2297" y="1089"/>
                    </a:lnTo>
                    <a:lnTo>
                      <a:pt x="2288" y="1086"/>
                    </a:lnTo>
                    <a:lnTo>
                      <a:pt x="2282" y="1082"/>
                    </a:lnTo>
                    <a:lnTo>
                      <a:pt x="2276" y="1078"/>
                    </a:lnTo>
                    <a:lnTo>
                      <a:pt x="2271" y="1074"/>
                    </a:lnTo>
                    <a:lnTo>
                      <a:pt x="2268" y="1070"/>
                    </a:lnTo>
                    <a:lnTo>
                      <a:pt x="2265" y="1066"/>
                    </a:lnTo>
                    <a:lnTo>
                      <a:pt x="2253" y="1043"/>
                    </a:lnTo>
                    <a:lnTo>
                      <a:pt x="2236" y="1010"/>
                    </a:lnTo>
                    <a:lnTo>
                      <a:pt x="2220" y="990"/>
                    </a:lnTo>
                    <a:lnTo>
                      <a:pt x="2200" y="966"/>
                    </a:lnTo>
                    <a:lnTo>
                      <a:pt x="2196" y="961"/>
                    </a:lnTo>
                    <a:lnTo>
                      <a:pt x="2192" y="955"/>
                    </a:lnTo>
                    <a:lnTo>
                      <a:pt x="2190" y="950"/>
                    </a:lnTo>
                    <a:lnTo>
                      <a:pt x="2189" y="945"/>
                    </a:lnTo>
                    <a:lnTo>
                      <a:pt x="2189" y="940"/>
                    </a:lnTo>
                    <a:lnTo>
                      <a:pt x="2190" y="936"/>
                    </a:lnTo>
                    <a:lnTo>
                      <a:pt x="2193" y="933"/>
                    </a:lnTo>
                    <a:lnTo>
                      <a:pt x="2198" y="929"/>
                    </a:lnTo>
                    <a:lnTo>
                      <a:pt x="2204" y="927"/>
                    </a:lnTo>
                    <a:lnTo>
                      <a:pt x="2207" y="924"/>
                    </a:lnTo>
                    <a:lnTo>
                      <a:pt x="2210" y="921"/>
                    </a:lnTo>
                    <a:lnTo>
                      <a:pt x="2214" y="918"/>
                    </a:lnTo>
                    <a:lnTo>
                      <a:pt x="2217" y="910"/>
                    </a:lnTo>
                    <a:lnTo>
                      <a:pt x="2219" y="901"/>
                    </a:lnTo>
                    <a:lnTo>
                      <a:pt x="2221" y="883"/>
                    </a:lnTo>
                    <a:lnTo>
                      <a:pt x="2224" y="866"/>
                    </a:lnTo>
                    <a:lnTo>
                      <a:pt x="2227" y="859"/>
                    </a:lnTo>
                    <a:lnTo>
                      <a:pt x="2231" y="854"/>
                    </a:lnTo>
                    <a:lnTo>
                      <a:pt x="2236" y="847"/>
                    </a:lnTo>
                    <a:lnTo>
                      <a:pt x="2243" y="842"/>
                    </a:lnTo>
                    <a:lnTo>
                      <a:pt x="2256" y="832"/>
                    </a:lnTo>
                    <a:lnTo>
                      <a:pt x="2268" y="821"/>
                    </a:lnTo>
                    <a:lnTo>
                      <a:pt x="2271" y="816"/>
                    </a:lnTo>
                    <a:lnTo>
                      <a:pt x="2274" y="811"/>
                    </a:lnTo>
                    <a:lnTo>
                      <a:pt x="2275" y="808"/>
                    </a:lnTo>
                    <a:lnTo>
                      <a:pt x="2275" y="805"/>
                    </a:lnTo>
                    <a:lnTo>
                      <a:pt x="2274" y="802"/>
                    </a:lnTo>
                    <a:lnTo>
                      <a:pt x="2273" y="800"/>
                    </a:lnTo>
                    <a:lnTo>
                      <a:pt x="2269" y="793"/>
                    </a:lnTo>
                    <a:lnTo>
                      <a:pt x="2262" y="787"/>
                    </a:lnTo>
                    <a:lnTo>
                      <a:pt x="2252" y="779"/>
                    </a:lnTo>
                    <a:lnTo>
                      <a:pt x="2236" y="772"/>
                    </a:lnTo>
                    <a:lnTo>
                      <a:pt x="2213" y="763"/>
                    </a:lnTo>
                    <a:lnTo>
                      <a:pt x="2185" y="753"/>
                    </a:lnTo>
                    <a:lnTo>
                      <a:pt x="2171" y="749"/>
                    </a:lnTo>
                    <a:lnTo>
                      <a:pt x="2159" y="744"/>
                    </a:lnTo>
                    <a:lnTo>
                      <a:pt x="2148" y="737"/>
                    </a:lnTo>
                    <a:lnTo>
                      <a:pt x="2138" y="730"/>
                    </a:lnTo>
                    <a:lnTo>
                      <a:pt x="2136" y="726"/>
                    </a:lnTo>
                    <a:lnTo>
                      <a:pt x="2133" y="723"/>
                    </a:lnTo>
                    <a:lnTo>
                      <a:pt x="2132" y="720"/>
                    </a:lnTo>
                    <a:lnTo>
                      <a:pt x="2132" y="716"/>
                    </a:lnTo>
                    <a:lnTo>
                      <a:pt x="2132" y="707"/>
                    </a:lnTo>
                    <a:lnTo>
                      <a:pt x="2132" y="698"/>
                    </a:lnTo>
                    <a:lnTo>
                      <a:pt x="2132" y="694"/>
                    </a:lnTo>
                    <a:lnTo>
                      <a:pt x="2132" y="690"/>
                    </a:lnTo>
                    <a:lnTo>
                      <a:pt x="2131" y="685"/>
                    </a:lnTo>
                    <a:lnTo>
                      <a:pt x="2130" y="682"/>
                    </a:lnTo>
                    <a:lnTo>
                      <a:pt x="2128" y="679"/>
                    </a:lnTo>
                    <a:lnTo>
                      <a:pt x="2124" y="676"/>
                    </a:lnTo>
                    <a:lnTo>
                      <a:pt x="2119" y="673"/>
                    </a:lnTo>
                    <a:lnTo>
                      <a:pt x="2114" y="671"/>
                    </a:lnTo>
                    <a:lnTo>
                      <a:pt x="2101" y="668"/>
                    </a:lnTo>
                    <a:lnTo>
                      <a:pt x="2090" y="663"/>
                    </a:lnTo>
                    <a:lnTo>
                      <a:pt x="2082" y="656"/>
                    </a:lnTo>
                    <a:lnTo>
                      <a:pt x="2076" y="650"/>
                    </a:lnTo>
                    <a:lnTo>
                      <a:pt x="2073" y="643"/>
                    </a:lnTo>
                    <a:lnTo>
                      <a:pt x="2069" y="636"/>
                    </a:lnTo>
                    <a:lnTo>
                      <a:pt x="2067" y="628"/>
                    </a:lnTo>
                    <a:lnTo>
                      <a:pt x="2067" y="619"/>
                    </a:lnTo>
                    <a:lnTo>
                      <a:pt x="2067" y="604"/>
                    </a:lnTo>
                    <a:lnTo>
                      <a:pt x="2067" y="591"/>
                    </a:lnTo>
                    <a:lnTo>
                      <a:pt x="2066" y="586"/>
                    </a:lnTo>
                    <a:lnTo>
                      <a:pt x="2064" y="581"/>
                    </a:lnTo>
                    <a:lnTo>
                      <a:pt x="2062" y="577"/>
                    </a:lnTo>
                    <a:lnTo>
                      <a:pt x="2058" y="575"/>
                    </a:lnTo>
                    <a:lnTo>
                      <a:pt x="2053" y="575"/>
                    </a:lnTo>
                    <a:lnTo>
                      <a:pt x="2047" y="576"/>
                    </a:lnTo>
                    <a:lnTo>
                      <a:pt x="2040" y="578"/>
                    </a:lnTo>
                    <a:lnTo>
                      <a:pt x="2034" y="581"/>
                    </a:lnTo>
                    <a:lnTo>
                      <a:pt x="2026" y="584"/>
                    </a:lnTo>
                    <a:lnTo>
                      <a:pt x="2019" y="586"/>
                    </a:lnTo>
                    <a:lnTo>
                      <a:pt x="2012" y="588"/>
                    </a:lnTo>
                    <a:lnTo>
                      <a:pt x="2006" y="589"/>
                    </a:lnTo>
                    <a:lnTo>
                      <a:pt x="1993" y="588"/>
                    </a:lnTo>
                    <a:lnTo>
                      <a:pt x="1980" y="584"/>
                    </a:lnTo>
                    <a:lnTo>
                      <a:pt x="1967" y="578"/>
                    </a:lnTo>
                    <a:lnTo>
                      <a:pt x="1954" y="572"/>
                    </a:lnTo>
                    <a:lnTo>
                      <a:pt x="1941" y="564"/>
                    </a:lnTo>
                    <a:lnTo>
                      <a:pt x="1930" y="556"/>
                    </a:lnTo>
                    <a:lnTo>
                      <a:pt x="1919" y="546"/>
                    </a:lnTo>
                    <a:lnTo>
                      <a:pt x="1911" y="537"/>
                    </a:lnTo>
                    <a:lnTo>
                      <a:pt x="1797" y="374"/>
                    </a:lnTo>
                    <a:lnTo>
                      <a:pt x="1797" y="374"/>
                    </a:lnTo>
                    <a:lnTo>
                      <a:pt x="1775" y="372"/>
                    </a:lnTo>
                    <a:lnTo>
                      <a:pt x="1753" y="371"/>
                    </a:lnTo>
                    <a:lnTo>
                      <a:pt x="1731" y="369"/>
                    </a:lnTo>
                    <a:lnTo>
                      <a:pt x="1713" y="367"/>
                    </a:lnTo>
                    <a:lnTo>
                      <a:pt x="1692" y="358"/>
                    </a:lnTo>
                    <a:lnTo>
                      <a:pt x="1663" y="344"/>
                    </a:lnTo>
                    <a:lnTo>
                      <a:pt x="1648" y="338"/>
                    </a:lnTo>
                    <a:lnTo>
                      <a:pt x="1636" y="332"/>
                    </a:lnTo>
                    <a:lnTo>
                      <a:pt x="1629" y="330"/>
                    </a:lnTo>
                    <a:lnTo>
                      <a:pt x="1625" y="329"/>
                    </a:lnTo>
                    <a:lnTo>
                      <a:pt x="1622" y="329"/>
                    </a:lnTo>
                    <a:lnTo>
                      <a:pt x="1619" y="329"/>
                    </a:lnTo>
                    <a:lnTo>
                      <a:pt x="1610" y="334"/>
                    </a:lnTo>
                    <a:lnTo>
                      <a:pt x="1601" y="341"/>
                    </a:lnTo>
                    <a:lnTo>
                      <a:pt x="1594" y="348"/>
                    </a:lnTo>
                    <a:lnTo>
                      <a:pt x="1585" y="356"/>
                    </a:lnTo>
                    <a:lnTo>
                      <a:pt x="1569" y="373"/>
                    </a:lnTo>
                    <a:lnTo>
                      <a:pt x="1553" y="389"/>
                    </a:lnTo>
                    <a:lnTo>
                      <a:pt x="1544" y="397"/>
                    </a:lnTo>
                    <a:lnTo>
                      <a:pt x="1535" y="403"/>
                    </a:lnTo>
                    <a:lnTo>
                      <a:pt x="1527" y="409"/>
                    </a:lnTo>
                    <a:lnTo>
                      <a:pt x="1518" y="414"/>
                    </a:lnTo>
                    <a:lnTo>
                      <a:pt x="1508" y="418"/>
                    </a:lnTo>
                    <a:lnTo>
                      <a:pt x="1497" y="420"/>
                    </a:lnTo>
                    <a:lnTo>
                      <a:pt x="1486" y="421"/>
                    </a:lnTo>
                    <a:lnTo>
                      <a:pt x="1475" y="420"/>
                    </a:lnTo>
                    <a:lnTo>
                      <a:pt x="1462" y="416"/>
                    </a:lnTo>
                    <a:lnTo>
                      <a:pt x="1449" y="411"/>
                    </a:lnTo>
                    <a:lnTo>
                      <a:pt x="1436" y="406"/>
                    </a:lnTo>
                    <a:lnTo>
                      <a:pt x="1421" y="399"/>
                    </a:lnTo>
                    <a:lnTo>
                      <a:pt x="1394" y="385"/>
                    </a:lnTo>
                    <a:lnTo>
                      <a:pt x="1368" y="372"/>
                    </a:lnTo>
                    <a:lnTo>
                      <a:pt x="1354" y="367"/>
                    </a:lnTo>
                    <a:lnTo>
                      <a:pt x="1341" y="362"/>
                    </a:lnTo>
                    <a:lnTo>
                      <a:pt x="1328" y="359"/>
                    </a:lnTo>
                    <a:lnTo>
                      <a:pt x="1316" y="358"/>
                    </a:lnTo>
                    <a:lnTo>
                      <a:pt x="1310" y="358"/>
                    </a:lnTo>
                    <a:lnTo>
                      <a:pt x="1304" y="359"/>
                    </a:lnTo>
                    <a:lnTo>
                      <a:pt x="1298" y="360"/>
                    </a:lnTo>
                    <a:lnTo>
                      <a:pt x="1292" y="362"/>
                    </a:lnTo>
                    <a:lnTo>
                      <a:pt x="1286" y="365"/>
                    </a:lnTo>
                    <a:lnTo>
                      <a:pt x="1281" y="368"/>
                    </a:lnTo>
                    <a:lnTo>
                      <a:pt x="1275" y="372"/>
                    </a:lnTo>
                    <a:lnTo>
                      <a:pt x="1270" y="376"/>
                    </a:lnTo>
                    <a:lnTo>
                      <a:pt x="1265" y="381"/>
                    </a:lnTo>
                    <a:lnTo>
                      <a:pt x="1259" y="384"/>
                    </a:lnTo>
                    <a:lnTo>
                      <a:pt x="1253" y="385"/>
                    </a:lnTo>
                    <a:lnTo>
                      <a:pt x="1247" y="386"/>
                    </a:lnTo>
                    <a:lnTo>
                      <a:pt x="1240" y="385"/>
                    </a:lnTo>
                    <a:lnTo>
                      <a:pt x="1233" y="384"/>
                    </a:lnTo>
                    <a:lnTo>
                      <a:pt x="1226" y="382"/>
                    </a:lnTo>
                    <a:lnTo>
                      <a:pt x="1219" y="379"/>
                    </a:lnTo>
                    <a:lnTo>
                      <a:pt x="1206" y="371"/>
                    </a:lnTo>
                    <a:lnTo>
                      <a:pt x="1194" y="362"/>
                    </a:lnTo>
                    <a:lnTo>
                      <a:pt x="1188" y="358"/>
                    </a:lnTo>
                    <a:lnTo>
                      <a:pt x="1184" y="353"/>
                    </a:lnTo>
                    <a:lnTo>
                      <a:pt x="1180" y="348"/>
                    </a:lnTo>
                    <a:lnTo>
                      <a:pt x="1177" y="343"/>
                    </a:lnTo>
                    <a:lnTo>
                      <a:pt x="1168" y="327"/>
                    </a:lnTo>
                    <a:lnTo>
                      <a:pt x="1164" y="313"/>
                    </a:lnTo>
                    <a:lnTo>
                      <a:pt x="1162" y="306"/>
                    </a:lnTo>
                    <a:lnTo>
                      <a:pt x="1161" y="301"/>
                    </a:lnTo>
                    <a:lnTo>
                      <a:pt x="1161" y="295"/>
                    </a:lnTo>
                    <a:lnTo>
                      <a:pt x="1161" y="290"/>
                    </a:lnTo>
                    <a:lnTo>
                      <a:pt x="1167" y="266"/>
                    </a:lnTo>
                    <a:lnTo>
                      <a:pt x="1177" y="234"/>
                    </a:lnTo>
                    <a:lnTo>
                      <a:pt x="1175" y="223"/>
                    </a:lnTo>
                    <a:lnTo>
                      <a:pt x="1172" y="210"/>
                    </a:lnTo>
                    <a:lnTo>
                      <a:pt x="1168" y="195"/>
                    </a:lnTo>
                    <a:lnTo>
                      <a:pt x="1162" y="179"/>
                    </a:lnTo>
                    <a:lnTo>
                      <a:pt x="1148" y="143"/>
                    </a:lnTo>
                    <a:lnTo>
                      <a:pt x="1133" y="106"/>
                    </a:lnTo>
                    <a:lnTo>
                      <a:pt x="1126" y="88"/>
                    </a:lnTo>
                    <a:lnTo>
                      <a:pt x="1119" y="71"/>
                    </a:lnTo>
                    <a:lnTo>
                      <a:pt x="1114" y="55"/>
                    </a:lnTo>
                    <a:lnTo>
                      <a:pt x="1109" y="40"/>
                    </a:lnTo>
                    <a:lnTo>
                      <a:pt x="1107" y="25"/>
                    </a:lnTo>
                    <a:lnTo>
                      <a:pt x="1106" y="15"/>
                    </a:lnTo>
                    <a:lnTo>
                      <a:pt x="1106" y="9"/>
                    </a:lnTo>
                    <a:lnTo>
                      <a:pt x="1107" y="6"/>
                    </a:lnTo>
                    <a:lnTo>
                      <a:pt x="1109" y="3"/>
                    </a:lnTo>
                    <a:lnTo>
                      <a:pt x="1111" y="0"/>
                    </a:lnTo>
                    <a:lnTo>
                      <a:pt x="1103" y="0"/>
                    </a:lnTo>
                    <a:lnTo>
                      <a:pt x="1095" y="2"/>
                    </a:lnTo>
                    <a:lnTo>
                      <a:pt x="1089" y="3"/>
                    </a:lnTo>
                    <a:lnTo>
                      <a:pt x="1082" y="6"/>
                    </a:lnTo>
                    <a:lnTo>
                      <a:pt x="1077" y="9"/>
                    </a:lnTo>
                    <a:lnTo>
                      <a:pt x="1072" y="13"/>
                    </a:lnTo>
                    <a:lnTo>
                      <a:pt x="1068" y="17"/>
                    </a:lnTo>
                    <a:lnTo>
                      <a:pt x="1064" y="22"/>
                    </a:lnTo>
                    <a:lnTo>
                      <a:pt x="1051" y="46"/>
                    </a:lnTo>
                    <a:lnTo>
                      <a:pt x="1037" y="75"/>
                    </a:lnTo>
                    <a:lnTo>
                      <a:pt x="1031" y="84"/>
                    </a:lnTo>
                    <a:lnTo>
                      <a:pt x="1025" y="92"/>
                    </a:lnTo>
                    <a:lnTo>
                      <a:pt x="1018" y="101"/>
                    </a:lnTo>
                    <a:lnTo>
                      <a:pt x="1011" y="110"/>
                    </a:lnTo>
                    <a:lnTo>
                      <a:pt x="997" y="125"/>
                    </a:lnTo>
                    <a:lnTo>
                      <a:pt x="981" y="139"/>
                    </a:lnTo>
                    <a:lnTo>
                      <a:pt x="966" y="152"/>
                    </a:lnTo>
                    <a:lnTo>
                      <a:pt x="952" y="166"/>
                    </a:lnTo>
                    <a:lnTo>
                      <a:pt x="947" y="173"/>
                    </a:lnTo>
                    <a:lnTo>
                      <a:pt x="940" y="180"/>
                    </a:lnTo>
                    <a:lnTo>
                      <a:pt x="935" y="187"/>
                    </a:lnTo>
                    <a:lnTo>
                      <a:pt x="931" y="195"/>
                    </a:lnTo>
                    <a:lnTo>
                      <a:pt x="924" y="205"/>
                    </a:lnTo>
                    <a:lnTo>
                      <a:pt x="919" y="212"/>
                    </a:lnTo>
                    <a:lnTo>
                      <a:pt x="912" y="218"/>
                    </a:lnTo>
                    <a:lnTo>
                      <a:pt x="907" y="223"/>
                    </a:lnTo>
                    <a:lnTo>
                      <a:pt x="900" y="226"/>
                    </a:lnTo>
                    <a:lnTo>
                      <a:pt x="894" y="229"/>
                    </a:lnTo>
                    <a:lnTo>
                      <a:pt x="888" y="230"/>
                    </a:lnTo>
                    <a:lnTo>
                      <a:pt x="882" y="231"/>
                    </a:lnTo>
                    <a:lnTo>
                      <a:pt x="868" y="231"/>
                    </a:lnTo>
                    <a:lnTo>
                      <a:pt x="852" y="230"/>
                    </a:lnTo>
                    <a:lnTo>
                      <a:pt x="845" y="231"/>
                    </a:lnTo>
                    <a:lnTo>
                      <a:pt x="836" y="231"/>
                    </a:lnTo>
                    <a:lnTo>
                      <a:pt x="828" y="233"/>
                    </a:lnTo>
                    <a:lnTo>
                      <a:pt x="818" y="235"/>
                    </a:lnTo>
                    <a:lnTo>
                      <a:pt x="808" y="239"/>
                    </a:lnTo>
                    <a:lnTo>
                      <a:pt x="797" y="245"/>
                    </a:lnTo>
                    <a:lnTo>
                      <a:pt x="786" y="250"/>
                    </a:lnTo>
                    <a:lnTo>
                      <a:pt x="777" y="257"/>
                    </a:lnTo>
                    <a:lnTo>
                      <a:pt x="766" y="263"/>
                    </a:lnTo>
                    <a:lnTo>
                      <a:pt x="755" y="267"/>
                    </a:lnTo>
                    <a:lnTo>
                      <a:pt x="744" y="272"/>
                    </a:lnTo>
                    <a:lnTo>
                      <a:pt x="733" y="273"/>
                    </a:lnTo>
                    <a:lnTo>
                      <a:pt x="699" y="274"/>
                    </a:lnTo>
                    <a:lnTo>
                      <a:pt x="666" y="273"/>
                    </a:lnTo>
                    <a:lnTo>
                      <a:pt x="635" y="270"/>
                    </a:lnTo>
                    <a:lnTo>
                      <a:pt x="604" y="265"/>
                    </a:lnTo>
                    <a:lnTo>
                      <a:pt x="574" y="259"/>
                    </a:lnTo>
                    <a:lnTo>
                      <a:pt x="544" y="250"/>
                    </a:lnTo>
                    <a:lnTo>
                      <a:pt x="513" y="239"/>
                    </a:lnTo>
                    <a:lnTo>
                      <a:pt x="482" y="226"/>
                    </a:lnTo>
                    <a:lnTo>
                      <a:pt x="470" y="220"/>
                    </a:lnTo>
                    <a:lnTo>
                      <a:pt x="457" y="211"/>
                    </a:lnTo>
                    <a:lnTo>
                      <a:pt x="442" y="200"/>
                    </a:lnTo>
                    <a:lnTo>
                      <a:pt x="428" y="190"/>
                    </a:lnTo>
                    <a:lnTo>
                      <a:pt x="414" y="179"/>
                    </a:lnTo>
                    <a:lnTo>
                      <a:pt x="399" y="170"/>
                    </a:lnTo>
                    <a:lnTo>
                      <a:pt x="392" y="167"/>
                    </a:lnTo>
                    <a:lnTo>
                      <a:pt x="386" y="164"/>
                    </a:lnTo>
                    <a:lnTo>
                      <a:pt x="380" y="163"/>
                    </a:lnTo>
                    <a:lnTo>
                      <a:pt x="375" y="162"/>
                    </a:lnTo>
                    <a:lnTo>
                      <a:pt x="368" y="163"/>
                    </a:lnTo>
                    <a:lnTo>
                      <a:pt x="363" y="163"/>
                    </a:lnTo>
                    <a:lnTo>
                      <a:pt x="357" y="165"/>
                    </a:lnTo>
                    <a:lnTo>
                      <a:pt x="353" y="166"/>
                    </a:lnTo>
                    <a:lnTo>
                      <a:pt x="344" y="171"/>
                    </a:lnTo>
                    <a:lnTo>
                      <a:pt x="336" y="179"/>
                    </a:lnTo>
                    <a:lnTo>
                      <a:pt x="328" y="186"/>
                    </a:lnTo>
                    <a:lnTo>
                      <a:pt x="321" y="195"/>
                    </a:lnTo>
                    <a:lnTo>
                      <a:pt x="315" y="205"/>
                    </a:lnTo>
                    <a:lnTo>
                      <a:pt x="310" y="216"/>
                    </a:lnTo>
                    <a:lnTo>
                      <a:pt x="297" y="235"/>
                    </a:lnTo>
                    <a:lnTo>
                      <a:pt x="284" y="252"/>
                    </a:lnTo>
                    <a:lnTo>
                      <a:pt x="277" y="260"/>
                    </a:lnTo>
                    <a:lnTo>
                      <a:pt x="268" y="265"/>
                    </a:lnTo>
                    <a:lnTo>
                      <a:pt x="264" y="267"/>
                    </a:lnTo>
                    <a:lnTo>
                      <a:pt x="260" y="268"/>
                    </a:lnTo>
                    <a:lnTo>
                      <a:pt x="254" y="270"/>
                    </a:lnTo>
                    <a:lnTo>
                      <a:pt x="250" y="271"/>
                    </a:lnTo>
                    <a:lnTo>
                      <a:pt x="250" y="271"/>
                    </a:lnTo>
                    <a:close/>
                  </a:path>
                </a:pathLst>
              </a:custGeom>
              <a:grpFill/>
              <a:ln w="3175">
                <a:solidFill>
                  <a:schemeClr val="accent1">
                    <a:lumMod val="50000"/>
                  </a:schemeClr>
                </a:solidFill>
                <a:prstDash val="sysDot"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350"/>
              </a:p>
            </p:txBody>
          </p:sp>
        </p:grpSp>
        <p:sp>
          <p:nvSpPr>
            <p:cNvPr id="14" name="Block Arc 2">
              <a:extLst>
                <a:ext uri="{FF2B5EF4-FFF2-40B4-BE49-F238E27FC236}">
                  <a16:creationId xmlns:a16="http://schemas.microsoft.com/office/drawing/2014/main" id="{163CA829-2A87-4346-B3D3-09968ECFB32D}"/>
                </a:ext>
              </a:extLst>
            </p:cNvPr>
            <p:cNvSpPr/>
            <p:nvPr/>
          </p:nvSpPr>
          <p:spPr>
            <a:xfrm>
              <a:off x="4206857" y="4223257"/>
              <a:ext cx="1472525" cy="1744678"/>
            </a:xfrm>
            <a:prstGeom prst="blockArc">
              <a:avLst>
                <a:gd name="adj1" fmla="val 10800000"/>
                <a:gd name="adj2" fmla="val 18530"/>
                <a:gd name="adj3" fmla="val 14279"/>
              </a:avLst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25">
                <a:solidFill>
                  <a:schemeClr val="tx1"/>
                </a:solidFill>
              </a:endParaRPr>
            </a:p>
          </p:txBody>
        </p:sp>
        <p:sp>
          <p:nvSpPr>
            <p:cNvPr id="15" name="Block Arc 3">
              <a:extLst>
                <a:ext uri="{FF2B5EF4-FFF2-40B4-BE49-F238E27FC236}">
                  <a16:creationId xmlns:a16="http://schemas.microsoft.com/office/drawing/2014/main" id="{69E0C4A1-E912-4984-A7C6-CCEFE19DEE14}"/>
                </a:ext>
              </a:extLst>
            </p:cNvPr>
            <p:cNvSpPr/>
            <p:nvPr/>
          </p:nvSpPr>
          <p:spPr>
            <a:xfrm>
              <a:off x="3716015" y="3641698"/>
              <a:ext cx="2454208" cy="2907797"/>
            </a:xfrm>
            <a:prstGeom prst="blockArc">
              <a:avLst>
                <a:gd name="adj1" fmla="val 14041284"/>
                <a:gd name="adj2" fmla="val 8836579"/>
                <a:gd name="adj3" fmla="val 8302"/>
              </a:avLst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25" dirty="0">
                <a:solidFill>
                  <a:schemeClr val="tx1"/>
                </a:solidFill>
              </a:endParaRPr>
            </a:p>
          </p:txBody>
        </p:sp>
        <p:sp>
          <p:nvSpPr>
            <p:cNvPr id="16" name="Block Arc 4">
              <a:extLst>
                <a:ext uri="{FF2B5EF4-FFF2-40B4-BE49-F238E27FC236}">
                  <a16:creationId xmlns:a16="http://schemas.microsoft.com/office/drawing/2014/main" id="{D1D75E25-E09E-4638-9F01-EB777C4D2297}"/>
                </a:ext>
              </a:extLst>
            </p:cNvPr>
            <p:cNvSpPr/>
            <p:nvPr/>
          </p:nvSpPr>
          <p:spPr>
            <a:xfrm>
              <a:off x="3961436" y="3932478"/>
              <a:ext cx="1963367" cy="2326238"/>
            </a:xfrm>
            <a:prstGeom prst="blockArc">
              <a:avLst>
                <a:gd name="adj1" fmla="val 13129852"/>
                <a:gd name="adj2" fmla="val 5419760"/>
                <a:gd name="adj3" fmla="val 10687"/>
              </a:avLst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25">
                <a:solidFill>
                  <a:schemeClr val="tx1"/>
                </a:solidFill>
              </a:endParaRPr>
            </a:p>
          </p:txBody>
        </p:sp>
        <p:sp>
          <p:nvSpPr>
            <p:cNvPr id="17" name="Block Arc 5">
              <a:extLst>
                <a:ext uri="{FF2B5EF4-FFF2-40B4-BE49-F238E27FC236}">
                  <a16:creationId xmlns:a16="http://schemas.microsoft.com/office/drawing/2014/main" id="{3D9D3DEB-343A-42EC-9C51-BA1B86D5E721}"/>
                </a:ext>
              </a:extLst>
            </p:cNvPr>
            <p:cNvSpPr/>
            <p:nvPr/>
          </p:nvSpPr>
          <p:spPr>
            <a:xfrm>
              <a:off x="4452277" y="4514038"/>
              <a:ext cx="981684" cy="1163119"/>
            </a:xfrm>
            <a:prstGeom prst="blockArc">
              <a:avLst>
                <a:gd name="adj1" fmla="val 4048046"/>
                <a:gd name="adj2" fmla="val 13393565"/>
                <a:gd name="adj3" fmla="val 21513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25">
                <a:solidFill>
                  <a:schemeClr val="tx1"/>
                </a:solidFill>
              </a:endParaRPr>
            </a:p>
          </p:txBody>
        </p:sp>
        <p:cxnSp>
          <p:nvCxnSpPr>
            <p:cNvPr id="18" name="Straight Connector 6">
              <a:extLst>
                <a:ext uri="{FF2B5EF4-FFF2-40B4-BE49-F238E27FC236}">
                  <a16:creationId xmlns:a16="http://schemas.microsoft.com/office/drawing/2014/main" id="{96FFDB14-8A52-4952-A1E6-3FEF8B282ECB}"/>
                </a:ext>
              </a:extLst>
            </p:cNvPr>
            <p:cNvCxnSpPr>
              <a:cxnSpLocks/>
            </p:cNvCxnSpPr>
            <p:nvPr/>
          </p:nvCxnSpPr>
          <p:spPr>
            <a:xfrm>
              <a:off x="1371593" y="4840924"/>
              <a:ext cx="2125424" cy="0"/>
            </a:xfrm>
            <a:prstGeom prst="line">
              <a:avLst/>
            </a:prstGeom>
            <a:ln w="57150">
              <a:solidFill>
                <a:srgbClr val="7030A0"/>
              </a:solidFill>
              <a:headEnd type="oval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7">
              <a:extLst>
                <a:ext uri="{FF2B5EF4-FFF2-40B4-BE49-F238E27FC236}">
                  <a16:creationId xmlns:a16="http://schemas.microsoft.com/office/drawing/2014/main" id="{FA0A2F17-9713-4D5A-95D3-897568DDE7C9}"/>
                </a:ext>
              </a:extLst>
            </p:cNvPr>
            <p:cNvCxnSpPr>
              <a:cxnSpLocks/>
              <a:endCxn id="15" idx="1"/>
            </p:cNvCxnSpPr>
            <p:nvPr/>
          </p:nvCxnSpPr>
          <p:spPr>
            <a:xfrm>
              <a:off x="3497017" y="4840924"/>
              <a:ext cx="432957" cy="846577"/>
            </a:xfrm>
            <a:prstGeom prst="line">
              <a:avLst/>
            </a:prstGeom>
            <a:ln w="5715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9">
              <a:extLst>
                <a:ext uri="{FF2B5EF4-FFF2-40B4-BE49-F238E27FC236}">
                  <a16:creationId xmlns:a16="http://schemas.microsoft.com/office/drawing/2014/main" id="{3CF399A9-1055-4F38-AD4C-4EBEA4849EC6}"/>
                </a:ext>
              </a:extLst>
            </p:cNvPr>
            <p:cNvCxnSpPr>
              <a:cxnSpLocks/>
            </p:cNvCxnSpPr>
            <p:nvPr/>
          </p:nvCxnSpPr>
          <p:spPr>
            <a:xfrm>
              <a:off x="6304510" y="3434127"/>
              <a:ext cx="2224485" cy="0"/>
            </a:xfrm>
            <a:prstGeom prst="line">
              <a:avLst/>
            </a:prstGeom>
            <a:ln w="38100">
              <a:solidFill>
                <a:srgbClr val="00B050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10">
              <a:extLst>
                <a:ext uri="{FF2B5EF4-FFF2-40B4-BE49-F238E27FC236}">
                  <a16:creationId xmlns:a16="http://schemas.microsoft.com/office/drawing/2014/main" id="{F88D0A97-137E-4D59-A724-409FE4E7FCE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417669" y="3423430"/>
              <a:ext cx="2298347" cy="0"/>
            </a:xfrm>
            <a:prstGeom prst="line">
              <a:avLst/>
            </a:prstGeom>
            <a:ln w="38100">
              <a:solidFill>
                <a:schemeClr val="accent6">
                  <a:lumMod val="75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11">
              <a:extLst>
                <a:ext uri="{FF2B5EF4-FFF2-40B4-BE49-F238E27FC236}">
                  <a16:creationId xmlns:a16="http://schemas.microsoft.com/office/drawing/2014/main" id="{4B776965-5919-467B-9E56-2FE6F87FBA38}"/>
                </a:ext>
              </a:extLst>
            </p:cNvPr>
            <p:cNvCxnSpPr>
              <a:cxnSpLocks/>
            </p:cNvCxnSpPr>
            <p:nvPr/>
          </p:nvCxnSpPr>
          <p:spPr>
            <a:xfrm>
              <a:off x="6490447" y="6549495"/>
              <a:ext cx="2118379" cy="0"/>
            </a:xfrm>
            <a:prstGeom prst="line">
              <a:avLst/>
            </a:prstGeom>
            <a:ln w="38100">
              <a:solidFill>
                <a:srgbClr val="C00000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Donut 15">
              <a:extLst>
                <a:ext uri="{FF2B5EF4-FFF2-40B4-BE49-F238E27FC236}">
                  <a16:creationId xmlns:a16="http://schemas.microsoft.com/office/drawing/2014/main" id="{375AA262-DE82-441D-A36C-AFF64AFE4D75}"/>
                </a:ext>
              </a:extLst>
            </p:cNvPr>
            <p:cNvSpPr/>
            <p:nvPr/>
          </p:nvSpPr>
          <p:spPr>
            <a:xfrm>
              <a:off x="8130916" y="5879080"/>
              <a:ext cx="477910" cy="566237"/>
            </a:xfrm>
            <a:prstGeom prst="donut">
              <a:avLst>
                <a:gd name="adj" fmla="val 8736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025">
                <a:solidFill>
                  <a:schemeClr val="tx1"/>
                </a:solidFill>
              </a:endParaRPr>
            </a:p>
          </p:txBody>
        </p:sp>
        <p:cxnSp>
          <p:nvCxnSpPr>
            <p:cNvPr id="24" name="Straight Connector 15">
              <a:extLst>
                <a:ext uri="{FF2B5EF4-FFF2-40B4-BE49-F238E27FC236}">
                  <a16:creationId xmlns:a16="http://schemas.microsoft.com/office/drawing/2014/main" id="{E1FA8CD2-A506-43B9-85C7-AFB1642F1C45}"/>
                </a:ext>
              </a:extLst>
            </p:cNvPr>
            <p:cNvCxnSpPr>
              <a:cxnSpLocks/>
              <a:endCxn id="16" idx="0"/>
            </p:cNvCxnSpPr>
            <p:nvPr/>
          </p:nvCxnSpPr>
          <p:spPr>
            <a:xfrm>
              <a:off x="3716015" y="3423431"/>
              <a:ext cx="544099" cy="1020804"/>
            </a:xfrm>
            <a:prstGeom prst="line">
              <a:avLst/>
            </a:prstGeom>
            <a:ln w="38100">
              <a:solidFill>
                <a:schemeClr val="accent6">
                  <a:lumMod val="75000"/>
                </a:schemeClr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16">
              <a:extLst>
                <a:ext uri="{FF2B5EF4-FFF2-40B4-BE49-F238E27FC236}">
                  <a16:creationId xmlns:a16="http://schemas.microsoft.com/office/drawing/2014/main" id="{A785B6BC-8987-4E6D-A4AC-F5D7DED9581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72364" y="3434127"/>
              <a:ext cx="723368" cy="1657924"/>
            </a:xfrm>
            <a:prstGeom prst="line">
              <a:avLst/>
            </a:prstGeom>
            <a:ln w="38100">
              <a:solidFill>
                <a:srgbClr val="00B050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TextBox 19">
              <a:extLst>
                <a:ext uri="{FF2B5EF4-FFF2-40B4-BE49-F238E27FC236}">
                  <a16:creationId xmlns:a16="http://schemas.microsoft.com/office/drawing/2014/main" id="{D7F983BF-044C-4473-85AE-C4330F74F609}"/>
                </a:ext>
              </a:extLst>
            </p:cNvPr>
            <p:cNvSpPr txBox="1"/>
            <p:nvPr/>
          </p:nvSpPr>
          <p:spPr>
            <a:xfrm>
              <a:off x="1916586" y="4945763"/>
              <a:ext cx="1608299" cy="246221"/>
            </a:xfrm>
            <a:prstGeom prst="rect">
              <a:avLst/>
            </a:prstGeom>
            <a:solidFill>
              <a:srgbClr val="7030A0"/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ko-KR" sz="1000" b="1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Economie</a:t>
              </a:r>
              <a:r>
                <a:rPr lang="en-US" altLang="ko-KR" sz="10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en-US" altLang="ko-KR" sz="1000" b="1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ondiale</a:t>
              </a:r>
              <a:endParaRPr lang="ko-KR" altLang="en-US" sz="1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7" name="TextBox 22">
              <a:extLst>
                <a:ext uri="{FF2B5EF4-FFF2-40B4-BE49-F238E27FC236}">
                  <a16:creationId xmlns:a16="http://schemas.microsoft.com/office/drawing/2014/main" id="{81F8957F-37FB-4A0C-9351-A53BC9E9DD9C}"/>
                </a:ext>
              </a:extLst>
            </p:cNvPr>
            <p:cNvSpPr txBox="1"/>
            <p:nvPr/>
          </p:nvSpPr>
          <p:spPr>
            <a:xfrm>
              <a:off x="1951411" y="3537327"/>
              <a:ext cx="1573474" cy="430887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altLang="ko-KR" sz="1100" b="1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Baisse</a:t>
              </a:r>
              <a:r>
                <a:rPr lang="en-US" altLang="ko-KR" sz="110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des Exportations</a:t>
              </a:r>
              <a:endParaRPr lang="ko-KR" altLang="en-US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28" name="Straight Connector 23">
              <a:extLst>
                <a:ext uri="{FF2B5EF4-FFF2-40B4-BE49-F238E27FC236}">
                  <a16:creationId xmlns:a16="http://schemas.microsoft.com/office/drawing/2014/main" id="{0D318952-5FA4-4154-A15B-8CB90BDB0CB4}"/>
                </a:ext>
              </a:extLst>
            </p:cNvPr>
            <p:cNvCxnSpPr>
              <a:cxnSpLocks/>
              <a:stCxn id="17" idx="0"/>
            </p:cNvCxnSpPr>
            <p:nvPr/>
          </p:nvCxnSpPr>
          <p:spPr>
            <a:xfrm>
              <a:off x="5155600" y="5507678"/>
              <a:ext cx="1334847" cy="1029057"/>
            </a:xfrm>
            <a:prstGeom prst="line">
              <a:avLst/>
            </a:prstGeom>
            <a:ln w="38100">
              <a:solidFill>
                <a:srgbClr val="C000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Group 24">
              <a:extLst>
                <a:ext uri="{FF2B5EF4-FFF2-40B4-BE49-F238E27FC236}">
                  <a16:creationId xmlns:a16="http://schemas.microsoft.com/office/drawing/2014/main" id="{9888D821-B53B-4944-B68C-9B7B330C2530}"/>
                </a:ext>
              </a:extLst>
            </p:cNvPr>
            <p:cNvGrpSpPr/>
            <p:nvPr/>
          </p:nvGrpSpPr>
          <p:grpSpPr>
            <a:xfrm>
              <a:off x="6528021" y="5587235"/>
              <a:ext cx="1569931" cy="1115288"/>
              <a:chOff x="2396931" y="5259501"/>
              <a:chExt cx="1151035" cy="1380781"/>
            </a:xfrm>
          </p:grpSpPr>
          <p:sp>
            <p:nvSpPr>
              <p:cNvPr id="84" name="TextBox 25">
                <a:extLst>
                  <a:ext uri="{FF2B5EF4-FFF2-40B4-BE49-F238E27FC236}">
                    <a16:creationId xmlns:a16="http://schemas.microsoft.com/office/drawing/2014/main" id="{8319540B-40E1-4AD1-9B5C-2EC05C3AFB9E}"/>
                  </a:ext>
                </a:extLst>
              </p:cNvPr>
              <p:cNvSpPr txBox="1"/>
              <p:nvPr/>
            </p:nvSpPr>
            <p:spPr>
              <a:xfrm>
                <a:off x="2522237" y="5555379"/>
                <a:ext cx="935718" cy="108490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b="1" dirty="0">
                    <a:solidFill>
                      <a:srgbClr val="FF0000"/>
                    </a:solidFill>
                  </a:rPr>
                  <a:t>90</a:t>
                </a:r>
                <a:r>
                  <a:rPr lang="en-US" altLang="ko-KR" sz="700" b="1" dirty="0">
                    <a:solidFill>
                      <a:srgbClr val="FF0000"/>
                    </a:solidFill>
                  </a:rPr>
                  <a:t>%</a:t>
                </a:r>
              </a:p>
              <a:p>
                <a:pPr algn="ctr"/>
                <a:r>
                  <a:rPr lang="en-US" altLang="ko-KR" sz="700" b="1" dirty="0"/>
                  <a:t>Part des TPE du tissue </a:t>
                </a:r>
                <a:r>
                  <a:rPr lang="en-US" altLang="ko-KR" sz="700" b="1" dirty="0" err="1"/>
                  <a:t>économique</a:t>
                </a:r>
                <a:r>
                  <a:rPr lang="en-US" altLang="ko-KR" sz="700" b="1" dirty="0"/>
                  <a:t> </a:t>
                </a:r>
                <a:r>
                  <a:rPr lang="en-US" altLang="ko-KR" sz="700" b="1" dirty="0" err="1"/>
                  <a:t>marocain</a:t>
                </a:r>
                <a:endParaRPr lang="en-US" altLang="ko-KR" sz="700" b="1" dirty="0"/>
              </a:p>
              <a:p>
                <a:pPr algn="r"/>
                <a:endParaRPr lang="ko-KR" alt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5" name="TextBox 26">
                <a:extLst>
                  <a:ext uri="{FF2B5EF4-FFF2-40B4-BE49-F238E27FC236}">
                    <a16:creationId xmlns:a16="http://schemas.microsoft.com/office/drawing/2014/main" id="{06FDCA80-42E3-4B57-AA1E-4DE300382A21}"/>
                  </a:ext>
                </a:extLst>
              </p:cNvPr>
              <p:cNvSpPr txBox="1"/>
              <p:nvPr/>
            </p:nvSpPr>
            <p:spPr>
              <a:xfrm>
                <a:off x="2396931" y="5259501"/>
                <a:ext cx="1151035" cy="371517"/>
              </a:xfrm>
              <a:prstGeom prst="rect">
                <a:avLst/>
              </a:prstGeom>
              <a:solidFill>
                <a:srgbClr val="C00000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fr-FR" sz="1350" b="1" dirty="0">
                    <a:solidFill>
                      <a:schemeClr val="bg1"/>
                    </a:solidFill>
                  </a:rPr>
                  <a:t>TPE</a:t>
                </a:r>
              </a:p>
            </p:txBody>
          </p:sp>
        </p:grpSp>
        <p:sp>
          <p:nvSpPr>
            <p:cNvPr id="83" name="TextBox 29">
              <a:extLst>
                <a:ext uri="{FF2B5EF4-FFF2-40B4-BE49-F238E27FC236}">
                  <a16:creationId xmlns:a16="http://schemas.microsoft.com/office/drawing/2014/main" id="{6AE3FF16-94DF-4BEC-94B4-3BFF1CB5DB50}"/>
                </a:ext>
              </a:extLst>
            </p:cNvPr>
            <p:cNvSpPr txBox="1"/>
            <p:nvPr/>
          </p:nvSpPr>
          <p:spPr>
            <a:xfrm>
              <a:off x="6353579" y="3586017"/>
              <a:ext cx="1605572" cy="282314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ko-KR" sz="1050" b="1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Arrêts</a:t>
              </a:r>
              <a:r>
                <a:rPr lang="en-US" altLang="ko-KR" sz="105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en-US" altLang="ko-KR" sz="1050" b="1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d’entreprises</a:t>
              </a:r>
              <a:endParaRPr lang="ko-KR" altLang="en-US" sz="105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Rounded Rectangle 5">
              <a:extLst>
                <a:ext uri="{FF2B5EF4-FFF2-40B4-BE49-F238E27FC236}">
                  <a16:creationId xmlns:a16="http://schemas.microsoft.com/office/drawing/2014/main" id="{F22E8501-CEDF-43AE-885C-5101096D4F4E}"/>
                </a:ext>
              </a:extLst>
            </p:cNvPr>
            <p:cNvSpPr/>
            <p:nvPr/>
          </p:nvSpPr>
          <p:spPr>
            <a:xfrm flipH="1">
              <a:off x="8213414" y="6090785"/>
              <a:ext cx="267019" cy="260986"/>
            </a:xfrm>
            <a:custGeom>
              <a:avLst/>
              <a:gdLst>
                <a:gd name="connsiteX0" fmla="*/ 1384251 w 3217557"/>
                <a:gd name="connsiteY0" fmla="*/ 661544 h 2702049"/>
                <a:gd name="connsiteX1" fmla="*/ 1574067 w 3217557"/>
                <a:gd name="connsiteY1" fmla="*/ 851360 h 2702049"/>
                <a:gd name="connsiteX2" fmla="*/ 1384251 w 3217557"/>
                <a:gd name="connsiteY2" fmla="*/ 1041176 h 2702049"/>
                <a:gd name="connsiteX3" fmla="*/ 1194435 w 3217557"/>
                <a:gd name="connsiteY3" fmla="*/ 851360 h 2702049"/>
                <a:gd name="connsiteX4" fmla="*/ 1384251 w 3217557"/>
                <a:gd name="connsiteY4" fmla="*/ 661544 h 2702049"/>
                <a:gd name="connsiteX5" fmla="*/ 1993421 w 3217557"/>
                <a:gd name="connsiteY5" fmla="*/ 661544 h 2702049"/>
                <a:gd name="connsiteX6" fmla="*/ 2183237 w 3217557"/>
                <a:gd name="connsiteY6" fmla="*/ 851360 h 2702049"/>
                <a:gd name="connsiteX7" fmla="*/ 1993421 w 3217557"/>
                <a:gd name="connsiteY7" fmla="*/ 1041176 h 2702049"/>
                <a:gd name="connsiteX8" fmla="*/ 1803605 w 3217557"/>
                <a:gd name="connsiteY8" fmla="*/ 851360 h 2702049"/>
                <a:gd name="connsiteX9" fmla="*/ 1993421 w 3217557"/>
                <a:gd name="connsiteY9" fmla="*/ 661544 h 2702049"/>
                <a:gd name="connsiteX10" fmla="*/ 2602591 w 3217557"/>
                <a:gd name="connsiteY10" fmla="*/ 661544 h 2702049"/>
                <a:gd name="connsiteX11" fmla="*/ 2792407 w 3217557"/>
                <a:gd name="connsiteY11" fmla="*/ 851360 h 2702049"/>
                <a:gd name="connsiteX12" fmla="*/ 2602591 w 3217557"/>
                <a:gd name="connsiteY12" fmla="*/ 1041176 h 2702049"/>
                <a:gd name="connsiteX13" fmla="*/ 2412775 w 3217557"/>
                <a:gd name="connsiteY13" fmla="*/ 851360 h 2702049"/>
                <a:gd name="connsiteX14" fmla="*/ 2602591 w 3217557"/>
                <a:gd name="connsiteY14" fmla="*/ 661544 h 2702049"/>
                <a:gd name="connsiteX15" fmla="*/ 677114 w 3217557"/>
                <a:gd name="connsiteY15" fmla="*/ 569491 h 2702049"/>
                <a:gd name="connsiteX16" fmla="*/ 330916 w 3217557"/>
                <a:gd name="connsiteY16" fmla="*/ 569491 h 2702049"/>
                <a:gd name="connsiteX17" fmla="*/ 0 w 3217557"/>
                <a:gd name="connsiteY17" fmla="*/ 900407 h 2702049"/>
                <a:gd name="connsiteX18" fmla="*/ 0 w 3217557"/>
                <a:gd name="connsiteY18" fmla="*/ 1952009 h 2702049"/>
                <a:gd name="connsiteX19" fmla="*/ 330916 w 3217557"/>
                <a:gd name="connsiteY19" fmla="*/ 2282925 h 2702049"/>
                <a:gd name="connsiteX20" fmla="*/ 711670 w 3217557"/>
                <a:gd name="connsiteY20" fmla="*/ 2282925 h 2702049"/>
                <a:gd name="connsiteX21" fmla="*/ 15770 w 3217557"/>
                <a:gd name="connsiteY21" fmla="*/ 2702049 h 2702049"/>
                <a:gd name="connsiteX22" fmla="*/ 1294529 w 3217557"/>
                <a:gd name="connsiteY22" fmla="*/ 2282925 h 2702049"/>
                <a:gd name="connsiteX23" fmla="*/ 2117356 w 3217557"/>
                <a:gd name="connsiteY23" fmla="*/ 2282925 h 2702049"/>
                <a:gd name="connsiteX24" fmla="*/ 2418395 w 3217557"/>
                <a:gd name="connsiteY24" fmla="*/ 2087951 h 2702049"/>
                <a:gd name="connsiteX25" fmla="*/ 1830857 w 3217557"/>
                <a:gd name="connsiteY25" fmla="*/ 1799347 h 2702049"/>
                <a:gd name="connsiteX26" fmla="*/ 1008030 w 3217557"/>
                <a:gd name="connsiteY26" fmla="*/ 1799347 h 2702049"/>
                <a:gd name="connsiteX27" fmla="*/ 677114 w 3217557"/>
                <a:gd name="connsiteY27" fmla="*/ 1468431 h 2702049"/>
                <a:gd name="connsiteX28" fmla="*/ 677114 w 3217557"/>
                <a:gd name="connsiteY28" fmla="*/ 569491 h 2702049"/>
                <a:gd name="connsiteX29" fmla="*/ 2886641 w 3217557"/>
                <a:gd name="connsiteY29" fmla="*/ 0 h 2702049"/>
                <a:gd name="connsiteX30" fmla="*/ 1100201 w 3217557"/>
                <a:gd name="connsiteY30" fmla="*/ 0 h 2702049"/>
                <a:gd name="connsiteX31" fmla="*/ 769285 w 3217557"/>
                <a:gd name="connsiteY31" fmla="*/ 330916 h 2702049"/>
                <a:gd name="connsiteX32" fmla="*/ 769285 w 3217557"/>
                <a:gd name="connsiteY32" fmla="*/ 1382518 h 2702049"/>
                <a:gd name="connsiteX33" fmla="*/ 1100201 w 3217557"/>
                <a:gd name="connsiteY33" fmla="*/ 1713434 h 2702049"/>
                <a:gd name="connsiteX34" fmla="*/ 1923028 w 3217557"/>
                <a:gd name="connsiteY34" fmla="*/ 1713434 h 2702049"/>
                <a:gd name="connsiteX35" fmla="*/ 3078958 w 3217557"/>
                <a:gd name="connsiteY35" fmla="*/ 2077967 h 2702049"/>
                <a:gd name="connsiteX36" fmla="*/ 2505887 w 3217557"/>
                <a:gd name="connsiteY36" fmla="*/ 1713434 h 2702049"/>
                <a:gd name="connsiteX37" fmla="*/ 2886641 w 3217557"/>
                <a:gd name="connsiteY37" fmla="*/ 1713434 h 2702049"/>
                <a:gd name="connsiteX38" fmla="*/ 3217557 w 3217557"/>
                <a:gd name="connsiteY38" fmla="*/ 1382518 h 2702049"/>
                <a:gd name="connsiteX39" fmla="*/ 3217557 w 3217557"/>
                <a:gd name="connsiteY39" fmla="*/ 330916 h 2702049"/>
                <a:gd name="connsiteX40" fmla="*/ 2886641 w 3217557"/>
                <a:gd name="connsiteY40" fmla="*/ 0 h 2702049"/>
                <a:gd name="connsiteX0" fmla="*/ 1384251 w 3217557"/>
                <a:gd name="connsiteY0" fmla="*/ 661544 h 2702049"/>
                <a:gd name="connsiteX1" fmla="*/ 1574067 w 3217557"/>
                <a:gd name="connsiteY1" fmla="*/ 851360 h 2702049"/>
                <a:gd name="connsiteX2" fmla="*/ 1384251 w 3217557"/>
                <a:gd name="connsiteY2" fmla="*/ 1041176 h 2702049"/>
                <a:gd name="connsiteX3" fmla="*/ 1194435 w 3217557"/>
                <a:gd name="connsiteY3" fmla="*/ 851360 h 2702049"/>
                <a:gd name="connsiteX4" fmla="*/ 1384251 w 3217557"/>
                <a:gd name="connsiteY4" fmla="*/ 661544 h 2702049"/>
                <a:gd name="connsiteX5" fmla="*/ 1993421 w 3217557"/>
                <a:gd name="connsiteY5" fmla="*/ 661544 h 2702049"/>
                <a:gd name="connsiteX6" fmla="*/ 2183237 w 3217557"/>
                <a:gd name="connsiteY6" fmla="*/ 851360 h 2702049"/>
                <a:gd name="connsiteX7" fmla="*/ 1993421 w 3217557"/>
                <a:gd name="connsiteY7" fmla="*/ 1041176 h 2702049"/>
                <a:gd name="connsiteX8" fmla="*/ 1803605 w 3217557"/>
                <a:gd name="connsiteY8" fmla="*/ 851360 h 2702049"/>
                <a:gd name="connsiteX9" fmla="*/ 1993421 w 3217557"/>
                <a:gd name="connsiteY9" fmla="*/ 661544 h 2702049"/>
                <a:gd name="connsiteX10" fmla="*/ 2602591 w 3217557"/>
                <a:gd name="connsiteY10" fmla="*/ 661544 h 2702049"/>
                <a:gd name="connsiteX11" fmla="*/ 2792407 w 3217557"/>
                <a:gd name="connsiteY11" fmla="*/ 851360 h 2702049"/>
                <a:gd name="connsiteX12" fmla="*/ 2602591 w 3217557"/>
                <a:gd name="connsiteY12" fmla="*/ 1041176 h 2702049"/>
                <a:gd name="connsiteX13" fmla="*/ 2412775 w 3217557"/>
                <a:gd name="connsiteY13" fmla="*/ 851360 h 2702049"/>
                <a:gd name="connsiteX14" fmla="*/ 2602591 w 3217557"/>
                <a:gd name="connsiteY14" fmla="*/ 661544 h 2702049"/>
                <a:gd name="connsiteX15" fmla="*/ 677114 w 3217557"/>
                <a:gd name="connsiteY15" fmla="*/ 569491 h 2702049"/>
                <a:gd name="connsiteX16" fmla="*/ 330916 w 3217557"/>
                <a:gd name="connsiteY16" fmla="*/ 569491 h 2702049"/>
                <a:gd name="connsiteX17" fmla="*/ 0 w 3217557"/>
                <a:gd name="connsiteY17" fmla="*/ 900407 h 2702049"/>
                <a:gd name="connsiteX18" fmla="*/ 0 w 3217557"/>
                <a:gd name="connsiteY18" fmla="*/ 1952009 h 2702049"/>
                <a:gd name="connsiteX19" fmla="*/ 330916 w 3217557"/>
                <a:gd name="connsiteY19" fmla="*/ 2282925 h 2702049"/>
                <a:gd name="connsiteX20" fmla="*/ 711670 w 3217557"/>
                <a:gd name="connsiteY20" fmla="*/ 2282925 h 2702049"/>
                <a:gd name="connsiteX21" fmla="*/ 15770 w 3217557"/>
                <a:gd name="connsiteY21" fmla="*/ 2702049 h 2702049"/>
                <a:gd name="connsiteX22" fmla="*/ 1294529 w 3217557"/>
                <a:gd name="connsiteY22" fmla="*/ 2282925 h 2702049"/>
                <a:gd name="connsiteX23" fmla="*/ 2117356 w 3217557"/>
                <a:gd name="connsiteY23" fmla="*/ 2282925 h 2702049"/>
                <a:gd name="connsiteX24" fmla="*/ 2418395 w 3217557"/>
                <a:gd name="connsiteY24" fmla="*/ 2087951 h 2702049"/>
                <a:gd name="connsiteX25" fmla="*/ 1830857 w 3217557"/>
                <a:gd name="connsiteY25" fmla="*/ 1799347 h 2702049"/>
                <a:gd name="connsiteX26" fmla="*/ 1008030 w 3217557"/>
                <a:gd name="connsiteY26" fmla="*/ 1799347 h 2702049"/>
                <a:gd name="connsiteX27" fmla="*/ 677114 w 3217557"/>
                <a:gd name="connsiteY27" fmla="*/ 1468431 h 2702049"/>
                <a:gd name="connsiteX28" fmla="*/ 677114 w 3217557"/>
                <a:gd name="connsiteY28" fmla="*/ 569491 h 2702049"/>
                <a:gd name="connsiteX29" fmla="*/ 2886641 w 3217557"/>
                <a:gd name="connsiteY29" fmla="*/ 0 h 2702049"/>
                <a:gd name="connsiteX30" fmla="*/ 1100201 w 3217557"/>
                <a:gd name="connsiteY30" fmla="*/ 0 h 2702049"/>
                <a:gd name="connsiteX31" fmla="*/ 769285 w 3217557"/>
                <a:gd name="connsiteY31" fmla="*/ 330916 h 2702049"/>
                <a:gd name="connsiteX32" fmla="*/ 769285 w 3217557"/>
                <a:gd name="connsiteY32" fmla="*/ 1382518 h 2702049"/>
                <a:gd name="connsiteX33" fmla="*/ 1100201 w 3217557"/>
                <a:gd name="connsiteY33" fmla="*/ 1713434 h 2702049"/>
                <a:gd name="connsiteX34" fmla="*/ 1923028 w 3217557"/>
                <a:gd name="connsiteY34" fmla="*/ 1713434 h 2702049"/>
                <a:gd name="connsiteX35" fmla="*/ 3078958 w 3217557"/>
                <a:gd name="connsiteY35" fmla="*/ 2077967 h 2702049"/>
                <a:gd name="connsiteX36" fmla="*/ 2505887 w 3217557"/>
                <a:gd name="connsiteY36" fmla="*/ 1713434 h 2702049"/>
                <a:gd name="connsiteX37" fmla="*/ 2886641 w 3217557"/>
                <a:gd name="connsiteY37" fmla="*/ 1713434 h 2702049"/>
                <a:gd name="connsiteX38" fmla="*/ 3217557 w 3217557"/>
                <a:gd name="connsiteY38" fmla="*/ 1382518 h 2702049"/>
                <a:gd name="connsiteX39" fmla="*/ 3217557 w 3217557"/>
                <a:gd name="connsiteY39" fmla="*/ 330916 h 2702049"/>
                <a:gd name="connsiteX40" fmla="*/ 2886641 w 3217557"/>
                <a:gd name="connsiteY40" fmla="*/ 0 h 2702049"/>
                <a:gd name="connsiteX0" fmla="*/ 1384251 w 3217557"/>
                <a:gd name="connsiteY0" fmla="*/ 661544 h 2633810"/>
                <a:gd name="connsiteX1" fmla="*/ 1574067 w 3217557"/>
                <a:gd name="connsiteY1" fmla="*/ 851360 h 2633810"/>
                <a:gd name="connsiteX2" fmla="*/ 1384251 w 3217557"/>
                <a:gd name="connsiteY2" fmla="*/ 1041176 h 2633810"/>
                <a:gd name="connsiteX3" fmla="*/ 1194435 w 3217557"/>
                <a:gd name="connsiteY3" fmla="*/ 851360 h 2633810"/>
                <a:gd name="connsiteX4" fmla="*/ 1384251 w 3217557"/>
                <a:gd name="connsiteY4" fmla="*/ 661544 h 2633810"/>
                <a:gd name="connsiteX5" fmla="*/ 1993421 w 3217557"/>
                <a:gd name="connsiteY5" fmla="*/ 661544 h 2633810"/>
                <a:gd name="connsiteX6" fmla="*/ 2183237 w 3217557"/>
                <a:gd name="connsiteY6" fmla="*/ 851360 h 2633810"/>
                <a:gd name="connsiteX7" fmla="*/ 1993421 w 3217557"/>
                <a:gd name="connsiteY7" fmla="*/ 1041176 h 2633810"/>
                <a:gd name="connsiteX8" fmla="*/ 1803605 w 3217557"/>
                <a:gd name="connsiteY8" fmla="*/ 851360 h 2633810"/>
                <a:gd name="connsiteX9" fmla="*/ 1993421 w 3217557"/>
                <a:gd name="connsiteY9" fmla="*/ 661544 h 2633810"/>
                <a:gd name="connsiteX10" fmla="*/ 2602591 w 3217557"/>
                <a:gd name="connsiteY10" fmla="*/ 661544 h 2633810"/>
                <a:gd name="connsiteX11" fmla="*/ 2792407 w 3217557"/>
                <a:gd name="connsiteY11" fmla="*/ 851360 h 2633810"/>
                <a:gd name="connsiteX12" fmla="*/ 2602591 w 3217557"/>
                <a:gd name="connsiteY12" fmla="*/ 1041176 h 2633810"/>
                <a:gd name="connsiteX13" fmla="*/ 2412775 w 3217557"/>
                <a:gd name="connsiteY13" fmla="*/ 851360 h 2633810"/>
                <a:gd name="connsiteX14" fmla="*/ 2602591 w 3217557"/>
                <a:gd name="connsiteY14" fmla="*/ 661544 h 2633810"/>
                <a:gd name="connsiteX15" fmla="*/ 677114 w 3217557"/>
                <a:gd name="connsiteY15" fmla="*/ 569491 h 2633810"/>
                <a:gd name="connsiteX16" fmla="*/ 330916 w 3217557"/>
                <a:gd name="connsiteY16" fmla="*/ 569491 h 2633810"/>
                <a:gd name="connsiteX17" fmla="*/ 0 w 3217557"/>
                <a:gd name="connsiteY17" fmla="*/ 900407 h 2633810"/>
                <a:gd name="connsiteX18" fmla="*/ 0 w 3217557"/>
                <a:gd name="connsiteY18" fmla="*/ 1952009 h 2633810"/>
                <a:gd name="connsiteX19" fmla="*/ 330916 w 3217557"/>
                <a:gd name="connsiteY19" fmla="*/ 2282925 h 2633810"/>
                <a:gd name="connsiteX20" fmla="*/ 711670 w 3217557"/>
                <a:gd name="connsiteY20" fmla="*/ 2282925 h 2633810"/>
                <a:gd name="connsiteX21" fmla="*/ 165895 w 3217557"/>
                <a:gd name="connsiteY21" fmla="*/ 2633810 h 2633810"/>
                <a:gd name="connsiteX22" fmla="*/ 1294529 w 3217557"/>
                <a:gd name="connsiteY22" fmla="*/ 2282925 h 2633810"/>
                <a:gd name="connsiteX23" fmla="*/ 2117356 w 3217557"/>
                <a:gd name="connsiteY23" fmla="*/ 2282925 h 2633810"/>
                <a:gd name="connsiteX24" fmla="*/ 2418395 w 3217557"/>
                <a:gd name="connsiteY24" fmla="*/ 2087951 h 2633810"/>
                <a:gd name="connsiteX25" fmla="*/ 1830857 w 3217557"/>
                <a:gd name="connsiteY25" fmla="*/ 1799347 h 2633810"/>
                <a:gd name="connsiteX26" fmla="*/ 1008030 w 3217557"/>
                <a:gd name="connsiteY26" fmla="*/ 1799347 h 2633810"/>
                <a:gd name="connsiteX27" fmla="*/ 677114 w 3217557"/>
                <a:gd name="connsiteY27" fmla="*/ 1468431 h 2633810"/>
                <a:gd name="connsiteX28" fmla="*/ 677114 w 3217557"/>
                <a:gd name="connsiteY28" fmla="*/ 569491 h 2633810"/>
                <a:gd name="connsiteX29" fmla="*/ 2886641 w 3217557"/>
                <a:gd name="connsiteY29" fmla="*/ 0 h 2633810"/>
                <a:gd name="connsiteX30" fmla="*/ 1100201 w 3217557"/>
                <a:gd name="connsiteY30" fmla="*/ 0 h 2633810"/>
                <a:gd name="connsiteX31" fmla="*/ 769285 w 3217557"/>
                <a:gd name="connsiteY31" fmla="*/ 330916 h 2633810"/>
                <a:gd name="connsiteX32" fmla="*/ 769285 w 3217557"/>
                <a:gd name="connsiteY32" fmla="*/ 1382518 h 2633810"/>
                <a:gd name="connsiteX33" fmla="*/ 1100201 w 3217557"/>
                <a:gd name="connsiteY33" fmla="*/ 1713434 h 2633810"/>
                <a:gd name="connsiteX34" fmla="*/ 1923028 w 3217557"/>
                <a:gd name="connsiteY34" fmla="*/ 1713434 h 2633810"/>
                <a:gd name="connsiteX35" fmla="*/ 3078958 w 3217557"/>
                <a:gd name="connsiteY35" fmla="*/ 2077967 h 2633810"/>
                <a:gd name="connsiteX36" fmla="*/ 2505887 w 3217557"/>
                <a:gd name="connsiteY36" fmla="*/ 1713434 h 2633810"/>
                <a:gd name="connsiteX37" fmla="*/ 2886641 w 3217557"/>
                <a:gd name="connsiteY37" fmla="*/ 1713434 h 2633810"/>
                <a:gd name="connsiteX38" fmla="*/ 3217557 w 3217557"/>
                <a:gd name="connsiteY38" fmla="*/ 1382518 h 2633810"/>
                <a:gd name="connsiteX39" fmla="*/ 3217557 w 3217557"/>
                <a:gd name="connsiteY39" fmla="*/ 330916 h 2633810"/>
                <a:gd name="connsiteX40" fmla="*/ 2886641 w 3217557"/>
                <a:gd name="connsiteY40" fmla="*/ 0 h 2633810"/>
                <a:gd name="connsiteX0" fmla="*/ 1384251 w 3217557"/>
                <a:gd name="connsiteY0" fmla="*/ 661544 h 2633810"/>
                <a:gd name="connsiteX1" fmla="*/ 1574067 w 3217557"/>
                <a:gd name="connsiteY1" fmla="*/ 851360 h 2633810"/>
                <a:gd name="connsiteX2" fmla="*/ 1384251 w 3217557"/>
                <a:gd name="connsiteY2" fmla="*/ 1041176 h 2633810"/>
                <a:gd name="connsiteX3" fmla="*/ 1194435 w 3217557"/>
                <a:gd name="connsiteY3" fmla="*/ 851360 h 2633810"/>
                <a:gd name="connsiteX4" fmla="*/ 1384251 w 3217557"/>
                <a:gd name="connsiteY4" fmla="*/ 661544 h 2633810"/>
                <a:gd name="connsiteX5" fmla="*/ 1993421 w 3217557"/>
                <a:gd name="connsiteY5" fmla="*/ 661544 h 2633810"/>
                <a:gd name="connsiteX6" fmla="*/ 2183237 w 3217557"/>
                <a:gd name="connsiteY6" fmla="*/ 851360 h 2633810"/>
                <a:gd name="connsiteX7" fmla="*/ 1993421 w 3217557"/>
                <a:gd name="connsiteY7" fmla="*/ 1041176 h 2633810"/>
                <a:gd name="connsiteX8" fmla="*/ 1803605 w 3217557"/>
                <a:gd name="connsiteY8" fmla="*/ 851360 h 2633810"/>
                <a:gd name="connsiteX9" fmla="*/ 1993421 w 3217557"/>
                <a:gd name="connsiteY9" fmla="*/ 661544 h 2633810"/>
                <a:gd name="connsiteX10" fmla="*/ 2602591 w 3217557"/>
                <a:gd name="connsiteY10" fmla="*/ 661544 h 2633810"/>
                <a:gd name="connsiteX11" fmla="*/ 2792407 w 3217557"/>
                <a:gd name="connsiteY11" fmla="*/ 851360 h 2633810"/>
                <a:gd name="connsiteX12" fmla="*/ 2602591 w 3217557"/>
                <a:gd name="connsiteY12" fmla="*/ 1041176 h 2633810"/>
                <a:gd name="connsiteX13" fmla="*/ 2412775 w 3217557"/>
                <a:gd name="connsiteY13" fmla="*/ 851360 h 2633810"/>
                <a:gd name="connsiteX14" fmla="*/ 2602591 w 3217557"/>
                <a:gd name="connsiteY14" fmla="*/ 661544 h 2633810"/>
                <a:gd name="connsiteX15" fmla="*/ 677114 w 3217557"/>
                <a:gd name="connsiteY15" fmla="*/ 569491 h 2633810"/>
                <a:gd name="connsiteX16" fmla="*/ 330916 w 3217557"/>
                <a:gd name="connsiteY16" fmla="*/ 569491 h 2633810"/>
                <a:gd name="connsiteX17" fmla="*/ 0 w 3217557"/>
                <a:gd name="connsiteY17" fmla="*/ 900407 h 2633810"/>
                <a:gd name="connsiteX18" fmla="*/ 0 w 3217557"/>
                <a:gd name="connsiteY18" fmla="*/ 1952009 h 2633810"/>
                <a:gd name="connsiteX19" fmla="*/ 330916 w 3217557"/>
                <a:gd name="connsiteY19" fmla="*/ 2282925 h 2633810"/>
                <a:gd name="connsiteX20" fmla="*/ 711670 w 3217557"/>
                <a:gd name="connsiteY20" fmla="*/ 2282925 h 2633810"/>
                <a:gd name="connsiteX21" fmla="*/ 165895 w 3217557"/>
                <a:gd name="connsiteY21" fmla="*/ 2633810 h 2633810"/>
                <a:gd name="connsiteX22" fmla="*/ 1294529 w 3217557"/>
                <a:gd name="connsiteY22" fmla="*/ 2282925 h 2633810"/>
                <a:gd name="connsiteX23" fmla="*/ 2117356 w 3217557"/>
                <a:gd name="connsiteY23" fmla="*/ 2282925 h 2633810"/>
                <a:gd name="connsiteX24" fmla="*/ 2418395 w 3217557"/>
                <a:gd name="connsiteY24" fmla="*/ 2087951 h 2633810"/>
                <a:gd name="connsiteX25" fmla="*/ 1830857 w 3217557"/>
                <a:gd name="connsiteY25" fmla="*/ 1799347 h 2633810"/>
                <a:gd name="connsiteX26" fmla="*/ 1008030 w 3217557"/>
                <a:gd name="connsiteY26" fmla="*/ 1799347 h 2633810"/>
                <a:gd name="connsiteX27" fmla="*/ 677114 w 3217557"/>
                <a:gd name="connsiteY27" fmla="*/ 1468431 h 2633810"/>
                <a:gd name="connsiteX28" fmla="*/ 677114 w 3217557"/>
                <a:gd name="connsiteY28" fmla="*/ 569491 h 2633810"/>
                <a:gd name="connsiteX29" fmla="*/ 2886641 w 3217557"/>
                <a:gd name="connsiteY29" fmla="*/ 0 h 2633810"/>
                <a:gd name="connsiteX30" fmla="*/ 1100201 w 3217557"/>
                <a:gd name="connsiteY30" fmla="*/ 0 h 2633810"/>
                <a:gd name="connsiteX31" fmla="*/ 769285 w 3217557"/>
                <a:gd name="connsiteY31" fmla="*/ 330916 h 2633810"/>
                <a:gd name="connsiteX32" fmla="*/ 769285 w 3217557"/>
                <a:gd name="connsiteY32" fmla="*/ 1382518 h 2633810"/>
                <a:gd name="connsiteX33" fmla="*/ 1100201 w 3217557"/>
                <a:gd name="connsiteY33" fmla="*/ 1713434 h 2633810"/>
                <a:gd name="connsiteX34" fmla="*/ 1923028 w 3217557"/>
                <a:gd name="connsiteY34" fmla="*/ 1713434 h 2633810"/>
                <a:gd name="connsiteX35" fmla="*/ 3078958 w 3217557"/>
                <a:gd name="connsiteY35" fmla="*/ 2077967 h 2633810"/>
                <a:gd name="connsiteX36" fmla="*/ 2505887 w 3217557"/>
                <a:gd name="connsiteY36" fmla="*/ 1713434 h 2633810"/>
                <a:gd name="connsiteX37" fmla="*/ 2886641 w 3217557"/>
                <a:gd name="connsiteY37" fmla="*/ 1713434 h 2633810"/>
                <a:gd name="connsiteX38" fmla="*/ 3217557 w 3217557"/>
                <a:gd name="connsiteY38" fmla="*/ 1382518 h 2633810"/>
                <a:gd name="connsiteX39" fmla="*/ 3217557 w 3217557"/>
                <a:gd name="connsiteY39" fmla="*/ 330916 h 2633810"/>
                <a:gd name="connsiteX40" fmla="*/ 2886641 w 3217557"/>
                <a:gd name="connsiteY40" fmla="*/ 0 h 2633810"/>
                <a:gd name="connsiteX0" fmla="*/ 1384251 w 3217557"/>
                <a:gd name="connsiteY0" fmla="*/ 661544 h 2633810"/>
                <a:gd name="connsiteX1" fmla="*/ 1574067 w 3217557"/>
                <a:gd name="connsiteY1" fmla="*/ 851360 h 2633810"/>
                <a:gd name="connsiteX2" fmla="*/ 1384251 w 3217557"/>
                <a:gd name="connsiteY2" fmla="*/ 1041176 h 2633810"/>
                <a:gd name="connsiteX3" fmla="*/ 1194435 w 3217557"/>
                <a:gd name="connsiteY3" fmla="*/ 851360 h 2633810"/>
                <a:gd name="connsiteX4" fmla="*/ 1384251 w 3217557"/>
                <a:gd name="connsiteY4" fmla="*/ 661544 h 2633810"/>
                <a:gd name="connsiteX5" fmla="*/ 1993421 w 3217557"/>
                <a:gd name="connsiteY5" fmla="*/ 661544 h 2633810"/>
                <a:gd name="connsiteX6" fmla="*/ 2183237 w 3217557"/>
                <a:gd name="connsiteY6" fmla="*/ 851360 h 2633810"/>
                <a:gd name="connsiteX7" fmla="*/ 1993421 w 3217557"/>
                <a:gd name="connsiteY7" fmla="*/ 1041176 h 2633810"/>
                <a:gd name="connsiteX8" fmla="*/ 1803605 w 3217557"/>
                <a:gd name="connsiteY8" fmla="*/ 851360 h 2633810"/>
                <a:gd name="connsiteX9" fmla="*/ 1993421 w 3217557"/>
                <a:gd name="connsiteY9" fmla="*/ 661544 h 2633810"/>
                <a:gd name="connsiteX10" fmla="*/ 2602591 w 3217557"/>
                <a:gd name="connsiteY10" fmla="*/ 661544 h 2633810"/>
                <a:gd name="connsiteX11" fmla="*/ 2792407 w 3217557"/>
                <a:gd name="connsiteY11" fmla="*/ 851360 h 2633810"/>
                <a:gd name="connsiteX12" fmla="*/ 2602591 w 3217557"/>
                <a:gd name="connsiteY12" fmla="*/ 1041176 h 2633810"/>
                <a:gd name="connsiteX13" fmla="*/ 2412775 w 3217557"/>
                <a:gd name="connsiteY13" fmla="*/ 851360 h 2633810"/>
                <a:gd name="connsiteX14" fmla="*/ 2602591 w 3217557"/>
                <a:gd name="connsiteY14" fmla="*/ 661544 h 2633810"/>
                <a:gd name="connsiteX15" fmla="*/ 677114 w 3217557"/>
                <a:gd name="connsiteY15" fmla="*/ 569491 h 2633810"/>
                <a:gd name="connsiteX16" fmla="*/ 330916 w 3217557"/>
                <a:gd name="connsiteY16" fmla="*/ 569491 h 2633810"/>
                <a:gd name="connsiteX17" fmla="*/ 0 w 3217557"/>
                <a:gd name="connsiteY17" fmla="*/ 900407 h 2633810"/>
                <a:gd name="connsiteX18" fmla="*/ 0 w 3217557"/>
                <a:gd name="connsiteY18" fmla="*/ 1952009 h 2633810"/>
                <a:gd name="connsiteX19" fmla="*/ 330916 w 3217557"/>
                <a:gd name="connsiteY19" fmla="*/ 2282925 h 2633810"/>
                <a:gd name="connsiteX20" fmla="*/ 711670 w 3217557"/>
                <a:gd name="connsiteY20" fmla="*/ 2282925 h 2633810"/>
                <a:gd name="connsiteX21" fmla="*/ 165895 w 3217557"/>
                <a:gd name="connsiteY21" fmla="*/ 2633810 h 2633810"/>
                <a:gd name="connsiteX22" fmla="*/ 1294529 w 3217557"/>
                <a:gd name="connsiteY22" fmla="*/ 2282925 h 2633810"/>
                <a:gd name="connsiteX23" fmla="*/ 2117356 w 3217557"/>
                <a:gd name="connsiteY23" fmla="*/ 2282925 h 2633810"/>
                <a:gd name="connsiteX24" fmla="*/ 2418395 w 3217557"/>
                <a:gd name="connsiteY24" fmla="*/ 2087951 h 2633810"/>
                <a:gd name="connsiteX25" fmla="*/ 1830857 w 3217557"/>
                <a:gd name="connsiteY25" fmla="*/ 1799347 h 2633810"/>
                <a:gd name="connsiteX26" fmla="*/ 1008030 w 3217557"/>
                <a:gd name="connsiteY26" fmla="*/ 1799347 h 2633810"/>
                <a:gd name="connsiteX27" fmla="*/ 677114 w 3217557"/>
                <a:gd name="connsiteY27" fmla="*/ 1468431 h 2633810"/>
                <a:gd name="connsiteX28" fmla="*/ 677114 w 3217557"/>
                <a:gd name="connsiteY28" fmla="*/ 569491 h 2633810"/>
                <a:gd name="connsiteX29" fmla="*/ 2886641 w 3217557"/>
                <a:gd name="connsiteY29" fmla="*/ 0 h 2633810"/>
                <a:gd name="connsiteX30" fmla="*/ 1100201 w 3217557"/>
                <a:gd name="connsiteY30" fmla="*/ 0 h 2633810"/>
                <a:gd name="connsiteX31" fmla="*/ 769285 w 3217557"/>
                <a:gd name="connsiteY31" fmla="*/ 330916 h 2633810"/>
                <a:gd name="connsiteX32" fmla="*/ 769285 w 3217557"/>
                <a:gd name="connsiteY32" fmla="*/ 1382518 h 2633810"/>
                <a:gd name="connsiteX33" fmla="*/ 1100201 w 3217557"/>
                <a:gd name="connsiteY33" fmla="*/ 1713434 h 2633810"/>
                <a:gd name="connsiteX34" fmla="*/ 1923028 w 3217557"/>
                <a:gd name="connsiteY34" fmla="*/ 1713434 h 2633810"/>
                <a:gd name="connsiteX35" fmla="*/ 3078958 w 3217557"/>
                <a:gd name="connsiteY35" fmla="*/ 2077967 h 2633810"/>
                <a:gd name="connsiteX36" fmla="*/ 2505887 w 3217557"/>
                <a:gd name="connsiteY36" fmla="*/ 1713434 h 2633810"/>
                <a:gd name="connsiteX37" fmla="*/ 2886641 w 3217557"/>
                <a:gd name="connsiteY37" fmla="*/ 1713434 h 2633810"/>
                <a:gd name="connsiteX38" fmla="*/ 3217557 w 3217557"/>
                <a:gd name="connsiteY38" fmla="*/ 1382518 h 2633810"/>
                <a:gd name="connsiteX39" fmla="*/ 3217557 w 3217557"/>
                <a:gd name="connsiteY39" fmla="*/ 330916 h 2633810"/>
                <a:gd name="connsiteX40" fmla="*/ 2886641 w 3217557"/>
                <a:gd name="connsiteY40" fmla="*/ 0 h 2633810"/>
                <a:gd name="connsiteX0" fmla="*/ 1384251 w 3217557"/>
                <a:gd name="connsiteY0" fmla="*/ 661544 h 2654282"/>
                <a:gd name="connsiteX1" fmla="*/ 1574067 w 3217557"/>
                <a:gd name="connsiteY1" fmla="*/ 851360 h 2654282"/>
                <a:gd name="connsiteX2" fmla="*/ 1384251 w 3217557"/>
                <a:gd name="connsiteY2" fmla="*/ 1041176 h 2654282"/>
                <a:gd name="connsiteX3" fmla="*/ 1194435 w 3217557"/>
                <a:gd name="connsiteY3" fmla="*/ 851360 h 2654282"/>
                <a:gd name="connsiteX4" fmla="*/ 1384251 w 3217557"/>
                <a:gd name="connsiteY4" fmla="*/ 661544 h 2654282"/>
                <a:gd name="connsiteX5" fmla="*/ 1993421 w 3217557"/>
                <a:gd name="connsiteY5" fmla="*/ 661544 h 2654282"/>
                <a:gd name="connsiteX6" fmla="*/ 2183237 w 3217557"/>
                <a:gd name="connsiteY6" fmla="*/ 851360 h 2654282"/>
                <a:gd name="connsiteX7" fmla="*/ 1993421 w 3217557"/>
                <a:gd name="connsiteY7" fmla="*/ 1041176 h 2654282"/>
                <a:gd name="connsiteX8" fmla="*/ 1803605 w 3217557"/>
                <a:gd name="connsiteY8" fmla="*/ 851360 h 2654282"/>
                <a:gd name="connsiteX9" fmla="*/ 1993421 w 3217557"/>
                <a:gd name="connsiteY9" fmla="*/ 661544 h 2654282"/>
                <a:gd name="connsiteX10" fmla="*/ 2602591 w 3217557"/>
                <a:gd name="connsiteY10" fmla="*/ 661544 h 2654282"/>
                <a:gd name="connsiteX11" fmla="*/ 2792407 w 3217557"/>
                <a:gd name="connsiteY11" fmla="*/ 851360 h 2654282"/>
                <a:gd name="connsiteX12" fmla="*/ 2602591 w 3217557"/>
                <a:gd name="connsiteY12" fmla="*/ 1041176 h 2654282"/>
                <a:gd name="connsiteX13" fmla="*/ 2412775 w 3217557"/>
                <a:gd name="connsiteY13" fmla="*/ 851360 h 2654282"/>
                <a:gd name="connsiteX14" fmla="*/ 2602591 w 3217557"/>
                <a:gd name="connsiteY14" fmla="*/ 661544 h 2654282"/>
                <a:gd name="connsiteX15" fmla="*/ 677114 w 3217557"/>
                <a:gd name="connsiteY15" fmla="*/ 569491 h 2654282"/>
                <a:gd name="connsiteX16" fmla="*/ 330916 w 3217557"/>
                <a:gd name="connsiteY16" fmla="*/ 569491 h 2654282"/>
                <a:gd name="connsiteX17" fmla="*/ 0 w 3217557"/>
                <a:gd name="connsiteY17" fmla="*/ 900407 h 2654282"/>
                <a:gd name="connsiteX18" fmla="*/ 0 w 3217557"/>
                <a:gd name="connsiteY18" fmla="*/ 1952009 h 2654282"/>
                <a:gd name="connsiteX19" fmla="*/ 330916 w 3217557"/>
                <a:gd name="connsiteY19" fmla="*/ 2282925 h 2654282"/>
                <a:gd name="connsiteX20" fmla="*/ 711670 w 3217557"/>
                <a:gd name="connsiteY20" fmla="*/ 2282925 h 2654282"/>
                <a:gd name="connsiteX21" fmla="*/ 275077 w 3217557"/>
                <a:gd name="connsiteY21" fmla="*/ 2654282 h 2654282"/>
                <a:gd name="connsiteX22" fmla="*/ 1294529 w 3217557"/>
                <a:gd name="connsiteY22" fmla="*/ 2282925 h 2654282"/>
                <a:gd name="connsiteX23" fmla="*/ 2117356 w 3217557"/>
                <a:gd name="connsiteY23" fmla="*/ 2282925 h 2654282"/>
                <a:gd name="connsiteX24" fmla="*/ 2418395 w 3217557"/>
                <a:gd name="connsiteY24" fmla="*/ 2087951 h 2654282"/>
                <a:gd name="connsiteX25" fmla="*/ 1830857 w 3217557"/>
                <a:gd name="connsiteY25" fmla="*/ 1799347 h 2654282"/>
                <a:gd name="connsiteX26" fmla="*/ 1008030 w 3217557"/>
                <a:gd name="connsiteY26" fmla="*/ 1799347 h 2654282"/>
                <a:gd name="connsiteX27" fmla="*/ 677114 w 3217557"/>
                <a:gd name="connsiteY27" fmla="*/ 1468431 h 2654282"/>
                <a:gd name="connsiteX28" fmla="*/ 677114 w 3217557"/>
                <a:gd name="connsiteY28" fmla="*/ 569491 h 2654282"/>
                <a:gd name="connsiteX29" fmla="*/ 2886641 w 3217557"/>
                <a:gd name="connsiteY29" fmla="*/ 0 h 2654282"/>
                <a:gd name="connsiteX30" fmla="*/ 1100201 w 3217557"/>
                <a:gd name="connsiteY30" fmla="*/ 0 h 2654282"/>
                <a:gd name="connsiteX31" fmla="*/ 769285 w 3217557"/>
                <a:gd name="connsiteY31" fmla="*/ 330916 h 2654282"/>
                <a:gd name="connsiteX32" fmla="*/ 769285 w 3217557"/>
                <a:gd name="connsiteY32" fmla="*/ 1382518 h 2654282"/>
                <a:gd name="connsiteX33" fmla="*/ 1100201 w 3217557"/>
                <a:gd name="connsiteY33" fmla="*/ 1713434 h 2654282"/>
                <a:gd name="connsiteX34" fmla="*/ 1923028 w 3217557"/>
                <a:gd name="connsiteY34" fmla="*/ 1713434 h 2654282"/>
                <a:gd name="connsiteX35" fmla="*/ 3078958 w 3217557"/>
                <a:gd name="connsiteY35" fmla="*/ 2077967 h 2654282"/>
                <a:gd name="connsiteX36" fmla="*/ 2505887 w 3217557"/>
                <a:gd name="connsiteY36" fmla="*/ 1713434 h 2654282"/>
                <a:gd name="connsiteX37" fmla="*/ 2886641 w 3217557"/>
                <a:gd name="connsiteY37" fmla="*/ 1713434 h 2654282"/>
                <a:gd name="connsiteX38" fmla="*/ 3217557 w 3217557"/>
                <a:gd name="connsiteY38" fmla="*/ 1382518 h 2654282"/>
                <a:gd name="connsiteX39" fmla="*/ 3217557 w 3217557"/>
                <a:gd name="connsiteY39" fmla="*/ 330916 h 2654282"/>
                <a:gd name="connsiteX40" fmla="*/ 2886641 w 3217557"/>
                <a:gd name="connsiteY40" fmla="*/ 0 h 2654282"/>
                <a:gd name="connsiteX0" fmla="*/ 1384251 w 3217557"/>
                <a:gd name="connsiteY0" fmla="*/ 661544 h 2654282"/>
                <a:gd name="connsiteX1" fmla="*/ 1574067 w 3217557"/>
                <a:gd name="connsiteY1" fmla="*/ 851360 h 2654282"/>
                <a:gd name="connsiteX2" fmla="*/ 1384251 w 3217557"/>
                <a:gd name="connsiteY2" fmla="*/ 1041176 h 2654282"/>
                <a:gd name="connsiteX3" fmla="*/ 1194435 w 3217557"/>
                <a:gd name="connsiteY3" fmla="*/ 851360 h 2654282"/>
                <a:gd name="connsiteX4" fmla="*/ 1384251 w 3217557"/>
                <a:gd name="connsiteY4" fmla="*/ 661544 h 2654282"/>
                <a:gd name="connsiteX5" fmla="*/ 1993421 w 3217557"/>
                <a:gd name="connsiteY5" fmla="*/ 661544 h 2654282"/>
                <a:gd name="connsiteX6" fmla="*/ 2183237 w 3217557"/>
                <a:gd name="connsiteY6" fmla="*/ 851360 h 2654282"/>
                <a:gd name="connsiteX7" fmla="*/ 1993421 w 3217557"/>
                <a:gd name="connsiteY7" fmla="*/ 1041176 h 2654282"/>
                <a:gd name="connsiteX8" fmla="*/ 1803605 w 3217557"/>
                <a:gd name="connsiteY8" fmla="*/ 851360 h 2654282"/>
                <a:gd name="connsiteX9" fmla="*/ 1993421 w 3217557"/>
                <a:gd name="connsiteY9" fmla="*/ 661544 h 2654282"/>
                <a:gd name="connsiteX10" fmla="*/ 2602591 w 3217557"/>
                <a:gd name="connsiteY10" fmla="*/ 661544 h 2654282"/>
                <a:gd name="connsiteX11" fmla="*/ 2792407 w 3217557"/>
                <a:gd name="connsiteY11" fmla="*/ 851360 h 2654282"/>
                <a:gd name="connsiteX12" fmla="*/ 2602591 w 3217557"/>
                <a:gd name="connsiteY12" fmla="*/ 1041176 h 2654282"/>
                <a:gd name="connsiteX13" fmla="*/ 2412775 w 3217557"/>
                <a:gd name="connsiteY13" fmla="*/ 851360 h 2654282"/>
                <a:gd name="connsiteX14" fmla="*/ 2602591 w 3217557"/>
                <a:gd name="connsiteY14" fmla="*/ 661544 h 2654282"/>
                <a:gd name="connsiteX15" fmla="*/ 677114 w 3217557"/>
                <a:gd name="connsiteY15" fmla="*/ 569491 h 2654282"/>
                <a:gd name="connsiteX16" fmla="*/ 330916 w 3217557"/>
                <a:gd name="connsiteY16" fmla="*/ 569491 h 2654282"/>
                <a:gd name="connsiteX17" fmla="*/ 0 w 3217557"/>
                <a:gd name="connsiteY17" fmla="*/ 900407 h 2654282"/>
                <a:gd name="connsiteX18" fmla="*/ 0 w 3217557"/>
                <a:gd name="connsiteY18" fmla="*/ 1952009 h 2654282"/>
                <a:gd name="connsiteX19" fmla="*/ 330916 w 3217557"/>
                <a:gd name="connsiteY19" fmla="*/ 2282925 h 2654282"/>
                <a:gd name="connsiteX20" fmla="*/ 711670 w 3217557"/>
                <a:gd name="connsiteY20" fmla="*/ 2282925 h 2654282"/>
                <a:gd name="connsiteX21" fmla="*/ 275077 w 3217557"/>
                <a:gd name="connsiteY21" fmla="*/ 2654282 h 2654282"/>
                <a:gd name="connsiteX22" fmla="*/ 1294529 w 3217557"/>
                <a:gd name="connsiteY22" fmla="*/ 2282925 h 2654282"/>
                <a:gd name="connsiteX23" fmla="*/ 2117356 w 3217557"/>
                <a:gd name="connsiteY23" fmla="*/ 2282925 h 2654282"/>
                <a:gd name="connsiteX24" fmla="*/ 2418395 w 3217557"/>
                <a:gd name="connsiteY24" fmla="*/ 2087951 h 2654282"/>
                <a:gd name="connsiteX25" fmla="*/ 1830857 w 3217557"/>
                <a:gd name="connsiteY25" fmla="*/ 1799347 h 2654282"/>
                <a:gd name="connsiteX26" fmla="*/ 1008030 w 3217557"/>
                <a:gd name="connsiteY26" fmla="*/ 1799347 h 2654282"/>
                <a:gd name="connsiteX27" fmla="*/ 677114 w 3217557"/>
                <a:gd name="connsiteY27" fmla="*/ 1468431 h 2654282"/>
                <a:gd name="connsiteX28" fmla="*/ 677114 w 3217557"/>
                <a:gd name="connsiteY28" fmla="*/ 569491 h 2654282"/>
                <a:gd name="connsiteX29" fmla="*/ 2886641 w 3217557"/>
                <a:gd name="connsiteY29" fmla="*/ 0 h 2654282"/>
                <a:gd name="connsiteX30" fmla="*/ 1100201 w 3217557"/>
                <a:gd name="connsiteY30" fmla="*/ 0 h 2654282"/>
                <a:gd name="connsiteX31" fmla="*/ 769285 w 3217557"/>
                <a:gd name="connsiteY31" fmla="*/ 330916 h 2654282"/>
                <a:gd name="connsiteX32" fmla="*/ 769285 w 3217557"/>
                <a:gd name="connsiteY32" fmla="*/ 1382518 h 2654282"/>
                <a:gd name="connsiteX33" fmla="*/ 1100201 w 3217557"/>
                <a:gd name="connsiteY33" fmla="*/ 1713434 h 2654282"/>
                <a:gd name="connsiteX34" fmla="*/ 1923028 w 3217557"/>
                <a:gd name="connsiteY34" fmla="*/ 1713434 h 2654282"/>
                <a:gd name="connsiteX35" fmla="*/ 3078958 w 3217557"/>
                <a:gd name="connsiteY35" fmla="*/ 2077967 h 2654282"/>
                <a:gd name="connsiteX36" fmla="*/ 2505887 w 3217557"/>
                <a:gd name="connsiteY36" fmla="*/ 1713434 h 2654282"/>
                <a:gd name="connsiteX37" fmla="*/ 2886641 w 3217557"/>
                <a:gd name="connsiteY37" fmla="*/ 1713434 h 2654282"/>
                <a:gd name="connsiteX38" fmla="*/ 3217557 w 3217557"/>
                <a:gd name="connsiteY38" fmla="*/ 1382518 h 2654282"/>
                <a:gd name="connsiteX39" fmla="*/ 3217557 w 3217557"/>
                <a:gd name="connsiteY39" fmla="*/ 330916 h 2654282"/>
                <a:gd name="connsiteX40" fmla="*/ 2886641 w 3217557"/>
                <a:gd name="connsiteY40" fmla="*/ 0 h 2654282"/>
                <a:gd name="connsiteX0" fmla="*/ 1384251 w 3217557"/>
                <a:gd name="connsiteY0" fmla="*/ 661544 h 2654282"/>
                <a:gd name="connsiteX1" fmla="*/ 1574067 w 3217557"/>
                <a:gd name="connsiteY1" fmla="*/ 851360 h 2654282"/>
                <a:gd name="connsiteX2" fmla="*/ 1384251 w 3217557"/>
                <a:gd name="connsiteY2" fmla="*/ 1041176 h 2654282"/>
                <a:gd name="connsiteX3" fmla="*/ 1194435 w 3217557"/>
                <a:gd name="connsiteY3" fmla="*/ 851360 h 2654282"/>
                <a:gd name="connsiteX4" fmla="*/ 1384251 w 3217557"/>
                <a:gd name="connsiteY4" fmla="*/ 661544 h 2654282"/>
                <a:gd name="connsiteX5" fmla="*/ 1993421 w 3217557"/>
                <a:gd name="connsiteY5" fmla="*/ 661544 h 2654282"/>
                <a:gd name="connsiteX6" fmla="*/ 2183237 w 3217557"/>
                <a:gd name="connsiteY6" fmla="*/ 851360 h 2654282"/>
                <a:gd name="connsiteX7" fmla="*/ 1993421 w 3217557"/>
                <a:gd name="connsiteY7" fmla="*/ 1041176 h 2654282"/>
                <a:gd name="connsiteX8" fmla="*/ 1803605 w 3217557"/>
                <a:gd name="connsiteY8" fmla="*/ 851360 h 2654282"/>
                <a:gd name="connsiteX9" fmla="*/ 1993421 w 3217557"/>
                <a:gd name="connsiteY9" fmla="*/ 661544 h 2654282"/>
                <a:gd name="connsiteX10" fmla="*/ 2602591 w 3217557"/>
                <a:gd name="connsiteY10" fmla="*/ 661544 h 2654282"/>
                <a:gd name="connsiteX11" fmla="*/ 2792407 w 3217557"/>
                <a:gd name="connsiteY11" fmla="*/ 851360 h 2654282"/>
                <a:gd name="connsiteX12" fmla="*/ 2602591 w 3217557"/>
                <a:gd name="connsiteY12" fmla="*/ 1041176 h 2654282"/>
                <a:gd name="connsiteX13" fmla="*/ 2412775 w 3217557"/>
                <a:gd name="connsiteY13" fmla="*/ 851360 h 2654282"/>
                <a:gd name="connsiteX14" fmla="*/ 2602591 w 3217557"/>
                <a:gd name="connsiteY14" fmla="*/ 661544 h 2654282"/>
                <a:gd name="connsiteX15" fmla="*/ 677114 w 3217557"/>
                <a:gd name="connsiteY15" fmla="*/ 569491 h 2654282"/>
                <a:gd name="connsiteX16" fmla="*/ 330916 w 3217557"/>
                <a:gd name="connsiteY16" fmla="*/ 569491 h 2654282"/>
                <a:gd name="connsiteX17" fmla="*/ 0 w 3217557"/>
                <a:gd name="connsiteY17" fmla="*/ 900407 h 2654282"/>
                <a:gd name="connsiteX18" fmla="*/ 0 w 3217557"/>
                <a:gd name="connsiteY18" fmla="*/ 1952009 h 2654282"/>
                <a:gd name="connsiteX19" fmla="*/ 330916 w 3217557"/>
                <a:gd name="connsiteY19" fmla="*/ 2282925 h 2654282"/>
                <a:gd name="connsiteX20" fmla="*/ 711670 w 3217557"/>
                <a:gd name="connsiteY20" fmla="*/ 2282925 h 2654282"/>
                <a:gd name="connsiteX21" fmla="*/ 275077 w 3217557"/>
                <a:gd name="connsiteY21" fmla="*/ 2654282 h 2654282"/>
                <a:gd name="connsiteX22" fmla="*/ 1294529 w 3217557"/>
                <a:gd name="connsiteY22" fmla="*/ 2282925 h 2654282"/>
                <a:gd name="connsiteX23" fmla="*/ 2117356 w 3217557"/>
                <a:gd name="connsiteY23" fmla="*/ 2282925 h 2654282"/>
                <a:gd name="connsiteX24" fmla="*/ 2418395 w 3217557"/>
                <a:gd name="connsiteY24" fmla="*/ 2087951 h 2654282"/>
                <a:gd name="connsiteX25" fmla="*/ 1830857 w 3217557"/>
                <a:gd name="connsiteY25" fmla="*/ 1799347 h 2654282"/>
                <a:gd name="connsiteX26" fmla="*/ 1008030 w 3217557"/>
                <a:gd name="connsiteY26" fmla="*/ 1799347 h 2654282"/>
                <a:gd name="connsiteX27" fmla="*/ 677114 w 3217557"/>
                <a:gd name="connsiteY27" fmla="*/ 1468431 h 2654282"/>
                <a:gd name="connsiteX28" fmla="*/ 677114 w 3217557"/>
                <a:gd name="connsiteY28" fmla="*/ 569491 h 2654282"/>
                <a:gd name="connsiteX29" fmla="*/ 2886641 w 3217557"/>
                <a:gd name="connsiteY29" fmla="*/ 0 h 2654282"/>
                <a:gd name="connsiteX30" fmla="*/ 1100201 w 3217557"/>
                <a:gd name="connsiteY30" fmla="*/ 0 h 2654282"/>
                <a:gd name="connsiteX31" fmla="*/ 769285 w 3217557"/>
                <a:gd name="connsiteY31" fmla="*/ 330916 h 2654282"/>
                <a:gd name="connsiteX32" fmla="*/ 769285 w 3217557"/>
                <a:gd name="connsiteY32" fmla="*/ 1382518 h 2654282"/>
                <a:gd name="connsiteX33" fmla="*/ 1100201 w 3217557"/>
                <a:gd name="connsiteY33" fmla="*/ 1713434 h 2654282"/>
                <a:gd name="connsiteX34" fmla="*/ 1923028 w 3217557"/>
                <a:gd name="connsiteY34" fmla="*/ 1713434 h 2654282"/>
                <a:gd name="connsiteX35" fmla="*/ 3078958 w 3217557"/>
                <a:gd name="connsiteY35" fmla="*/ 2077967 h 2654282"/>
                <a:gd name="connsiteX36" fmla="*/ 2505887 w 3217557"/>
                <a:gd name="connsiteY36" fmla="*/ 1713434 h 2654282"/>
                <a:gd name="connsiteX37" fmla="*/ 2886641 w 3217557"/>
                <a:gd name="connsiteY37" fmla="*/ 1713434 h 2654282"/>
                <a:gd name="connsiteX38" fmla="*/ 3217557 w 3217557"/>
                <a:gd name="connsiteY38" fmla="*/ 1382518 h 2654282"/>
                <a:gd name="connsiteX39" fmla="*/ 3217557 w 3217557"/>
                <a:gd name="connsiteY39" fmla="*/ 330916 h 2654282"/>
                <a:gd name="connsiteX40" fmla="*/ 2886641 w 3217557"/>
                <a:gd name="connsiteY40" fmla="*/ 0 h 2654282"/>
                <a:gd name="connsiteX0" fmla="*/ 1384251 w 3217557"/>
                <a:gd name="connsiteY0" fmla="*/ 661544 h 2654282"/>
                <a:gd name="connsiteX1" fmla="*/ 1574067 w 3217557"/>
                <a:gd name="connsiteY1" fmla="*/ 851360 h 2654282"/>
                <a:gd name="connsiteX2" fmla="*/ 1384251 w 3217557"/>
                <a:gd name="connsiteY2" fmla="*/ 1041176 h 2654282"/>
                <a:gd name="connsiteX3" fmla="*/ 1194435 w 3217557"/>
                <a:gd name="connsiteY3" fmla="*/ 851360 h 2654282"/>
                <a:gd name="connsiteX4" fmla="*/ 1384251 w 3217557"/>
                <a:gd name="connsiteY4" fmla="*/ 661544 h 2654282"/>
                <a:gd name="connsiteX5" fmla="*/ 1993421 w 3217557"/>
                <a:gd name="connsiteY5" fmla="*/ 661544 h 2654282"/>
                <a:gd name="connsiteX6" fmla="*/ 2183237 w 3217557"/>
                <a:gd name="connsiteY6" fmla="*/ 851360 h 2654282"/>
                <a:gd name="connsiteX7" fmla="*/ 1993421 w 3217557"/>
                <a:gd name="connsiteY7" fmla="*/ 1041176 h 2654282"/>
                <a:gd name="connsiteX8" fmla="*/ 1803605 w 3217557"/>
                <a:gd name="connsiteY8" fmla="*/ 851360 h 2654282"/>
                <a:gd name="connsiteX9" fmla="*/ 1993421 w 3217557"/>
                <a:gd name="connsiteY9" fmla="*/ 661544 h 2654282"/>
                <a:gd name="connsiteX10" fmla="*/ 2602591 w 3217557"/>
                <a:gd name="connsiteY10" fmla="*/ 661544 h 2654282"/>
                <a:gd name="connsiteX11" fmla="*/ 2792407 w 3217557"/>
                <a:gd name="connsiteY11" fmla="*/ 851360 h 2654282"/>
                <a:gd name="connsiteX12" fmla="*/ 2602591 w 3217557"/>
                <a:gd name="connsiteY12" fmla="*/ 1041176 h 2654282"/>
                <a:gd name="connsiteX13" fmla="*/ 2412775 w 3217557"/>
                <a:gd name="connsiteY13" fmla="*/ 851360 h 2654282"/>
                <a:gd name="connsiteX14" fmla="*/ 2602591 w 3217557"/>
                <a:gd name="connsiteY14" fmla="*/ 661544 h 2654282"/>
                <a:gd name="connsiteX15" fmla="*/ 677114 w 3217557"/>
                <a:gd name="connsiteY15" fmla="*/ 569491 h 2654282"/>
                <a:gd name="connsiteX16" fmla="*/ 330916 w 3217557"/>
                <a:gd name="connsiteY16" fmla="*/ 569491 h 2654282"/>
                <a:gd name="connsiteX17" fmla="*/ 0 w 3217557"/>
                <a:gd name="connsiteY17" fmla="*/ 900407 h 2654282"/>
                <a:gd name="connsiteX18" fmla="*/ 0 w 3217557"/>
                <a:gd name="connsiteY18" fmla="*/ 1952009 h 2654282"/>
                <a:gd name="connsiteX19" fmla="*/ 330916 w 3217557"/>
                <a:gd name="connsiteY19" fmla="*/ 2282925 h 2654282"/>
                <a:gd name="connsiteX20" fmla="*/ 711670 w 3217557"/>
                <a:gd name="connsiteY20" fmla="*/ 2282925 h 2654282"/>
                <a:gd name="connsiteX21" fmla="*/ 275077 w 3217557"/>
                <a:gd name="connsiteY21" fmla="*/ 2654282 h 2654282"/>
                <a:gd name="connsiteX22" fmla="*/ 1294529 w 3217557"/>
                <a:gd name="connsiteY22" fmla="*/ 2282925 h 2654282"/>
                <a:gd name="connsiteX23" fmla="*/ 2117356 w 3217557"/>
                <a:gd name="connsiteY23" fmla="*/ 2282925 h 2654282"/>
                <a:gd name="connsiteX24" fmla="*/ 2418395 w 3217557"/>
                <a:gd name="connsiteY24" fmla="*/ 2087951 h 2654282"/>
                <a:gd name="connsiteX25" fmla="*/ 1830857 w 3217557"/>
                <a:gd name="connsiteY25" fmla="*/ 1799347 h 2654282"/>
                <a:gd name="connsiteX26" fmla="*/ 1008030 w 3217557"/>
                <a:gd name="connsiteY26" fmla="*/ 1799347 h 2654282"/>
                <a:gd name="connsiteX27" fmla="*/ 677114 w 3217557"/>
                <a:gd name="connsiteY27" fmla="*/ 1468431 h 2654282"/>
                <a:gd name="connsiteX28" fmla="*/ 677114 w 3217557"/>
                <a:gd name="connsiteY28" fmla="*/ 569491 h 2654282"/>
                <a:gd name="connsiteX29" fmla="*/ 2886641 w 3217557"/>
                <a:gd name="connsiteY29" fmla="*/ 0 h 2654282"/>
                <a:gd name="connsiteX30" fmla="*/ 1100201 w 3217557"/>
                <a:gd name="connsiteY30" fmla="*/ 0 h 2654282"/>
                <a:gd name="connsiteX31" fmla="*/ 769285 w 3217557"/>
                <a:gd name="connsiteY31" fmla="*/ 330916 h 2654282"/>
                <a:gd name="connsiteX32" fmla="*/ 769285 w 3217557"/>
                <a:gd name="connsiteY32" fmla="*/ 1382518 h 2654282"/>
                <a:gd name="connsiteX33" fmla="*/ 1100201 w 3217557"/>
                <a:gd name="connsiteY33" fmla="*/ 1713434 h 2654282"/>
                <a:gd name="connsiteX34" fmla="*/ 1923028 w 3217557"/>
                <a:gd name="connsiteY34" fmla="*/ 1713434 h 2654282"/>
                <a:gd name="connsiteX35" fmla="*/ 3078958 w 3217557"/>
                <a:gd name="connsiteY35" fmla="*/ 2077967 h 2654282"/>
                <a:gd name="connsiteX36" fmla="*/ 2505887 w 3217557"/>
                <a:gd name="connsiteY36" fmla="*/ 1713434 h 2654282"/>
                <a:gd name="connsiteX37" fmla="*/ 2886641 w 3217557"/>
                <a:gd name="connsiteY37" fmla="*/ 1713434 h 2654282"/>
                <a:gd name="connsiteX38" fmla="*/ 3217557 w 3217557"/>
                <a:gd name="connsiteY38" fmla="*/ 1382518 h 2654282"/>
                <a:gd name="connsiteX39" fmla="*/ 3217557 w 3217557"/>
                <a:gd name="connsiteY39" fmla="*/ 330916 h 2654282"/>
                <a:gd name="connsiteX40" fmla="*/ 2886641 w 3217557"/>
                <a:gd name="connsiteY40" fmla="*/ 0 h 2654282"/>
                <a:gd name="connsiteX0" fmla="*/ 1384251 w 3217557"/>
                <a:gd name="connsiteY0" fmla="*/ 661544 h 2654282"/>
                <a:gd name="connsiteX1" fmla="*/ 1574067 w 3217557"/>
                <a:gd name="connsiteY1" fmla="*/ 851360 h 2654282"/>
                <a:gd name="connsiteX2" fmla="*/ 1384251 w 3217557"/>
                <a:gd name="connsiteY2" fmla="*/ 1041176 h 2654282"/>
                <a:gd name="connsiteX3" fmla="*/ 1194435 w 3217557"/>
                <a:gd name="connsiteY3" fmla="*/ 851360 h 2654282"/>
                <a:gd name="connsiteX4" fmla="*/ 1384251 w 3217557"/>
                <a:gd name="connsiteY4" fmla="*/ 661544 h 2654282"/>
                <a:gd name="connsiteX5" fmla="*/ 1993421 w 3217557"/>
                <a:gd name="connsiteY5" fmla="*/ 661544 h 2654282"/>
                <a:gd name="connsiteX6" fmla="*/ 2183237 w 3217557"/>
                <a:gd name="connsiteY6" fmla="*/ 851360 h 2654282"/>
                <a:gd name="connsiteX7" fmla="*/ 1993421 w 3217557"/>
                <a:gd name="connsiteY7" fmla="*/ 1041176 h 2654282"/>
                <a:gd name="connsiteX8" fmla="*/ 1803605 w 3217557"/>
                <a:gd name="connsiteY8" fmla="*/ 851360 h 2654282"/>
                <a:gd name="connsiteX9" fmla="*/ 1993421 w 3217557"/>
                <a:gd name="connsiteY9" fmla="*/ 661544 h 2654282"/>
                <a:gd name="connsiteX10" fmla="*/ 2602591 w 3217557"/>
                <a:gd name="connsiteY10" fmla="*/ 661544 h 2654282"/>
                <a:gd name="connsiteX11" fmla="*/ 2792407 w 3217557"/>
                <a:gd name="connsiteY11" fmla="*/ 851360 h 2654282"/>
                <a:gd name="connsiteX12" fmla="*/ 2602591 w 3217557"/>
                <a:gd name="connsiteY12" fmla="*/ 1041176 h 2654282"/>
                <a:gd name="connsiteX13" fmla="*/ 2412775 w 3217557"/>
                <a:gd name="connsiteY13" fmla="*/ 851360 h 2654282"/>
                <a:gd name="connsiteX14" fmla="*/ 2602591 w 3217557"/>
                <a:gd name="connsiteY14" fmla="*/ 661544 h 2654282"/>
                <a:gd name="connsiteX15" fmla="*/ 677114 w 3217557"/>
                <a:gd name="connsiteY15" fmla="*/ 569491 h 2654282"/>
                <a:gd name="connsiteX16" fmla="*/ 330916 w 3217557"/>
                <a:gd name="connsiteY16" fmla="*/ 569491 h 2654282"/>
                <a:gd name="connsiteX17" fmla="*/ 0 w 3217557"/>
                <a:gd name="connsiteY17" fmla="*/ 900407 h 2654282"/>
                <a:gd name="connsiteX18" fmla="*/ 0 w 3217557"/>
                <a:gd name="connsiteY18" fmla="*/ 1952009 h 2654282"/>
                <a:gd name="connsiteX19" fmla="*/ 330916 w 3217557"/>
                <a:gd name="connsiteY19" fmla="*/ 2282925 h 2654282"/>
                <a:gd name="connsiteX20" fmla="*/ 711670 w 3217557"/>
                <a:gd name="connsiteY20" fmla="*/ 2282925 h 2654282"/>
                <a:gd name="connsiteX21" fmla="*/ 275077 w 3217557"/>
                <a:gd name="connsiteY21" fmla="*/ 2654282 h 2654282"/>
                <a:gd name="connsiteX22" fmla="*/ 1294529 w 3217557"/>
                <a:gd name="connsiteY22" fmla="*/ 2282925 h 2654282"/>
                <a:gd name="connsiteX23" fmla="*/ 2117356 w 3217557"/>
                <a:gd name="connsiteY23" fmla="*/ 2282925 h 2654282"/>
                <a:gd name="connsiteX24" fmla="*/ 2418395 w 3217557"/>
                <a:gd name="connsiteY24" fmla="*/ 2087951 h 2654282"/>
                <a:gd name="connsiteX25" fmla="*/ 1830857 w 3217557"/>
                <a:gd name="connsiteY25" fmla="*/ 1799347 h 2654282"/>
                <a:gd name="connsiteX26" fmla="*/ 1008030 w 3217557"/>
                <a:gd name="connsiteY26" fmla="*/ 1799347 h 2654282"/>
                <a:gd name="connsiteX27" fmla="*/ 677114 w 3217557"/>
                <a:gd name="connsiteY27" fmla="*/ 1468431 h 2654282"/>
                <a:gd name="connsiteX28" fmla="*/ 677114 w 3217557"/>
                <a:gd name="connsiteY28" fmla="*/ 569491 h 2654282"/>
                <a:gd name="connsiteX29" fmla="*/ 2886641 w 3217557"/>
                <a:gd name="connsiteY29" fmla="*/ 0 h 2654282"/>
                <a:gd name="connsiteX30" fmla="*/ 1100201 w 3217557"/>
                <a:gd name="connsiteY30" fmla="*/ 0 h 2654282"/>
                <a:gd name="connsiteX31" fmla="*/ 769285 w 3217557"/>
                <a:gd name="connsiteY31" fmla="*/ 330916 h 2654282"/>
                <a:gd name="connsiteX32" fmla="*/ 769285 w 3217557"/>
                <a:gd name="connsiteY32" fmla="*/ 1382518 h 2654282"/>
                <a:gd name="connsiteX33" fmla="*/ 1100201 w 3217557"/>
                <a:gd name="connsiteY33" fmla="*/ 1713434 h 2654282"/>
                <a:gd name="connsiteX34" fmla="*/ 1923028 w 3217557"/>
                <a:gd name="connsiteY34" fmla="*/ 1713434 h 2654282"/>
                <a:gd name="connsiteX35" fmla="*/ 3078958 w 3217557"/>
                <a:gd name="connsiteY35" fmla="*/ 2077967 h 2654282"/>
                <a:gd name="connsiteX36" fmla="*/ 2505887 w 3217557"/>
                <a:gd name="connsiteY36" fmla="*/ 1713434 h 2654282"/>
                <a:gd name="connsiteX37" fmla="*/ 2886641 w 3217557"/>
                <a:gd name="connsiteY37" fmla="*/ 1713434 h 2654282"/>
                <a:gd name="connsiteX38" fmla="*/ 3217557 w 3217557"/>
                <a:gd name="connsiteY38" fmla="*/ 1382518 h 2654282"/>
                <a:gd name="connsiteX39" fmla="*/ 3217557 w 3217557"/>
                <a:gd name="connsiteY39" fmla="*/ 330916 h 2654282"/>
                <a:gd name="connsiteX40" fmla="*/ 2886641 w 3217557"/>
                <a:gd name="connsiteY40" fmla="*/ 0 h 2654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17557" h="2654282">
                  <a:moveTo>
                    <a:pt x="1384251" y="661544"/>
                  </a:moveTo>
                  <a:cubicBezTo>
                    <a:pt x="1489083" y="661544"/>
                    <a:pt x="1574067" y="746528"/>
                    <a:pt x="1574067" y="851360"/>
                  </a:cubicBezTo>
                  <a:cubicBezTo>
                    <a:pt x="1574067" y="956192"/>
                    <a:pt x="1489083" y="1041176"/>
                    <a:pt x="1384251" y="1041176"/>
                  </a:cubicBezTo>
                  <a:cubicBezTo>
                    <a:pt x="1279419" y="1041176"/>
                    <a:pt x="1194435" y="956192"/>
                    <a:pt x="1194435" y="851360"/>
                  </a:cubicBezTo>
                  <a:cubicBezTo>
                    <a:pt x="1194435" y="746528"/>
                    <a:pt x="1279419" y="661544"/>
                    <a:pt x="1384251" y="661544"/>
                  </a:cubicBezTo>
                  <a:close/>
                  <a:moveTo>
                    <a:pt x="1993421" y="661544"/>
                  </a:moveTo>
                  <a:cubicBezTo>
                    <a:pt x="2098253" y="661544"/>
                    <a:pt x="2183237" y="746528"/>
                    <a:pt x="2183237" y="851360"/>
                  </a:cubicBezTo>
                  <a:cubicBezTo>
                    <a:pt x="2183237" y="956192"/>
                    <a:pt x="2098253" y="1041176"/>
                    <a:pt x="1993421" y="1041176"/>
                  </a:cubicBezTo>
                  <a:cubicBezTo>
                    <a:pt x="1888589" y="1041176"/>
                    <a:pt x="1803605" y="956192"/>
                    <a:pt x="1803605" y="851360"/>
                  </a:cubicBezTo>
                  <a:cubicBezTo>
                    <a:pt x="1803605" y="746528"/>
                    <a:pt x="1888589" y="661544"/>
                    <a:pt x="1993421" y="661544"/>
                  </a:cubicBezTo>
                  <a:close/>
                  <a:moveTo>
                    <a:pt x="2602591" y="661544"/>
                  </a:moveTo>
                  <a:cubicBezTo>
                    <a:pt x="2707423" y="661544"/>
                    <a:pt x="2792407" y="746528"/>
                    <a:pt x="2792407" y="851360"/>
                  </a:cubicBezTo>
                  <a:cubicBezTo>
                    <a:pt x="2792407" y="956192"/>
                    <a:pt x="2707423" y="1041176"/>
                    <a:pt x="2602591" y="1041176"/>
                  </a:cubicBezTo>
                  <a:cubicBezTo>
                    <a:pt x="2497759" y="1041176"/>
                    <a:pt x="2412775" y="956192"/>
                    <a:pt x="2412775" y="851360"/>
                  </a:cubicBezTo>
                  <a:cubicBezTo>
                    <a:pt x="2412775" y="746528"/>
                    <a:pt x="2497759" y="661544"/>
                    <a:pt x="2602591" y="661544"/>
                  </a:cubicBezTo>
                  <a:close/>
                  <a:moveTo>
                    <a:pt x="677114" y="569491"/>
                  </a:moveTo>
                  <a:lnTo>
                    <a:pt x="330916" y="569491"/>
                  </a:lnTo>
                  <a:cubicBezTo>
                    <a:pt x="148156" y="569491"/>
                    <a:pt x="0" y="717647"/>
                    <a:pt x="0" y="900407"/>
                  </a:cubicBezTo>
                  <a:lnTo>
                    <a:pt x="0" y="1952009"/>
                  </a:lnTo>
                  <a:cubicBezTo>
                    <a:pt x="0" y="2134769"/>
                    <a:pt x="148156" y="2282925"/>
                    <a:pt x="330916" y="2282925"/>
                  </a:cubicBezTo>
                  <a:lnTo>
                    <a:pt x="711670" y="2282925"/>
                  </a:lnTo>
                  <a:cubicBezTo>
                    <a:pt x="639726" y="2394386"/>
                    <a:pt x="647101" y="2475544"/>
                    <a:pt x="275077" y="2654282"/>
                  </a:cubicBezTo>
                  <a:cubicBezTo>
                    <a:pt x="900998" y="2583693"/>
                    <a:pt x="998412" y="2552618"/>
                    <a:pt x="1294529" y="2282925"/>
                  </a:cubicBezTo>
                  <a:lnTo>
                    <a:pt x="2117356" y="2282925"/>
                  </a:lnTo>
                  <a:cubicBezTo>
                    <a:pt x="2251554" y="2282925"/>
                    <a:pt x="2367095" y="2203043"/>
                    <a:pt x="2418395" y="2087951"/>
                  </a:cubicBezTo>
                  <a:cubicBezTo>
                    <a:pt x="2205538" y="2022975"/>
                    <a:pt x="2032941" y="1932583"/>
                    <a:pt x="1830857" y="1799347"/>
                  </a:cubicBezTo>
                  <a:lnTo>
                    <a:pt x="1008030" y="1799347"/>
                  </a:lnTo>
                  <a:cubicBezTo>
                    <a:pt x="825270" y="1799347"/>
                    <a:pt x="677114" y="1651191"/>
                    <a:pt x="677114" y="1468431"/>
                  </a:cubicBezTo>
                  <a:lnTo>
                    <a:pt x="677114" y="569491"/>
                  </a:lnTo>
                  <a:close/>
                  <a:moveTo>
                    <a:pt x="2886641" y="0"/>
                  </a:moveTo>
                  <a:lnTo>
                    <a:pt x="1100201" y="0"/>
                  </a:lnTo>
                  <a:cubicBezTo>
                    <a:pt x="917441" y="0"/>
                    <a:pt x="769285" y="148156"/>
                    <a:pt x="769285" y="330916"/>
                  </a:cubicBezTo>
                  <a:lnTo>
                    <a:pt x="769285" y="1382518"/>
                  </a:lnTo>
                  <a:cubicBezTo>
                    <a:pt x="769285" y="1565278"/>
                    <a:pt x="917441" y="1713434"/>
                    <a:pt x="1100201" y="1713434"/>
                  </a:cubicBezTo>
                  <a:lnTo>
                    <a:pt x="1923028" y="1713434"/>
                  </a:lnTo>
                  <a:cubicBezTo>
                    <a:pt x="2301032" y="1962656"/>
                    <a:pt x="2453037" y="2007378"/>
                    <a:pt x="3078958" y="2077967"/>
                  </a:cubicBezTo>
                  <a:cubicBezTo>
                    <a:pt x="2713759" y="1878758"/>
                    <a:pt x="2673367" y="1899957"/>
                    <a:pt x="2505887" y="1713434"/>
                  </a:cubicBezTo>
                  <a:lnTo>
                    <a:pt x="2886641" y="1713434"/>
                  </a:lnTo>
                  <a:cubicBezTo>
                    <a:pt x="3069401" y="1713434"/>
                    <a:pt x="3217557" y="1565278"/>
                    <a:pt x="3217557" y="1382518"/>
                  </a:cubicBezTo>
                  <a:lnTo>
                    <a:pt x="3217557" y="330916"/>
                  </a:lnTo>
                  <a:cubicBezTo>
                    <a:pt x="3217557" y="148156"/>
                    <a:pt x="3069401" y="0"/>
                    <a:pt x="2886641" y="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ko-KR"/>
              </a:defPPr>
              <a:lvl1pPr marL="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sz="1350" dirty="0"/>
            </a:p>
          </p:txBody>
        </p:sp>
        <p:grpSp>
          <p:nvGrpSpPr>
            <p:cNvPr id="33" name="Group 50">
              <a:extLst>
                <a:ext uri="{FF2B5EF4-FFF2-40B4-BE49-F238E27FC236}">
                  <a16:creationId xmlns:a16="http://schemas.microsoft.com/office/drawing/2014/main" id="{E502D452-73C9-4998-AC8A-404A4CAD18A8}"/>
                </a:ext>
              </a:extLst>
            </p:cNvPr>
            <p:cNvGrpSpPr/>
            <p:nvPr/>
          </p:nvGrpSpPr>
          <p:grpSpPr>
            <a:xfrm>
              <a:off x="1328103" y="3448623"/>
              <a:ext cx="588846" cy="620515"/>
              <a:chOff x="9005986" y="2140422"/>
              <a:chExt cx="2447760" cy="2629688"/>
            </a:xfrm>
          </p:grpSpPr>
          <p:sp>
            <p:nvSpPr>
              <p:cNvPr id="38" name="Freeform: Shape 40">
                <a:extLst>
                  <a:ext uri="{FF2B5EF4-FFF2-40B4-BE49-F238E27FC236}">
                    <a16:creationId xmlns:a16="http://schemas.microsoft.com/office/drawing/2014/main" id="{24CEF6D6-3583-4EC5-8C3D-BEC4EBC73D1A}"/>
                  </a:ext>
                </a:extLst>
              </p:cNvPr>
              <p:cNvSpPr/>
              <p:nvPr/>
            </p:nvSpPr>
            <p:spPr>
              <a:xfrm>
                <a:off x="9005986" y="2140422"/>
                <a:ext cx="2447760" cy="2629688"/>
              </a:xfrm>
              <a:custGeom>
                <a:avLst/>
                <a:gdLst>
                  <a:gd name="connsiteX0" fmla="*/ 2452196 w 2447760"/>
                  <a:gd name="connsiteY0" fmla="*/ 1244278 h 2629688"/>
                  <a:gd name="connsiteX1" fmla="*/ 2388246 w 2447760"/>
                  <a:gd name="connsiteY1" fmla="*/ 1146698 h 2629688"/>
                  <a:gd name="connsiteX2" fmla="*/ 2155598 w 2447760"/>
                  <a:gd name="connsiteY2" fmla="*/ 1050221 h 2629688"/>
                  <a:gd name="connsiteX3" fmla="*/ 1195789 w 2447760"/>
                  <a:gd name="connsiteY3" fmla="*/ 0 h 2629688"/>
                  <a:gd name="connsiteX4" fmla="*/ 353407 w 2447760"/>
                  <a:gd name="connsiteY4" fmla="*/ 793868 h 2629688"/>
                  <a:gd name="connsiteX5" fmla="*/ 86028 w 2447760"/>
                  <a:gd name="connsiteY5" fmla="*/ 903576 h 2629688"/>
                  <a:gd name="connsiteX6" fmla="*/ 2231 w 2447760"/>
                  <a:gd name="connsiteY6" fmla="*/ 1014938 h 2629688"/>
                  <a:gd name="connsiteX7" fmla="*/ 25 w 2447760"/>
                  <a:gd name="connsiteY7" fmla="*/ 2121943 h 2629688"/>
                  <a:gd name="connsiteX8" fmla="*/ 102567 w 2447760"/>
                  <a:gd name="connsiteY8" fmla="*/ 2255909 h 2629688"/>
                  <a:gd name="connsiteX9" fmla="*/ 1085530 w 2447760"/>
                  <a:gd name="connsiteY9" fmla="*/ 2623624 h 2629688"/>
                  <a:gd name="connsiteX10" fmla="*/ 1164917 w 2447760"/>
                  <a:gd name="connsiteY10" fmla="*/ 2626932 h 2629688"/>
                  <a:gd name="connsiteX11" fmla="*/ 1550274 w 2447760"/>
                  <a:gd name="connsiteY11" fmla="*/ 2523839 h 2629688"/>
                  <a:gd name="connsiteX12" fmla="*/ 2399823 w 2447760"/>
                  <a:gd name="connsiteY12" fmla="*/ 2296705 h 2629688"/>
                  <a:gd name="connsiteX13" fmla="*/ 2451645 w 2447760"/>
                  <a:gd name="connsiteY13" fmla="*/ 2211254 h 2629688"/>
                  <a:gd name="connsiteX14" fmla="*/ 2452196 w 2447760"/>
                  <a:gd name="connsiteY14" fmla="*/ 1244278 h 2629688"/>
                  <a:gd name="connsiteX15" fmla="*/ 947706 w 2447760"/>
                  <a:gd name="connsiteY15" fmla="*/ 587132 h 2629688"/>
                  <a:gd name="connsiteX16" fmla="*/ 469179 w 2447760"/>
                  <a:gd name="connsiteY16" fmla="*/ 753623 h 2629688"/>
                  <a:gd name="connsiteX17" fmla="*/ 1204610 w 2447760"/>
                  <a:gd name="connsiteY17" fmla="*/ 77182 h 2629688"/>
                  <a:gd name="connsiteX18" fmla="*/ 2062429 w 2447760"/>
                  <a:gd name="connsiteY18" fmla="*/ 1007771 h 2629688"/>
                  <a:gd name="connsiteX19" fmla="*/ 1522157 w 2447760"/>
                  <a:gd name="connsiteY19" fmla="*/ 775124 h 2629688"/>
                  <a:gd name="connsiteX20" fmla="*/ 1065683 w 2447760"/>
                  <a:gd name="connsiteY20" fmla="*/ 582721 h 2629688"/>
                  <a:gd name="connsiteX21" fmla="*/ 947706 w 2447760"/>
                  <a:gd name="connsiteY21" fmla="*/ 587132 h 262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447760" h="2629688">
                    <a:moveTo>
                      <a:pt x="2452196" y="1244278"/>
                    </a:moveTo>
                    <a:cubicBezTo>
                      <a:pt x="2452747" y="1192456"/>
                      <a:pt x="2438413" y="1163789"/>
                      <a:pt x="2388246" y="1146698"/>
                    </a:cubicBezTo>
                    <a:cubicBezTo>
                      <a:pt x="2272473" y="1107556"/>
                      <a:pt x="2265857" y="1100389"/>
                      <a:pt x="2155598" y="1050221"/>
                    </a:cubicBezTo>
                    <a:cubicBezTo>
                      <a:pt x="2005094" y="878768"/>
                      <a:pt x="1195789" y="0"/>
                      <a:pt x="1195789" y="0"/>
                    </a:cubicBezTo>
                    <a:cubicBezTo>
                      <a:pt x="1196892" y="16539"/>
                      <a:pt x="407985" y="768508"/>
                      <a:pt x="353407" y="793868"/>
                    </a:cubicBezTo>
                    <a:cubicBezTo>
                      <a:pt x="264097" y="835215"/>
                      <a:pt x="180851" y="875460"/>
                      <a:pt x="86028" y="903576"/>
                    </a:cubicBezTo>
                    <a:cubicBezTo>
                      <a:pt x="26488" y="920666"/>
                      <a:pt x="2231" y="952090"/>
                      <a:pt x="2231" y="1014938"/>
                    </a:cubicBezTo>
                    <a:cubicBezTo>
                      <a:pt x="3885" y="1384308"/>
                      <a:pt x="3885" y="1753125"/>
                      <a:pt x="25" y="2121943"/>
                    </a:cubicBezTo>
                    <a:cubicBezTo>
                      <a:pt x="-1077" y="2200779"/>
                      <a:pt x="33655" y="2232754"/>
                      <a:pt x="102567" y="2255909"/>
                    </a:cubicBezTo>
                    <a:cubicBezTo>
                      <a:pt x="454294" y="2372784"/>
                      <a:pt x="720020" y="2506198"/>
                      <a:pt x="1085530" y="2623624"/>
                    </a:cubicBezTo>
                    <a:cubicBezTo>
                      <a:pt x="1108684" y="2630791"/>
                      <a:pt x="1140108" y="2632996"/>
                      <a:pt x="1164917" y="2626932"/>
                    </a:cubicBezTo>
                    <a:cubicBezTo>
                      <a:pt x="1293920" y="2594405"/>
                      <a:pt x="1421821" y="2558019"/>
                      <a:pt x="1550274" y="2523839"/>
                    </a:cubicBezTo>
                    <a:cubicBezTo>
                      <a:pt x="1836948" y="2447209"/>
                      <a:pt x="2112046" y="2370027"/>
                      <a:pt x="2399823" y="2296705"/>
                    </a:cubicBezTo>
                    <a:cubicBezTo>
                      <a:pt x="2453299" y="2282922"/>
                      <a:pt x="2451645" y="2251498"/>
                      <a:pt x="2451645" y="2211254"/>
                    </a:cubicBezTo>
                    <a:cubicBezTo>
                      <a:pt x="2451093" y="1888745"/>
                      <a:pt x="2449991" y="1566787"/>
                      <a:pt x="2452196" y="1244278"/>
                    </a:cubicBezTo>
                    <a:close/>
                    <a:moveTo>
                      <a:pt x="947706" y="587132"/>
                    </a:moveTo>
                    <a:cubicBezTo>
                      <a:pt x="793894" y="637300"/>
                      <a:pt x="631261" y="713930"/>
                      <a:pt x="469179" y="753623"/>
                    </a:cubicBezTo>
                    <a:cubicBezTo>
                      <a:pt x="706789" y="528694"/>
                      <a:pt x="960385" y="308175"/>
                      <a:pt x="1204610" y="77182"/>
                    </a:cubicBezTo>
                    <a:cubicBezTo>
                      <a:pt x="1501759" y="395280"/>
                      <a:pt x="2065185" y="1003912"/>
                      <a:pt x="2062429" y="1007771"/>
                    </a:cubicBezTo>
                    <a:cubicBezTo>
                      <a:pt x="1878847" y="930039"/>
                      <a:pt x="1705739" y="852857"/>
                      <a:pt x="1522157" y="775124"/>
                    </a:cubicBezTo>
                    <a:cubicBezTo>
                      <a:pt x="1369999" y="710622"/>
                      <a:pt x="1219495" y="642261"/>
                      <a:pt x="1065683" y="582721"/>
                    </a:cubicBezTo>
                    <a:cubicBezTo>
                      <a:pt x="1031503" y="568939"/>
                      <a:pt x="984091" y="575554"/>
                      <a:pt x="947706" y="587132"/>
                    </a:cubicBez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55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  <p:sp>
            <p:nvSpPr>
              <p:cNvPr id="39" name="Freeform: Shape 351">
                <a:extLst>
                  <a:ext uri="{FF2B5EF4-FFF2-40B4-BE49-F238E27FC236}">
                    <a16:creationId xmlns:a16="http://schemas.microsoft.com/office/drawing/2014/main" id="{1E3AA584-5A86-4819-88C3-C4C0610E995C}"/>
                  </a:ext>
                </a:extLst>
              </p:cNvPr>
              <p:cNvSpPr/>
              <p:nvPr/>
            </p:nvSpPr>
            <p:spPr>
              <a:xfrm>
                <a:off x="10144991" y="2894044"/>
                <a:ext cx="1228843" cy="1720048"/>
              </a:xfrm>
              <a:custGeom>
                <a:avLst/>
                <a:gdLst>
                  <a:gd name="connsiteX0" fmla="*/ 1154417 w 1228843"/>
                  <a:gd name="connsiteY0" fmla="*/ 421743 h 1720048"/>
                  <a:gd name="connsiteX1" fmla="*/ 1228843 w 1228843"/>
                  <a:gd name="connsiteY1" fmla="*/ 448757 h 1720048"/>
                  <a:gd name="connsiteX2" fmla="*/ 1228843 w 1228843"/>
                  <a:gd name="connsiteY2" fmla="*/ 1446054 h 1720048"/>
                  <a:gd name="connsiteX3" fmla="*/ 1154417 w 1228843"/>
                  <a:gd name="connsiteY3" fmla="*/ 1462593 h 1720048"/>
                  <a:gd name="connsiteX4" fmla="*/ 1016592 w 1228843"/>
                  <a:gd name="connsiteY4" fmla="*/ 371023 h 1720048"/>
                  <a:gd name="connsiteX5" fmla="*/ 1095980 w 1228843"/>
                  <a:gd name="connsiteY5" fmla="*/ 400242 h 1720048"/>
                  <a:gd name="connsiteX6" fmla="*/ 1095980 w 1228843"/>
                  <a:gd name="connsiteY6" fmla="*/ 1475823 h 1720048"/>
                  <a:gd name="connsiteX7" fmla="*/ 1016592 w 1228843"/>
                  <a:gd name="connsiteY7" fmla="*/ 1493464 h 1720048"/>
                  <a:gd name="connsiteX8" fmla="*/ 878768 w 1228843"/>
                  <a:gd name="connsiteY8" fmla="*/ 320855 h 1720048"/>
                  <a:gd name="connsiteX9" fmla="*/ 958156 w 1228843"/>
                  <a:gd name="connsiteY9" fmla="*/ 350074 h 1720048"/>
                  <a:gd name="connsiteX10" fmla="*/ 958156 w 1228843"/>
                  <a:gd name="connsiteY10" fmla="*/ 1506696 h 1720048"/>
                  <a:gd name="connsiteX11" fmla="*/ 878768 w 1228843"/>
                  <a:gd name="connsiteY11" fmla="*/ 1524337 h 1720048"/>
                  <a:gd name="connsiteX12" fmla="*/ 740944 w 1228843"/>
                  <a:gd name="connsiteY12" fmla="*/ 270687 h 1720048"/>
                  <a:gd name="connsiteX13" fmla="*/ 820332 w 1228843"/>
                  <a:gd name="connsiteY13" fmla="*/ 299354 h 1720048"/>
                  <a:gd name="connsiteX14" fmla="*/ 820332 w 1228843"/>
                  <a:gd name="connsiteY14" fmla="*/ 1537569 h 1720048"/>
                  <a:gd name="connsiteX15" fmla="*/ 740944 w 1228843"/>
                  <a:gd name="connsiteY15" fmla="*/ 1555211 h 1720048"/>
                  <a:gd name="connsiteX16" fmla="*/ 603119 w 1228843"/>
                  <a:gd name="connsiteY16" fmla="*/ 219968 h 1720048"/>
                  <a:gd name="connsiteX17" fmla="*/ 682507 w 1228843"/>
                  <a:gd name="connsiteY17" fmla="*/ 249187 h 1720048"/>
                  <a:gd name="connsiteX18" fmla="*/ 682507 w 1228843"/>
                  <a:gd name="connsiteY18" fmla="*/ 1567890 h 1720048"/>
                  <a:gd name="connsiteX19" fmla="*/ 603119 w 1228843"/>
                  <a:gd name="connsiteY19" fmla="*/ 1585531 h 1720048"/>
                  <a:gd name="connsiteX20" fmla="*/ 465295 w 1228843"/>
                  <a:gd name="connsiteY20" fmla="*/ 169800 h 1720048"/>
                  <a:gd name="connsiteX21" fmla="*/ 544131 w 1228843"/>
                  <a:gd name="connsiteY21" fmla="*/ 199019 h 1720048"/>
                  <a:gd name="connsiteX22" fmla="*/ 544131 w 1228843"/>
                  <a:gd name="connsiteY22" fmla="*/ 1598764 h 1720048"/>
                  <a:gd name="connsiteX23" fmla="*/ 465295 w 1228843"/>
                  <a:gd name="connsiteY23" fmla="*/ 1616405 h 1720048"/>
                  <a:gd name="connsiteX24" fmla="*/ 327471 w 1228843"/>
                  <a:gd name="connsiteY24" fmla="*/ 119632 h 1720048"/>
                  <a:gd name="connsiteX25" fmla="*/ 406307 w 1228843"/>
                  <a:gd name="connsiteY25" fmla="*/ 148300 h 1720048"/>
                  <a:gd name="connsiteX26" fmla="*/ 406307 w 1228843"/>
                  <a:gd name="connsiteY26" fmla="*/ 1629635 h 1720048"/>
                  <a:gd name="connsiteX27" fmla="*/ 327471 w 1228843"/>
                  <a:gd name="connsiteY27" fmla="*/ 1647277 h 1720048"/>
                  <a:gd name="connsiteX28" fmla="*/ 189095 w 1228843"/>
                  <a:gd name="connsiteY28" fmla="*/ 69464 h 1720048"/>
                  <a:gd name="connsiteX29" fmla="*/ 268483 w 1228843"/>
                  <a:gd name="connsiteY29" fmla="*/ 98131 h 1720048"/>
                  <a:gd name="connsiteX30" fmla="*/ 268483 w 1228843"/>
                  <a:gd name="connsiteY30" fmla="*/ 1660508 h 1720048"/>
                  <a:gd name="connsiteX31" fmla="*/ 189095 w 1228843"/>
                  <a:gd name="connsiteY31" fmla="*/ 1678150 h 1720048"/>
                  <a:gd name="connsiteX32" fmla="*/ 0 w 1228843"/>
                  <a:gd name="connsiteY32" fmla="*/ 0 h 1720048"/>
                  <a:gd name="connsiteX33" fmla="*/ 130657 w 1228843"/>
                  <a:gd name="connsiteY33" fmla="*/ 47963 h 1720048"/>
                  <a:gd name="connsiteX34" fmla="*/ 130657 w 1228843"/>
                  <a:gd name="connsiteY34" fmla="*/ 1690829 h 1720048"/>
                  <a:gd name="connsiteX35" fmla="*/ 0 w 1228843"/>
                  <a:gd name="connsiteY35" fmla="*/ 1720048 h 1720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228843" h="1720048">
                    <a:moveTo>
                      <a:pt x="1154417" y="421743"/>
                    </a:moveTo>
                    <a:lnTo>
                      <a:pt x="1228843" y="448757"/>
                    </a:lnTo>
                    <a:lnTo>
                      <a:pt x="1228843" y="1446054"/>
                    </a:lnTo>
                    <a:lnTo>
                      <a:pt x="1154417" y="1462593"/>
                    </a:lnTo>
                    <a:close/>
                    <a:moveTo>
                      <a:pt x="1016592" y="371023"/>
                    </a:moveTo>
                    <a:lnTo>
                      <a:pt x="1095980" y="400242"/>
                    </a:lnTo>
                    <a:lnTo>
                      <a:pt x="1095980" y="1475823"/>
                    </a:lnTo>
                    <a:lnTo>
                      <a:pt x="1016592" y="1493464"/>
                    </a:lnTo>
                    <a:close/>
                    <a:moveTo>
                      <a:pt x="878768" y="320855"/>
                    </a:moveTo>
                    <a:lnTo>
                      <a:pt x="958156" y="350074"/>
                    </a:lnTo>
                    <a:lnTo>
                      <a:pt x="958156" y="1506696"/>
                    </a:lnTo>
                    <a:lnTo>
                      <a:pt x="878768" y="1524337"/>
                    </a:lnTo>
                    <a:close/>
                    <a:moveTo>
                      <a:pt x="740944" y="270687"/>
                    </a:moveTo>
                    <a:lnTo>
                      <a:pt x="820332" y="299354"/>
                    </a:lnTo>
                    <a:lnTo>
                      <a:pt x="820332" y="1537569"/>
                    </a:lnTo>
                    <a:lnTo>
                      <a:pt x="740944" y="1555211"/>
                    </a:lnTo>
                    <a:close/>
                    <a:moveTo>
                      <a:pt x="603119" y="219968"/>
                    </a:moveTo>
                    <a:lnTo>
                      <a:pt x="682507" y="249187"/>
                    </a:lnTo>
                    <a:lnTo>
                      <a:pt x="682507" y="1567890"/>
                    </a:lnTo>
                    <a:lnTo>
                      <a:pt x="603119" y="1585531"/>
                    </a:lnTo>
                    <a:close/>
                    <a:moveTo>
                      <a:pt x="465295" y="169800"/>
                    </a:moveTo>
                    <a:lnTo>
                      <a:pt x="544131" y="199019"/>
                    </a:lnTo>
                    <a:lnTo>
                      <a:pt x="544131" y="1598764"/>
                    </a:lnTo>
                    <a:lnTo>
                      <a:pt x="465295" y="1616405"/>
                    </a:lnTo>
                    <a:close/>
                    <a:moveTo>
                      <a:pt x="327471" y="119632"/>
                    </a:moveTo>
                    <a:lnTo>
                      <a:pt x="406307" y="148300"/>
                    </a:lnTo>
                    <a:lnTo>
                      <a:pt x="406307" y="1629635"/>
                    </a:lnTo>
                    <a:lnTo>
                      <a:pt x="327471" y="1647277"/>
                    </a:lnTo>
                    <a:close/>
                    <a:moveTo>
                      <a:pt x="189095" y="69464"/>
                    </a:moveTo>
                    <a:lnTo>
                      <a:pt x="268483" y="98131"/>
                    </a:lnTo>
                    <a:lnTo>
                      <a:pt x="268483" y="1660508"/>
                    </a:lnTo>
                    <a:lnTo>
                      <a:pt x="189095" y="1678150"/>
                    </a:lnTo>
                    <a:close/>
                    <a:moveTo>
                      <a:pt x="0" y="0"/>
                    </a:moveTo>
                    <a:lnTo>
                      <a:pt x="130657" y="47963"/>
                    </a:lnTo>
                    <a:lnTo>
                      <a:pt x="130657" y="1690829"/>
                    </a:lnTo>
                    <a:lnTo>
                      <a:pt x="0" y="1720048"/>
                    </a:lnTo>
                    <a:close/>
                  </a:path>
                </a:pathLst>
              </a:custGeom>
              <a:solidFill>
                <a:srgbClr val="F2F2F2"/>
              </a:solidFill>
              <a:ln w="550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/>
              </a:p>
            </p:txBody>
          </p:sp>
        </p:grpSp>
        <p:sp>
          <p:nvSpPr>
            <p:cNvPr id="34" name="Rectangle 15">
              <a:extLst>
                <a:ext uri="{FF2B5EF4-FFF2-40B4-BE49-F238E27FC236}">
                  <a16:creationId xmlns:a16="http://schemas.microsoft.com/office/drawing/2014/main" id="{3A637552-4FB4-4C7B-83B2-4494733488EA}"/>
                </a:ext>
              </a:extLst>
            </p:cNvPr>
            <p:cNvSpPr/>
            <p:nvPr/>
          </p:nvSpPr>
          <p:spPr>
            <a:xfrm rot="5400000">
              <a:off x="8071026" y="3510674"/>
              <a:ext cx="485518" cy="477909"/>
            </a:xfrm>
            <a:custGeom>
              <a:avLst/>
              <a:gdLst/>
              <a:ahLst/>
              <a:cxnLst/>
              <a:rect l="l" t="t" r="r" b="b"/>
              <a:pathLst>
                <a:path w="3244313" h="3240000">
                  <a:moveTo>
                    <a:pt x="2055482" y="677891"/>
                  </a:moveTo>
                  <a:lnTo>
                    <a:pt x="2055482" y="209891"/>
                  </a:lnTo>
                  <a:lnTo>
                    <a:pt x="2919482" y="209891"/>
                  </a:lnTo>
                  <a:lnTo>
                    <a:pt x="2919482" y="677891"/>
                  </a:lnTo>
                  <a:close/>
                  <a:moveTo>
                    <a:pt x="1695482" y="1397971"/>
                  </a:moveTo>
                  <a:lnTo>
                    <a:pt x="1695482" y="929971"/>
                  </a:lnTo>
                  <a:lnTo>
                    <a:pt x="2919482" y="929971"/>
                  </a:lnTo>
                  <a:lnTo>
                    <a:pt x="2919482" y="1397971"/>
                  </a:lnTo>
                  <a:close/>
                  <a:moveTo>
                    <a:pt x="1335482" y="2118051"/>
                  </a:moveTo>
                  <a:lnTo>
                    <a:pt x="1335482" y="1650051"/>
                  </a:lnTo>
                  <a:lnTo>
                    <a:pt x="2919482" y="1650051"/>
                  </a:lnTo>
                  <a:lnTo>
                    <a:pt x="2919482" y="2118051"/>
                  </a:lnTo>
                  <a:close/>
                  <a:moveTo>
                    <a:pt x="975482" y="2838131"/>
                  </a:moveTo>
                  <a:lnTo>
                    <a:pt x="975482" y="2370131"/>
                  </a:lnTo>
                  <a:lnTo>
                    <a:pt x="2919482" y="2370131"/>
                  </a:lnTo>
                  <a:lnTo>
                    <a:pt x="2919482" y="2838131"/>
                  </a:lnTo>
                  <a:close/>
                  <a:moveTo>
                    <a:pt x="10788" y="2651034"/>
                  </a:moveTo>
                  <a:lnTo>
                    <a:pt x="1168116" y="646484"/>
                  </a:lnTo>
                  <a:lnTo>
                    <a:pt x="1038664" y="571745"/>
                  </a:lnTo>
                  <a:lnTo>
                    <a:pt x="1533856" y="311959"/>
                  </a:lnTo>
                  <a:lnTo>
                    <a:pt x="1556471" y="870701"/>
                  </a:lnTo>
                  <a:lnTo>
                    <a:pt x="1427019" y="795962"/>
                  </a:lnTo>
                  <a:lnTo>
                    <a:pt x="269691" y="2800512"/>
                  </a:lnTo>
                  <a:close/>
                  <a:moveTo>
                    <a:pt x="0" y="3240000"/>
                  </a:moveTo>
                  <a:lnTo>
                    <a:pt x="0" y="3060000"/>
                  </a:lnTo>
                  <a:lnTo>
                    <a:pt x="3064313" y="3060000"/>
                  </a:lnTo>
                  <a:lnTo>
                    <a:pt x="3064313" y="0"/>
                  </a:lnTo>
                  <a:lnTo>
                    <a:pt x="3244313" y="0"/>
                  </a:lnTo>
                  <a:lnTo>
                    <a:pt x="3244313" y="3240000"/>
                  </a:lnTo>
                  <a:lnTo>
                    <a:pt x="3240000" y="3240000"/>
                  </a:lnTo>
                  <a:lnTo>
                    <a:pt x="3064313" y="324000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sz="2025"/>
            </a:p>
          </p:txBody>
        </p:sp>
        <p:grpSp>
          <p:nvGrpSpPr>
            <p:cNvPr id="35" name="Groupe 34">
              <a:extLst>
                <a:ext uri="{FF2B5EF4-FFF2-40B4-BE49-F238E27FC236}">
                  <a16:creationId xmlns:a16="http://schemas.microsoft.com/office/drawing/2014/main" id="{C0F69BA1-D111-4F8D-AB80-FC10FB79F84E}"/>
                </a:ext>
              </a:extLst>
            </p:cNvPr>
            <p:cNvGrpSpPr/>
            <p:nvPr/>
          </p:nvGrpSpPr>
          <p:grpSpPr>
            <a:xfrm>
              <a:off x="4713861" y="4680220"/>
              <a:ext cx="695518" cy="681816"/>
              <a:chOff x="10087263" y="4265729"/>
              <a:chExt cx="1947148" cy="1969933"/>
            </a:xfrm>
          </p:grpSpPr>
          <p:sp>
            <p:nvSpPr>
              <p:cNvPr id="36" name="Freeform: Shape 142">
                <a:extLst>
                  <a:ext uri="{FF2B5EF4-FFF2-40B4-BE49-F238E27FC236}">
                    <a16:creationId xmlns:a16="http://schemas.microsoft.com/office/drawing/2014/main" id="{39D7EFC1-EF83-4D2E-87F7-A0B5D76C36CF}"/>
                  </a:ext>
                </a:extLst>
              </p:cNvPr>
              <p:cNvSpPr/>
              <p:nvPr/>
            </p:nvSpPr>
            <p:spPr>
              <a:xfrm>
                <a:off x="10087263" y="4265729"/>
                <a:ext cx="1947148" cy="1969933"/>
              </a:xfrm>
              <a:custGeom>
                <a:avLst/>
                <a:gdLst>
                  <a:gd name="connsiteX0" fmla="*/ 955633 w 1965160"/>
                  <a:gd name="connsiteY0" fmla="*/ 1489004 h 1988156"/>
                  <a:gd name="connsiteX1" fmla="*/ 969984 w 1965160"/>
                  <a:gd name="connsiteY1" fmla="*/ 1503355 h 1988156"/>
                  <a:gd name="connsiteX2" fmla="*/ 956068 w 1965160"/>
                  <a:gd name="connsiteY2" fmla="*/ 1518141 h 1988156"/>
                  <a:gd name="connsiteX3" fmla="*/ 941065 w 1965160"/>
                  <a:gd name="connsiteY3" fmla="*/ 1503355 h 1988156"/>
                  <a:gd name="connsiteX4" fmla="*/ 955633 w 1965160"/>
                  <a:gd name="connsiteY4" fmla="*/ 1489004 h 1988156"/>
                  <a:gd name="connsiteX5" fmla="*/ 1295921 w 1965160"/>
                  <a:gd name="connsiteY5" fmla="*/ 1411813 h 1988156"/>
                  <a:gd name="connsiteX6" fmla="*/ 1341583 w 1965160"/>
                  <a:gd name="connsiteY6" fmla="*/ 1457257 h 1988156"/>
                  <a:gd name="connsiteX7" fmla="*/ 1296138 w 1965160"/>
                  <a:gd name="connsiteY7" fmla="*/ 1503571 h 1988156"/>
                  <a:gd name="connsiteX8" fmla="*/ 1250042 w 1965160"/>
                  <a:gd name="connsiteY8" fmla="*/ 1457909 h 1988156"/>
                  <a:gd name="connsiteX9" fmla="*/ 1295921 w 1965160"/>
                  <a:gd name="connsiteY9" fmla="*/ 1411813 h 1988156"/>
                  <a:gd name="connsiteX10" fmla="*/ 696232 w 1965160"/>
                  <a:gd name="connsiteY10" fmla="*/ 1383764 h 1988156"/>
                  <a:gd name="connsiteX11" fmla="*/ 748417 w 1965160"/>
                  <a:gd name="connsiteY11" fmla="*/ 1436166 h 1988156"/>
                  <a:gd name="connsiteX12" fmla="*/ 696449 w 1965160"/>
                  <a:gd name="connsiteY12" fmla="*/ 1488350 h 1988156"/>
                  <a:gd name="connsiteX13" fmla="*/ 643830 w 1965160"/>
                  <a:gd name="connsiteY13" fmla="*/ 1436383 h 1988156"/>
                  <a:gd name="connsiteX14" fmla="*/ 696232 w 1965160"/>
                  <a:gd name="connsiteY14" fmla="*/ 1383764 h 1988156"/>
                  <a:gd name="connsiteX15" fmla="*/ 1101533 w 1965160"/>
                  <a:gd name="connsiteY15" fmla="*/ 1309184 h 1988156"/>
                  <a:gd name="connsiteX16" fmla="*/ 1130452 w 1965160"/>
                  <a:gd name="connsiteY16" fmla="*/ 1338103 h 1988156"/>
                  <a:gd name="connsiteX17" fmla="*/ 1100881 w 1965160"/>
                  <a:gd name="connsiteY17" fmla="*/ 1367891 h 1988156"/>
                  <a:gd name="connsiteX18" fmla="*/ 1071744 w 1965160"/>
                  <a:gd name="connsiteY18" fmla="*/ 1338103 h 1988156"/>
                  <a:gd name="connsiteX19" fmla="*/ 1101533 w 1965160"/>
                  <a:gd name="connsiteY19" fmla="*/ 1309184 h 1988156"/>
                  <a:gd name="connsiteX20" fmla="*/ 515978 w 1965160"/>
                  <a:gd name="connsiteY20" fmla="*/ 1247866 h 1988156"/>
                  <a:gd name="connsiteX21" fmla="*/ 530764 w 1965160"/>
                  <a:gd name="connsiteY21" fmla="*/ 1262000 h 1988156"/>
                  <a:gd name="connsiteX22" fmla="*/ 517065 w 1965160"/>
                  <a:gd name="connsiteY22" fmla="*/ 1277003 h 1988156"/>
                  <a:gd name="connsiteX23" fmla="*/ 501844 w 1965160"/>
                  <a:gd name="connsiteY23" fmla="*/ 1262435 h 1988156"/>
                  <a:gd name="connsiteX24" fmla="*/ 515978 w 1965160"/>
                  <a:gd name="connsiteY24" fmla="*/ 1247866 h 1988156"/>
                  <a:gd name="connsiteX25" fmla="*/ 1438777 w 1965160"/>
                  <a:gd name="connsiteY25" fmla="*/ 1173938 h 1988156"/>
                  <a:gd name="connsiteX26" fmla="*/ 1485308 w 1965160"/>
                  <a:gd name="connsiteY26" fmla="*/ 1219382 h 1988156"/>
                  <a:gd name="connsiteX27" fmla="*/ 1439646 w 1965160"/>
                  <a:gd name="connsiteY27" fmla="*/ 1265913 h 1988156"/>
                  <a:gd name="connsiteX28" fmla="*/ 1393550 w 1965160"/>
                  <a:gd name="connsiteY28" fmla="*/ 1220687 h 1988156"/>
                  <a:gd name="connsiteX29" fmla="*/ 1438777 w 1965160"/>
                  <a:gd name="connsiteY29" fmla="*/ 1173938 h 1988156"/>
                  <a:gd name="connsiteX30" fmla="*/ 880618 w 1965160"/>
                  <a:gd name="connsiteY30" fmla="*/ 1069134 h 1988156"/>
                  <a:gd name="connsiteX31" fmla="*/ 955633 w 1965160"/>
                  <a:gd name="connsiteY31" fmla="*/ 1144584 h 1988156"/>
                  <a:gd name="connsiteX32" fmla="*/ 880618 w 1965160"/>
                  <a:gd name="connsiteY32" fmla="*/ 1220034 h 1988156"/>
                  <a:gd name="connsiteX33" fmla="*/ 804732 w 1965160"/>
                  <a:gd name="connsiteY33" fmla="*/ 1145019 h 1988156"/>
                  <a:gd name="connsiteX34" fmla="*/ 880618 w 1965160"/>
                  <a:gd name="connsiteY34" fmla="*/ 1069134 h 1988156"/>
                  <a:gd name="connsiteX35" fmla="*/ 622738 w 1965160"/>
                  <a:gd name="connsiteY35" fmla="*/ 1052826 h 1988156"/>
                  <a:gd name="connsiteX36" fmla="*/ 669487 w 1965160"/>
                  <a:gd name="connsiteY36" fmla="*/ 1098270 h 1988156"/>
                  <a:gd name="connsiteX37" fmla="*/ 623608 w 1965160"/>
                  <a:gd name="connsiteY37" fmla="*/ 1144367 h 1988156"/>
                  <a:gd name="connsiteX38" fmla="*/ 577729 w 1965160"/>
                  <a:gd name="connsiteY38" fmla="*/ 1098487 h 1988156"/>
                  <a:gd name="connsiteX39" fmla="*/ 622738 w 1965160"/>
                  <a:gd name="connsiteY39" fmla="*/ 1052826 h 1988156"/>
                  <a:gd name="connsiteX40" fmla="*/ 1539667 w 1965160"/>
                  <a:gd name="connsiteY40" fmla="*/ 979333 h 1988156"/>
                  <a:gd name="connsiteX41" fmla="*/ 1554453 w 1965160"/>
                  <a:gd name="connsiteY41" fmla="*/ 994771 h 1988156"/>
                  <a:gd name="connsiteX42" fmla="*/ 1539450 w 1965160"/>
                  <a:gd name="connsiteY42" fmla="*/ 1009122 h 1988156"/>
                  <a:gd name="connsiteX43" fmla="*/ 1524664 w 1965160"/>
                  <a:gd name="connsiteY43" fmla="*/ 993684 h 1988156"/>
                  <a:gd name="connsiteX44" fmla="*/ 1539667 w 1965160"/>
                  <a:gd name="connsiteY44" fmla="*/ 979333 h 1988156"/>
                  <a:gd name="connsiteX45" fmla="*/ 1208730 w 1965160"/>
                  <a:gd name="connsiteY45" fmla="*/ 952154 h 1988156"/>
                  <a:gd name="connsiteX46" fmla="*/ 1326145 w 1965160"/>
                  <a:gd name="connsiteY46" fmla="*/ 1069787 h 1988156"/>
                  <a:gd name="connsiteX47" fmla="*/ 1208295 w 1965160"/>
                  <a:gd name="connsiteY47" fmla="*/ 1186768 h 1988156"/>
                  <a:gd name="connsiteX48" fmla="*/ 1091314 w 1965160"/>
                  <a:gd name="connsiteY48" fmla="*/ 1069135 h 1988156"/>
                  <a:gd name="connsiteX49" fmla="*/ 1208730 w 1965160"/>
                  <a:gd name="connsiteY49" fmla="*/ 952154 h 1988156"/>
                  <a:gd name="connsiteX50" fmla="*/ 436394 w 1965160"/>
                  <a:gd name="connsiteY50" fmla="*/ 826041 h 1988156"/>
                  <a:gd name="connsiteX51" fmla="*/ 465966 w 1965160"/>
                  <a:gd name="connsiteY51" fmla="*/ 855177 h 1988156"/>
                  <a:gd name="connsiteX52" fmla="*/ 436829 w 1965160"/>
                  <a:gd name="connsiteY52" fmla="*/ 884966 h 1988156"/>
                  <a:gd name="connsiteX53" fmla="*/ 407476 w 1965160"/>
                  <a:gd name="connsiteY53" fmla="*/ 854959 h 1988156"/>
                  <a:gd name="connsiteX54" fmla="*/ 436394 w 1965160"/>
                  <a:gd name="connsiteY54" fmla="*/ 826041 h 1988156"/>
                  <a:gd name="connsiteX55" fmla="*/ 1441168 w 1965160"/>
                  <a:gd name="connsiteY55" fmla="*/ 771681 h 1988156"/>
                  <a:gd name="connsiteX56" fmla="*/ 1512922 w 1965160"/>
                  <a:gd name="connsiteY56" fmla="*/ 846045 h 1988156"/>
                  <a:gd name="connsiteX57" fmla="*/ 1437472 w 1965160"/>
                  <a:gd name="connsiteY57" fmla="*/ 918016 h 1988156"/>
                  <a:gd name="connsiteX58" fmla="*/ 1366153 w 1965160"/>
                  <a:gd name="connsiteY58" fmla="*/ 843871 h 1988156"/>
                  <a:gd name="connsiteX59" fmla="*/ 1441168 w 1965160"/>
                  <a:gd name="connsiteY59" fmla="*/ 771681 h 1988156"/>
                  <a:gd name="connsiteX60" fmla="*/ 653833 w 1965160"/>
                  <a:gd name="connsiteY60" fmla="*/ 765158 h 1988156"/>
                  <a:gd name="connsiteX61" fmla="*/ 669488 w 1965160"/>
                  <a:gd name="connsiteY61" fmla="*/ 779509 h 1988156"/>
                  <a:gd name="connsiteX62" fmla="*/ 654268 w 1965160"/>
                  <a:gd name="connsiteY62" fmla="*/ 794294 h 1988156"/>
                  <a:gd name="connsiteX63" fmla="*/ 639699 w 1965160"/>
                  <a:gd name="connsiteY63" fmla="*/ 779944 h 1988156"/>
                  <a:gd name="connsiteX64" fmla="*/ 653833 w 1965160"/>
                  <a:gd name="connsiteY64" fmla="*/ 765158 h 1988156"/>
                  <a:gd name="connsiteX65" fmla="*/ 851481 w 1965160"/>
                  <a:gd name="connsiteY65" fmla="*/ 764941 h 1988156"/>
                  <a:gd name="connsiteX66" fmla="*/ 880400 w 1965160"/>
                  <a:gd name="connsiteY66" fmla="*/ 794077 h 1988156"/>
                  <a:gd name="connsiteX67" fmla="*/ 851046 w 1965160"/>
                  <a:gd name="connsiteY67" fmla="*/ 823865 h 1988156"/>
                  <a:gd name="connsiteX68" fmla="*/ 821692 w 1965160"/>
                  <a:gd name="connsiteY68" fmla="*/ 794077 h 1988156"/>
                  <a:gd name="connsiteX69" fmla="*/ 851481 w 1965160"/>
                  <a:gd name="connsiteY69" fmla="*/ 764941 h 1988156"/>
                  <a:gd name="connsiteX70" fmla="*/ 1132626 w 1965160"/>
                  <a:gd name="connsiteY70" fmla="*/ 718844 h 1988156"/>
                  <a:gd name="connsiteX71" fmla="*/ 1178288 w 1965160"/>
                  <a:gd name="connsiteY71" fmla="*/ 765593 h 1988156"/>
                  <a:gd name="connsiteX72" fmla="*/ 1132626 w 1965160"/>
                  <a:gd name="connsiteY72" fmla="*/ 811254 h 1988156"/>
                  <a:gd name="connsiteX73" fmla="*/ 1086747 w 1965160"/>
                  <a:gd name="connsiteY73" fmla="*/ 764940 h 1988156"/>
                  <a:gd name="connsiteX74" fmla="*/ 1132626 w 1965160"/>
                  <a:gd name="connsiteY74" fmla="*/ 718844 h 1988156"/>
                  <a:gd name="connsiteX75" fmla="*/ 1281571 w 1965160"/>
                  <a:gd name="connsiteY75" fmla="*/ 617084 h 1988156"/>
                  <a:gd name="connsiteX76" fmla="*/ 1295704 w 1965160"/>
                  <a:gd name="connsiteY76" fmla="*/ 631870 h 1988156"/>
                  <a:gd name="connsiteX77" fmla="*/ 1280049 w 1965160"/>
                  <a:gd name="connsiteY77" fmla="*/ 646438 h 1988156"/>
                  <a:gd name="connsiteX78" fmla="*/ 1265915 w 1965160"/>
                  <a:gd name="connsiteY78" fmla="*/ 631435 h 1988156"/>
                  <a:gd name="connsiteX79" fmla="*/ 1281571 w 1965160"/>
                  <a:gd name="connsiteY79" fmla="*/ 617084 h 1988156"/>
                  <a:gd name="connsiteX80" fmla="*/ 694493 w 1965160"/>
                  <a:gd name="connsiteY80" fmla="*/ 570770 h 1988156"/>
                  <a:gd name="connsiteX81" fmla="*/ 769074 w 1965160"/>
                  <a:gd name="connsiteY81" fmla="*/ 647959 h 1988156"/>
                  <a:gd name="connsiteX82" fmla="*/ 692318 w 1965160"/>
                  <a:gd name="connsiteY82" fmla="*/ 721452 h 1988156"/>
                  <a:gd name="connsiteX83" fmla="*/ 618173 w 1965160"/>
                  <a:gd name="connsiteY83" fmla="*/ 645133 h 1988156"/>
                  <a:gd name="connsiteX84" fmla="*/ 694493 w 1965160"/>
                  <a:gd name="connsiteY84" fmla="*/ 570770 h 1988156"/>
                  <a:gd name="connsiteX85" fmla="*/ 1027605 w 1965160"/>
                  <a:gd name="connsiteY85" fmla="*/ 393776 h 1988156"/>
                  <a:gd name="connsiteX86" fmla="*/ 1100663 w 1965160"/>
                  <a:gd name="connsiteY86" fmla="*/ 466618 h 1988156"/>
                  <a:gd name="connsiteX87" fmla="*/ 1028257 w 1965160"/>
                  <a:gd name="connsiteY87" fmla="*/ 539893 h 1988156"/>
                  <a:gd name="connsiteX88" fmla="*/ 954546 w 1965160"/>
                  <a:gd name="connsiteY88" fmla="*/ 467705 h 1988156"/>
                  <a:gd name="connsiteX89" fmla="*/ 1027605 w 1965160"/>
                  <a:gd name="connsiteY89" fmla="*/ 393776 h 1988156"/>
                  <a:gd name="connsiteX90" fmla="*/ 984335 w 1965160"/>
                  <a:gd name="connsiteY90" fmla="*/ 345724 h 1988156"/>
                  <a:gd name="connsiteX91" fmla="*/ 334418 w 1965160"/>
                  <a:gd name="connsiteY91" fmla="*/ 993901 h 1988156"/>
                  <a:gd name="connsiteX92" fmla="*/ 981508 w 1965160"/>
                  <a:gd name="connsiteY92" fmla="*/ 1642514 h 1988156"/>
                  <a:gd name="connsiteX93" fmla="*/ 1631208 w 1965160"/>
                  <a:gd name="connsiteY93" fmla="*/ 994336 h 1988156"/>
                  <a:gd name="connsiteX94" fmla="*/ 984335 w 1965160"/>
                  <a:gd name="connsiteY94" fmla="*/ 345724 h 1988156"/>
                  <a:gd name="connsiteX95" fmla="*/ 978247 w 1965160"/>
                  <a:gd name="connsiteY95" fmla="*/ 0 h 1988156"/>
                  <a:gd name="connsiteX96" fmla="*/ 1030432 w 1965160"/>
                  <a:gd name="connsiteY96" fmla="*/ 7176 h 1988156"/>
                  <a:gd name="connsiteX97" fmla="*/ 1041085 w 1965160"/>
                  <a:gd name="connsiteY97" fmla="*/ 16525 h 1988156"/>
                  <a:gd name="connsiteX98" fmla="*/ 1030432 w 1965160"/>
                  <a:gd name="connsiteY98" fmla="*/ 26310 h 1988156"/>
                  <a:gd name="connsiteX99" fmla="*/ 1001513 w 1965160"/>
                  <a:gd name="connsiteY99" fmla="*/ 34355 h 1988156"/>
                  <a:gd name="connsiteX100" fmla="*/ 1001513 w 1965160"/>
                  <a:gd name="connsiteY100" fmla="*/ 310064 h 1988156"/>
                  <a:gd name="connsiteX101" fmla="*/ 1140019 w 1965160"/>
                  <a:gd name="connsiteY101" fmla="*/ 327894 h 1988156"/>
                  <a:gd name="connsiteX102" fmla="*/ 1167851 w 1965160"/>
                  <a:gd name="connsiteY102" fmla="*/ 223089 h 1988156"/>
                  <a:gd name="connsiteX103" fmla="*/ 1158501 w 1965160"/>
                  <a:gd name="connsiteY103" fmla="*/ 218306 h 1988156"/>
                  <a:gd name="connsiteX104" fmla="*/ 1116754 w 1965160"/>
                  <a:gd name="connsiteY104" fmla="*/ 186561 h 1988156"/>
                  <a:gd name="connsiteX105" fmla="*/ 1132191 w 1965160"/>
                  <a:gd name="connsiteY105" fmla="*/ 129810 h 1988156"/>
                  <a:gd name="connsiteX106" fmla="*/ 1183289 w 1965160"/>
                  <a:gd name="connsiteY106" fmla="*/ 123287 h 1988156"/>
                  <a:gd name="connsiteX107" fmla="*/ 1252869 w 1965160"/>
                  <a:gd name="connsiteY107" fmla="*/ 145248 h 1988156"/>
                  <a:gd name="connsiteX108" fmla="*/ 1274830 w 1965160"/>
                  <a:gd name="connsiteY108" fmla="*/ 162642 h 1988156"/>
                  <a:gd name="connsiteX109" fmla="*/ 1256783 w 1965160"/>
                  <a:gd name="connsiteY109" fmla="*/ 228743 h 1988156"/>
                  <a:gd name="connsiteX110" fmla="*/ 1201554 w 1965160"/>
                  <a:gd name="connsiteY110" fmla="*/ 234831 h 1988156"/>
                  <a:gd name="connsiteX111" fmla="*/ 1173940 w 1965160"/>
                  <a:gd name="connsiteY111" fmla="*/ 338331 h 1988156"/>
                  <a:gd name="connsiteX112" fmla="*/ 1241562 w 1965160"/>
                  <a:gd name="connsiteY112" fmla="*/ 363336 h 1988156"/>
                  <a:gd name="connsiteX113" fmla="*/ 1308750 w 1965160"/>
                  <a:gd name="connsiteY113" fmla="*/ 393777 h 1988156"/>
                  <a:gd name="connsiteX114" fmla="*/ 1445952 w 1965160"/>
                  <a:gd name="connsiteY114" fmla="*/ 156337 h 1988156"/>
                  <a:gd name="connsiteX115" fmla="*/ 1425078 w 1965160"/>
                  <a:gd name="connsiteY115" fmla="*/ 131984 h 1988156"/>
                  <a:gd name="connsiteX116" fmla="*/ 1420947 w 1965160"/>
                  <a:gd name="connsiteY116" fmla="*/ 119373 h 1988156"/>
                  <a:gd name="connsiteX117" fmla="*/ 1433558 w 1965160"/>
                  <a:gd name="connsiteY117" fmla="*/ 115676 h 1988156"/>
                  <a:gd name="connsiteX118" fmla="*/ 1519010 w 1965160"/>
                  <a:gd name="connsiteY118" fmla="*/ 165034 h 1988156"/>
                  <a:gd name="connsiteX119" fmla="*/ 1520967 w 1965160"/>
                  <a:gd name="connsiteY119" fmla="*/ 176776 h 1988156"/>
                  <a:gd name="connsiteX120" fmla="*/ 1509444 w 1965160"/>
                  <a:gd name="connsiteY120" fmla="*/ 180255 h 1988156"/>
                  <a:gd name="connsiteX121" fmla="*/ 1477915 w 1965160"/>
                  <a:gd name="connsiteY121" fmla="*/ 171992 h 1988156"/>
                  <a:gd name="connsiteX122" fmla="*/ 1339843 w 1965160"/>
                  <a:gd name="connsiteY122" fmla="*/ 410955 h 1988156"/>
                  <a:gd name="connsiteX123" fmla="*/ 1431601 w 1965160"/>
                  <a:gd name="connsiteY123" fmla="*/ 478142 h 1988156"/>
                  <a:gd name="connsiteX124" fmla="*/ 1504442 w 1965160"/>
                  <a:gd name="connsiteY124" fmla="*/ 398778 h 1988156"/>
                  <a:gd name="connsiteX125" fmla="*/ 1482699 w 1965160"/>
                  <a:gd name="connsiteY125" fmla="*/ 360509 h 1988156"/>
                  <a:gd name="connsiteX126" fmla="*/ 1476393 w 1965160"/>
                  <a:gd name="connsiteY126" fmla="*/ 327894 h 1988156"/>
                  <a:gd name="connsiteX127" fmla="*/ 1504877 w 1965160"/>
                  <a:gd name="connsiteY127" fmla="*/ 298323 h 1988156"/>
                  <a:gd name="connsiteX128" fmla="*/ 1530535 w 1965160"/>
                  <a:gd name="connsiteY128" fmla="*/ 300497 h 1988156"/>
                  <a:gd name="connsiteX129" fmla="*/ 1629034 w 1965160"/>
                  <a:gd name="connsiteY129" fmla="*/ 398778 h 1988156"/>
                  <a:gd name="connsiteX130" fmla="*/ 1584676 w 1965160"/>
                  <a:gd name="connsiteY130" fmla="*/ 444875 h 1988156"/>
                  <a:gd name="connsiteX131" fmla="*/ 1556844 w 1965160"/>
                  <a:gd name="connsiteY131" fmla="*/ 435960 h 1988156"/>
                  <a:gd name="connsiteX132" fmla="*/ 1531187 w 1965160"/>
                  <a:gd name="connsiteY132" fmla="*/ 421609 h 1988156"/>
                  <a:gd name="connsiteX133" fmla="*/ 1457694 w 1965160"/>
                  <a:gd name="connsiteY133" fmla="*/ 501843 h 1988156"/>
                  <a:gd name="connsiteX134" fmla="*/ 1532709 w 1965160"/>
                  <a:gd name="connsiteY134" fmla="*/ 587078 h 1988156"/>
                  <a:gd name="connsiteX135" fmla="*/ 1759060 w 1965160"/>
                  <a:gd name="connsiteY135" fmla="*/ 428567 h 1988156"/>
                  <a:gd name="connsiteX136" fmla="*/ 1749058 w 1965160"/>
                  <a:gd name="connsiteY136" fmla="*/ 402475 h 1988156"/>
                  <a:gd name="connsiteX137" fmla="*/ 1750145 w 1965160"/>
                  <a:gd name="connsiteY137" fmla="*/ 385950 h 1988156"/>
                  <a:gd name="connsiteX138" fmla="*/ 1766888 w 1965160"/>
                  <a:gd name="connsiteY138" fmla="*/ 390298 h 1988156"/>
                  <a:gd name="connsiteX139" fmla="*/ 1818420 w 1965160"/>
                  <a:gd name="connsiteY139" fmla="*/ 464879 h 1988156"/>
                  <a:gd name="connsiteX140" fmla="*/ 1817333 w 1965160"/>
                  <a:gd name="connsiteY140" fmla="*/ 480099 h 1988156"/>
                  <a:gd name="connsiteX141" fmla="*/ 1801460 w 1965160"/>
                  <a:gd name="connsiteY141" fmla="*/ 476185 h 1988156"/>
                  <a:gd name="connsiteX142" fmla="*/ 1779499 w 1965160"/>
                  <a:gd name="connsiteY142" fmla="*/ 457486 h 1988156"/>
                  <a:gd name="connsiteX143" fmla="*/ 1553148 w 1965160"/>
                  <a:gd name="connsiteY143" fmla="*/ 615997 h 1988156"/>
                  <a:gd name="connsiteX144" fmla="*/ 1607942 w 1965160"/>
                  <a:gd name="connsiteY144" fmla="*/ 715583 h 1988156"/>
                  <a:gd name="connsiteX145" fmla="*/ 1705789 w 1965160"/>
                  <a:gd name="connsiteY145" fmla="*/ 675140 h 1988156"/>
                  <a:gd name="connsiteX146" fmla="*/ 1705136 w 1965160"/>
                  <a:gd name="connsiteY146" fmla="*/ 616649 h 1988156"/>
                  <a:gd name="connsiteX147" fmla="*/ 1763844 w 1965160"/>
                  <a:gd name="connsiteY147" fmla="*/ 590339 h 1988156"/>
                  <a:gd name="connsiteX148" fmla="*/ 1819508 w 1965160"/>
                  <a:gd name="connsiteY148" fmla="*/ 681445 h 1988156"/>
                  <a:gd name="connsiteX149" fmla="*/ 1819290 w 1965160"/>
                  <a:gd name="connsiteY149" fmla="*/ 730803 h 1988156"/>
                  <a:gd name="connsiteX150" fmla="*/ 1765801 w 1965160"/>
                  <a:gd name="connsiteY150" fmla="*/ 754070 h 1988156"/>
                  <a:gd name="connsiteX151" fmla="*/ 1722096 w 1965160"/>
                  <a:gd name="connsiteY151" fmla="*/ 706885 h 1988156"/>
                  <a:gd name="connsiteX152" fmla="*/ 1621423 w 1965160"/>
                  <a:gd name="connsiteY152" fmla="*/ 748633 h 1988156"/>
                  <a:gd name="connsiteX153" fmla="*/ 1653169 w 1965160"/>
                  <a:gd name="connsiteY153" fmla="*/ 857786 h 1988156"/>
                  <a:gd name="connsiteX154" fmla="*/ 1925399 w 1965160"/>
                  <a:gd name="connsiteY154" fmla="*/ 809733 h 1988156"/>
                  <a:gd name="connsiteX155" fmla="*/ 1927356 w 1965160"/>
                  <a:gd name="connsiteY155" fmla="*/ 780162 h 1988156"/>
                  <a:gd name="connsiteX156" fmla="*/ 1935401 w 1965160"/>
                  <a:gd name="connsiteY156" fmla="*/ 767333 h 1988156"/>
                  <a:gd name="connsiteX157" fmla="*/ 1947360 w 1965160"/>
                  <a:gd name="connsiteY157" fmla="*/ 776900 h 1988156"/>
                  <a:gd name="connsiteX158" fmla="*/ 1963233 w 1965160"/>
                  <a:gd name="connsiteY158" fmla="*/ 869311 h 1988156"/>
                  <a:gd name="connsiteX159" fmla="*/ 1955623 w 1965160"/>
                  <a:gd name="connsiteY159" fmla="*/ 881269 h 1988156"/>
                  <a:gd name="connsiteX160" fmla="*/ 1944098 w 1965160"/>
                  <a:gd name="connsiteY160" fmla="*/ 872789 h 1988156"/>
                  <a:gd name="connsiteX161" fmla="*/ 1931053 w 1965160"/>
                  <a:gd name="connsiteY161" fmla="*/ 844957 h 1988156"/>
                  <a:gd name="connsiteX162" fmla="*/ 1659257 w 1965160"/>
                  <a:gd name="connsiteY162" fmla="*/ 892794 h 1988156"/>
                  <a:gd name="connsiteX163" fmla="*/ 1666650 w 1965160"/>
                  <a:gd name="connsiteY163" fmla="*/ 1006296 h 1988156"/>
                  <a:gd name="connsiteX164" fmla="*/ 1775150 w 1965160"/>
                  <a:gd name="connsiteY164" fmla="*/ 1011079 h 1988156"/>
                  <a:gd name="connsiteX165" fmla="*/ 1782978 w 1965160"/>
                  <a:gd name="connsiteY165" fmla="*/ 984552 h 1988156"/>
                  <a:gd name="connsiteX166" fmla="*/ 1801243 w 1965160"/>
                  <a:gd name="connsiteY166" fmla="*/ 951719 h 1988156"/>
                  <a:gd name="connsiteX167" fmla="*/ 1857994 w 1965160"/>
                  <a:gd name="connsiteY167" fmla="*/ 954111 h 1988156"/>
                  <a:gd name="connsiteX168" fmla="*/ 1877781 w 1965160"/>
                  <a:gd name="connsiteY168" fmla="*/ 1024995 h 1988156"/>
                  <a:gd name="connsiteX169" fmla="*/ 1863212 w 1965160"/>
                  <a:gd name="connsiteY169" fmla="*/ 1092183 h 1988156"/>
                  <a:gd name="connsiteX170" fmla="*/ 1851254 w 1965160"/>
                  <a:gd name="connsiteY170" fmla="*/ 1110230 h 1988156"/>
                  <a:gd name="connsiteX171" fmla="*/ 1794068 w 1965160"/>
                  <a:gd name="connsiteY171" fmla="*/ 1107403 h 1988156"/>
                  <a:gd name="connsiteX172" fmla="*/ 1776237 w 1965160"/>
                  <a:gd name="connsiteY172" fmla="*/ 1061524 h 1988156"/>
                  <a:gd name="connsiteX173" fmla="*/ 1773846 w 1965160"/>
                  <a:gd name="connsiteY173" fmla="*/ 1046521 h 1988156"/>
                  <a:gd name="connsiteX174" fmla="*/ 1664693 w 1965160"/>
                  <a:gd name="connsiteY174" fmla="*/ 1041520 h 1988156"/>
                  <a:gd name="connsiteX175" fmla="*/ 1647516 w 1965160"/>
                  <a:gd name="connsiteY175" fmla="*/ 1153718 h 1988156"/>
                  <a:gd name="connsiteX176" fmla="*/ 1705354 w 1965160"/>
                  <a:gd name="connsiteY176" fmla="*/ 1169373 h 1988156"/>
                  <a:gd name="connsiteX177" fmla="*/ 1904308 w 1965160"/>
                  <a:gd name="connsiteY177" fmla="*/ 1222644 h 1988156"/>
                  <a:gd name="connsiteX178" fmla="*/ 1919745 w 1965160"/>
                  <a:gd name="connsiteY178" fmla="*/ 1215686 h 1988156"/>
                  <a:gd name="connsiteX179" fmla="*/ 1931487 w 1965160"/>
                  <a:gd name="connsiteY179" fmla="*/ 1196335 h 1988156"/>
                  <a:gd name="connsiteX180" fmla="*/ 1942359 w 1965160"/>
                  <a:gd name="connsiteY180" fmla="*/ 1191551 h 1988156"/>
                  <a:gd name="connsiteX181" fmla="*/ 1948012 w 1965160"/>
                  <a:gd name="connsiteY181" fmla="*/ 1200684 h 1988156"/>
                  <a:gd name="connsiteX182" fmla="*/ 1943881 w 1965160"/>
                  <a:gd name="connsiteY182" fmla="*/ 1247867 h 1988156"/>
                  <a:gd name="connsiteX183" fmla="*/ 1925181 w 1965160"/>
                  <a:gd name="connsiteY183" fmla="*/ 1293529 h 1988156"/>
                  <a:gd name="connsiteX184" fmla="*/ 1911701 w 1965160"/>
                  <a:gd name="connsiteY184" fmla="*/ 1302443 h 1988156"/>
                  <a:gd name="connsiteX185" fmla="*/ 1905178 w 1965160"/>
                  <a:gd name="connsiteY185" fmla="*/ 1287441 h 1988156"/>
                  <a:gd name="connsiteX186" fmla="*/ 1904960 w 1965160"/>
                  <a:gd name="connsiteY186" fmla="*/ 1259174 h 1988156"/>
                  <a:gd name="connsiteX187" fmla="*/ 1639035 w 1965160"/>
                  <a:gd name="connsiteY187" fmla="*/ 1187854 h 1988156"/>
                  <a:gd name="connsiteX188" fmla="*/ 1597723 w 1965160"/>
                  <a:gd name="connsiteY188" fmla="*/ 1293746 h 1988156"/>
                  <a:gd name="connsiteX189" fmla="*/ 1693394 w 1965160"/>
                  <a:gd name="connsiteY189" fmla="*/ 1343539 h 1988156"/>
                  <a:gd name="connsiteX190" fmla="*/ 1723618 w 1965160"/>
                  <a:gd name="connsiteY190" fmla="*/ 1312881 h 1988156"/>
                  <a:gd name="connsiteX191" fmla="*/ 1742970 w 1965160"/>
                  <a:gd name="connsiteY191" fmla="*/ 1300921 h 1988156"/>
                  <a:gd name="connsiteX192" fmla="*/ 1794068 w 1965160"/>
                  <a:gd name="connsiteY192" fmla="*/ 1329406 h 1988156"/>
                  <a:gd name="connsiteX193" fmla="*/ 1727315 w 1965160"/>
                  <a:gd name="connsiteY193" fmla="*/ 1463347 h 1988156"/>
                  <a:gd name="connsiteX194" fmla="*/ 1669694 w 1965160"/>
                  <a:gd name="connsiteY194" fmla="*/ 1433993 h 1988156"/>
                  <a:gd name="connsiteX195" fmla="*/ 1670564 w 1965160"/>
                  <a:gd name="connsiteY195" fmla="*/ 1404856 h 1988156"/>
                  <a:gd name="connsiteX196" fmla="*/ 1677957 w 1965160"/>
                  <a:gd name="connsiteY196" fmla="*/ 1375502 h 1988156"/>
                  <a:gd name="connsiteX197" fmla="*/ 1581197 w 1965160"/>
                  <a:gd name="connsiteY197" fmla="*/ 1325057 h 1988156"/>
                  <a:gd name="connsiteX198" fmla="*/ 1518141 w 1965160"/>
                  <a:gd name="connsiteY198" fmla="*/ 1419424 h 1988156"/>
                  <a:gd name="connsiteX199" fmla="*/ 1729489 w 1965160"/>
                  <a:gd name="connsiteY199" fmla="*/ 1596852 h 1988156"/>
                  <a:gd name="connsiteX200" fmla="*/ 1756016 w 1965160"/>
                  <a:gd name="connsiteY200" fmla="*/ 1578805 h 1988156"/>
                  <a:gd name="connsiteX201" fmla="*/ 1768845 w 1965160"/>
                  <a:gd name="connsiteY201" fmla="*/ 1578371 h 1988156"/>
                  <a:gd name="connsiteX202" fmla="*/ 1769932 w 1965160"/>
                  <a:gd name="connsiteY202" fmla="*/ 1590112 h 1988156"/>
                  <a:gd name="connsiteX203" fmla="*/ 1706441 w 1965160"/>
                  <a:gd name="connsiteY203" fmla="*/ 1665563 h 1988156"/>
                  <a:gd name="connsiteX204" fmla="*/ 1694699 w 1965160"/>
                  <a:gd name="connsiteY204" fmla="*/ 1665780 h 1988156"/>
                  <a:gd name="connsiteX205" fmla="*/ 1693177 w 1965160"/>
                  <a:gd name="connsiteY205" fmla="*/ 1654038 h 1988156"/>
                  <a:gd name="connsiteX206" fmla="*/ 1706441 w 1965160"/>
                  <a:gd name="connsiteY206" fmla="*/ 1623814 h 1988156"/>
                  <a:gd name="connsiteX207" fmla="*/ 1495092 w 1965160"/>
                  <a:gd name="connsiteY207" fmla="*/ 1446386 h 1988156"/>
                  <a:gd name="connsiteX208" fmla="*/ 1413119 w 1965160"/>
                  <a:gd name="connsiteY208" fmla="*/ 1524881 h 1988156"/>
                  <a:gd name="connsiteX209" fmla="*/ 1479220 w 1965160"/>
                  <a:gd name="connsiteY209" fmla="*/ 1610986 h 1988156"/>
                  <a:gd name="connsiteX210" fmla="*/ 1512923 w 1965160"/>
                  <a:gd name="connsiteY210" fmla="*/ 1597505 h 1988156"/>
                  <a:gd name="connsiteX211" fmla="*/ 1547060 w 1965160"/>
                  <a:gd name="connsiteY211" fmla="*/ 1593591 h 1988156"/>
                  <a:gd name="connsiteX212" fmla="*/ 1577501 w 1965160"/>
                  <a:gd name="connsiteY212" fmla="*/ 1631425 h 1988156"/>
                  <a:gd name="connsiteX213" fmla="*/ 1573152 w 1965160"/>
                  <a:gd name="connsiteY213" fmla="*/ 1648167 h 1988156"/>
                  <a:gd name="connsiteX214" fmla="*/ 1460086 w 1965160"/>
                  <a:gd name="connsiteY214" fmla="*/ 1732750 h 1988156"/>
                  <a:gd name="connsiteX215" fmla="*/ 1419860 w 1965160"/>
                  <a:gd name="connsiteY215" fmla="*/ 1680565 h 1988156"/>
                  <a:gd name="connsiteX216" fmla="*/ 1449431 w 1965160"/>
                  <a:gd name="connsiteY216" fmla="*/ 1630555 h 1988156"/>
                  <a:gd name="connsiteX217" fmla="*/ 1384852 w 1965160"/>
                  <a:gd name="connsiteY217" fmla="*/ 1546190 h 1988156"/>
                  <a:gd name="connsiteX218" fmla="*/ 1287876 w 1965160"/>
                  <a:gd name="connsiteY218" fmla="*/ 1605115 h 1988156"/>
                  <a:gd name="connsiteX219" fmla="*/ 1404639 w 1965160"/>
                  <a:gd name="connsiteY219" fmla="*/ 1855384 h 1988156"/>
                  <a:gd name="connsiteX220" fmla="*/ 1435950 w 1965160"/>
                  <a:gd name="connsiteY220" fmla="*/ 1849948 h 1988156"/>
                  <a:gd name="connsiteX221" fmla="*/ 1447691 w 1965160"/>
                  <a:gd name="connsiteY221" fmla="*/ 1854732 h 1988156"/>
                  <a:gd name="connsiteX222" fmla="*/ 1443778 w 1965160"/>
                  <a:gd name="connsiteY222" fmla="*/ 1866909 h 1988156"/>
                  <a:gd name="connsiteX223" fmla="*/ 1370067 w 1965160"/>
                  <a:gd name="connsiteY223" fmla="*/ 1906047 h 1988156"/>
                  <a:gd name="connsiteX224" fmla="*/ 1352889 w 1965160"/>
                  <a:gd name="connsiteY224" fmla="*/ 1908004 h 1988156"/>
                  <a:gd name="connsiteX225" fmla="*/ 1346149 w 1965160"/>
                  <a:gd name="connsiteY225" fmla="*/ 1893653 h 1988156"/>
                  <a:gd name="connsiteX226" fmla="*/ 1372242 w 1965160"/>
                  <a:gd name="connsiteY226" fmla="*/ 1869735 h 1988156"/>
                  <a:gd name="connsiteX227" fmla="*/ 1255696 w 1965160"/>
                  <a:gd name="connsiteY227" fmla="*/ 1619900 h 1988156"/>
                  <a:gd name="connsiteX228" fmla="*/ 1148064 w 1965160"/>
                  <a:gd name="connsiteY228" fmla="*/ 1656430 h 1988156"/>
                  <a:gd name="connsiteX229" fmla="*/ 1171113 w 1965160"/>
                  <a:gd name="connsiteY229" fmla="*/ 1761017 h 1988156"/>
                  <a:gd name="connsiteX230" fmla="*/ 1220471 w 1965160"/>
                  <a:gd name="connsiteY230" fmla="*/ 1766887 h 1988156"/>
                  <a:gd name="connsiteX231" fmla="*/ 1230690 w 1965160"/>
                  <a:gd name="connsiteY231" fmla="*/ 1770149 h 1988156"/>
                  <a:gd name="connsiteX232" fmla="*/ 1244388 w 1965160"/>
                  <a:gd name="connsiteY232" fmla="*/ 1832119 h 1988156"/>
                  <a:gd name="connsiteX233" fmla="*/ 1152630 w 1965160"/>
                  <a:gd name="connsiteY233" fmla="*/ 1870822 h 1988156"/>
                  <a:gd name="connsiteX234" fmla="*/ 1101533 w 1965160"/>
                  <a:gd name="connsiteY234" fmla="*/ 1864517 h 1988156"/>
                  <a:gd name="connsiteX235" fmla="*/ 1087400 w 1965160"/>
                  <a:gd name="connsiteY235" fmla="*/ 1801460 h 1988156"/>
                  <a:gd name="connsiteX236" fmla="*/ 1136105 w 1965160"/>
                  <a:gd name="connsiteY236" fmla="*/ 1767975 h 1988156"/>
                  <a:gd name="connsiteX237" fmla="*/ 1113057 w 1965160"/>
                  <a:gd name="connsiteY237" fmla="*/ 1664258 h 1988156"/>
                  <a:gd name="connsiteX238" fmla="*/ 1001295 w 1965160"/>
                  <a:gd name="connsiteY238" fmla="*/ 1676216 h 1988156"/>
                  <a:gd name="connsiteX239" fmla="*/ 1001295 w 1965160"/>
                  <a:gd name="connsiteY239" fmla="*/ 1952796 h 1988156"/>
                  <a:gd name="connsiteX240" fmla="*/ 1031301 w 1965160"/>
                  <a:gd name="connsiteY240" fmla="*/ 1961275 h 1988156"/>
                  <a:gd name="connsiteX241" fmla="*/ 1041085 w 1965160"/>
                  <a:gd name="connsiteY241" fmla="*/ 1970408 h 1988156"/>
                  <a:gd name="connsiteX242" fmla="*/ 1031519 w 1965160"/>
                  <a:gd name="connsiteY242" fmla="*/ 1979758 h 1988156"/>
                  <a:gd name="connsiteX243" fmla="*/ 933672 w 1965160"/>
                  <a:gd name="connsiteY243" fmla="*/ 1979758 h 1988156"/>
                  <a:gd name="connsiteX244" fmla="*/ 924974 w 1965160"/>
                  <a:gd name="connsiteY244" fmla="*/ 1970191 h 1988156"/>
                  <a:gd name="connsiteX245" fmla="*/ 933455 w 1965160"/>
                  <a:gd name="connsiteY245" fmla="*/ 1961710 h 1988156"/>
                  <a:gd name="connsiteX246" fmla="*/ 964983 w 1965160"/>
                  <a:gd name="connsiteY246" fmla="*/ 1953883 h 1988156"/>
                  <a:gd name="connsiteX247" fmla="*/ 964983 w 1965160"/>
                  <a:gd name="connsiteY247" fmla="*/ 1678391 h 1988156"/>
                  <a:gd name="connsiteX248" fmla="*/ 824954 w 1965160"/>
                  <a:gd name="connsiteY248" fmla="*/ 1660344 h 1988156"/>
                  <a:gd name="connsiteX249" fmla="*/ 797340 w 1965160"/>
                  <a:gd name="connsiteY249" fmla="*/ 1764713 h 1988156"/>
                  <a:gd name="connsiteX250" fmla="*/ 821475 w 1965160"/>
                  <a:gd name="connsiteY250" fmla="*/ 1777760 h 1988156"/>
                  <a:gd name="connsiteX251" fmla="*/ 853656 w 1965160"/>
                  <a:gd name="connsiteY251" fmla="*/ 1809288 h 1988156"/>
                  <a:gd name="connsiteX252" fmla="*/ 841261 w 1965160"/>
                  <a:gd name="connsiteY252" fmla="*/ 1854297 h 1988156"/>
                  <a:gd name="connsiteX253" fmla="*/ 798862 w 1965160"/>
                  <a:gd name="connsiteY253" fmla="*/ 1865387 h 1988156"/>
                  <a:gd name="connsiteX254" fmla="*/ 703842 w 1965160"/>
                  <a:gd name="connsiteY254" fmla="*/ 1837120 h 1988156"/>
                  <a:gd name="connsiteX255" fmla="*/ 683838 w 1965160"/>
                  <a:gd name="connsiteY255" fmla="*/ 1817550 h 1988156"/>
                  <a:gd name="connsiteX256" fmla="*/ 697971 w 1965160"/>
                  <a:gd name="connsiteY256" fmla="*/ 1763191 h 1988156"/>
                  <a:gd name="connsiteX257" fmla="*/ 729282 w 1965160"/>
                  <a:gd name="connsiteY257" fmla="*/ 1755581 h 1988156"/>
                  <a:gd name="connsiteX258" fmla="*/ 763202 w 1965160"/>
                  <a:gd name="connsiteY258" fmla="*/ 1755363 h 1988156"/>
                  <a:gd name="connsiteX259" fmla="*/ 790816 w 1965160"/>
                  <a:gd name="connsiteY259" fmla="*/ 1651646 h 1988156"/>
                  <a:gd name="connsiteX260" fmla="*/ 656006 w 1965160"/>
                  <a:gd name="connsiteY260" fmla="*/ 1595983 h 1988156"/>
                  <a:gd name="connsiteX261" fmla="*/ 518587 w 1965160"/>
                  <a:gd name="connsiteY261" fmla="*/ 1834076 h 1988156"/>
                  <a:gd name="connsiteX262" fmla="*/ 541852 w 1965160"/>
                  <a:gd name="connsiteY262" fmla="*/ 1858863 h 1988156"/>
                  <a:gd name="connsiteX263" fmla="*/ 544027 w 1965160"/>
                  <a:gd name="connsiteY263" fmla="*/ 1869517 h 1988156"/>
                  <a:gd name="connsiteX264" fmla="*/ 533807 w 1965160"/>
                  <a:gd name="connsiteY264" fmla="*/ 1873214 h 1988156"/>
                  <a:gd name="connsiteX265" fmla="*/ 510759 w 1965160"/>
                  <a:gd name="connsiteY265" fmla="*/ 1867996 h 1988156"/>
                  <a:gd name="connsiteX266" fmla="*/ 449876 w 1965160"/>
                  <a:gd name="connsiteY266" fmla="*/ 1827552 h 1988156"/>
                  <a:gd name="connsiteX267" fmla="*/ 444223 w 1965160"/>
                  <a:gd name="connsiteY267" fmla="*/ 1812114 h 1988156"/>
                  <a:gd name="connsiteX268" fmla="*/ 460096 w 1965160"/>
                  <a:gd name="connsiteY268" fmla="*/ 1809288 h 1988156"/>
                  <a:gd name="connsiteX269" fmla="*/ 487711 w 1965160"/>
                  <a:gd name="connsiteY269" fmla="*/ 1816680 h 1988156"/>
                  <a:gd name="connsiteX270" fmla="*/ 626000 w 1965160"/>
                  <a:gd name="connsiteY270" fmla="*/ 1577283 h 1988156"/>
                  <a:gd name="connsiteX271" fmla="*/ 534459 w 1965160"/>
                  <a:gd name="connsiteY271" fmla="*/ 1510095 h 1988156"/>
                  <a:gd name="connsiteX272" fmla="*/ 461183 w 1965160"/>
                  <a:gd name="connsiteY272" fmla="*/ 1589894 h 1988156"/>
                  <a:gd name="connsiteX273" fmla="*/ 483144 w 1965160"/>
                  <a:gd name="connsiteY273" fmla="*/ 1627946 h 1988156"/>
                  <a:gd name="connsiteX274" fmla="*/ 489233 w 1965160"/>
                  <a:gd name="connsiteY274" fmla="*/ 1662518 h 1988156"/>
                  <a:gd name="connsiteX275" fmla="*/ 462053 w 1965160"/>
                  <a:gd name="connsiteY275" fmla="*/ 1689915 h 1988156"/>
                  <a:gd name="connsiteX276" fmla="*/ 434221 w 1965160"/>
                  <a:gd name="connsiteY276" fmla="*/ 1687523 h 1988156"/>
                  <a:gd name="connsiteX277" fmla="*/ 336592 w 1965160"/>
                  <a:gd name="connsiteY277" fmla="*/ 1589677 h 1988156"/>
                  <a:gd name="connsiteX278" fmla="*/ 379645 w 1965160"/>
                  <a:gd name="connsiteY278" fmla="*/ 1544015 h 1988156"/>
                  <a:gd name="connsiteX279" fmla="*/ 436396 w 1965160"/>
                  <a:gd name="connsiteY279" fmla="*/ 1564454 h 1988156"/>
                  <a:gd name="connsiteX280" fmla="*/ 508149 w 1965160"/>
                  <a:gd name="connsiteY280" fmla="*/ 1486177 h 1988156"/>
                  <a:gd name="connsiteX281" fmla="*/ 433134 w 1965160"/>
                  <a:gd name="connsiteY281" fmla="*/ 1400725 h 1988156"/>
                  <a:gd name="connsiteX282" fmla="*/ 206783 w 1965160"/>
                  <a:gd name="connsiteY282" fmla="*/ 1559235 h 1988156"/>
                  <a:gd name="connsiteX283" fmla="*/ 217002 w 1965160"/>
                  <a:gd name="connsiteY283" fmla="*/ 1589024 h 1988156"/>
                  <a:gd name="connsiteX284" fmla="*/ 215045 w 1965160"/>
                  <a:gd name="connsiteY284" fmla="*/ 1602288 h 1988156"/>
                  <a:gd name="connsiteX285" fmla="*/ 201130 w 1965160"/>
                  <a:gd name="connsiteY285" fmla="*/ 1599462 h 1988156"/>
                  <a:gd name="connsiteX286" fmla="*/ 146118 w 1965160"/>
                  <a:gd name="connsiteY286" fmla="*/ 1519880 h 1988156"/>
                  <a:gd name="connsiteX287" fmla="*/ 148728 w 1965160"/>
                  <a:gd name="connsiteY287" fmla="*/ 1508356 h 1988156"/>
                  <a:gd name="connsiteX288" fmla="*/ 160469 w 1965160"/>
                  <a:gd name="connsiteY288" fmla="*/ 1509660 h 1988156"/>
                  <a:gd name="connsiteX289" fmla="*/ 186344 w 1965160"/>
                  <a:gd name="connsiteY289" fmla="*/ 1530316 h 1988156"/>
                  <a:gd name="connsiteX290" fmla="*/ 412695 w 1965160"/>
                  <a:gd name="connsiteY290" fmla="*/ 1371806 h 1988156"/>
                  <a:gd name="connsiteX291" fmla="*/ 358118 w 1965160"/>
                  <a:gd name="connsiteY291" fmla="*/ 1272437 h 1988156"/>
                  <a:gd name="connsiteX292" fmla="*/ 259837 w 1965160"/>
                  <a:gd name="connsiteY292" fmla="*/ 1313098 h 1988156"/>
                  <a:gd name="connsiteX293" fmla="*/ 260490 w 1965160"/>
                  <a:gd name="connsiteY293" fmla="*/ 1371371 h 1988156"/>
                  <a:gd name="connsiteX294" fmla="*/ 200260 w 1965160"/>
                  <a:gd name="connsiteY294" fmla="*/ 1397246 h 1988156"/>
                  <a:gd name="connsiteX295" fmla="*/ 145901 w 1965160"/>
                  <a:gd name="connsiteY295" fmla="*/ 1306575 h 1988156"/>
                  <a:gd name="connsiteX296" fmla="*/ 146118 w 1965160"/>
                  <a:gd name="connsiteY296" fmla="*/ 1258304 h 1988156"/>
                  <a:gd name="connsiteX297" fmla="*/ 199825 w 1965160"/>
                  <a:gd name="connsiteY297" fmla="*/ 1235691 h 1988156"/>
                  <a:gd name="connsiteX298" fmla="*/ 236137 w 1965160"/>
                  <a:gd name="connsiteY298" fmla="*/ 1270915 h 1988156"/>
                  <a:gd name="connsiteX299" fmla="*/ 243312 w 1965160"/>
                  <a:gd name="connsiteY299" fmla="*/ 1282004 h 1988156"/>
                  <a:gd name="connsiteX300" fmla="*/ 344638 w 1965160"/>
                  <a:gd name="connsiteY300" fmla="*/ 1240040 h 1988156"/>
                  <a:gd name="connsiteX301" fmla="*/ 312674 w 1965160"/>
                  <a:gd name="connsiteY301" fmla="*/ 1130886 h 1988156"/>
                  <a:gd name="connsiteX302" fmla="*/ 40444 w 1965160"/>
                  <a:gd name="connsiteY302" fmla="*/ 1178940 h 1988156"/>
                  <a:gd name="connsiteX303" fmla="*/ 36748 w 1965160"/>
                  <a:gd name="connsiteY303" fmla="*/ 1212425 h 1988156"/>
                  <a:gd name="connsiteX304" fmla="*/ 30007 w 1965160"/>
                  <a:gd name="connsiteY304" fmla="*/ 1220905 h 1988156"/>
                  <a:gd name="connsiteX305" fmla="*/ 19570 w 1965160"/>
                  <a:gd name="connsiteY305" fmla="*/ 1215034 h 1988156"/>
                  <a:gd name="connsiteX306" fmla="*/ 2393 w 1965160"/>
                  <a:gd name="connsiteY306" fmla="*/ 1116753 h 1988156"/>
                  <a:gd name="connsiteX307" fmla="*/ 9351 w 1965160"/>
                  <a:gd name="connsiteY307" fmla="*/ 1108273 h 1988156"/>
                  <a:gd name="connsiteX308" fmla="*/ 19570 w 1965160"/>
                  <a:gd name="connsiteY308" fmla="*/ 1114144 h 1988156"/>
                  <a:gd name="connsiteX309" fmla="*/ 34356 w 1965160"/>
                  <a:gd name="connsiteY309" fmla="*/ 1143933 h 1988156"/>
                  <a:gd name="connsiteX310" fmla="*/ 306368 w 1965160"/>
                  <a:gd name="connsiteY310" fmla="*/ 1096097 h 1988156"/>
                  <a:gd name="connsiteX311" fmla="*/ 298976 w 1965160"/>
                  <a:gd name="connsiteY311" fmla="*/ 982813 h 1988156"/>
                  <a:gd name="connsiteX312" fmla="*/ 189605 w 1965160"/>
                  <a:gd name="connsiteY312" fmla="*/ 978029 h 1988156"/>
                  <a:gd name="connsiteX313" fmla="*/ 184170 w 1965160"/>
                  <a:gd name="connsiteY313" fmla="*/ 998250 h 1988156"/>
                  <a:gd name="connsiteX314" fmla="*/ 166774 w 1965160"/>
                  <a:gd name="connsiteY314" fmla="*/ 1033910 h 1988156"/>
                  <a:gd name="connsiteX315" fmla="*/ 104587 w 1965160"/>
                  <a:gd name="connsiteY315" fmla="*/ 1031736 h 1988156"/>
                  <a:gd name="connsiteX316" fmla="*/ 87193 w 1965160"/>
                  <a:gd name="connsiteY316" fmla="*/ 970853 h 1988156"/>
                  <a:gd name="connsiteX317" fmla="*/ 99370 w 1965160"/>
                  <a:gd name="connsiteY317" fmla="*/ 902143 h 1988156"/>
                  <a:gd name="connsiteX318" fmla="*/ 113503 w 1965160"/>
                  <a:gd name="connsiteY318" fmla="*/ 879095 h 1988156"/>
                  <a:gd name="connsiteX319" fmla="*/ 171341 w 1965160"/>
                  <a:gd name="connsiteY319" fmla="*/ 882357 h 1988156"/>
                  <a:gd name="connsiteX320" fmla="*/ 188735 w 1965160"/>
                  <a:gd name="connsiteY320" fmla="*/ 927366 h 1988156"/>
                  <a:gd name="connsiteX321" fmla="*/ 191127 w 1965160"/>
                  <a:gd name="connsiteY321" fmla="*/ 942369 h 1988156"/>
                  <a:gd name="connsiteX322" fmla="*/ 300498 w 1965160"/>
                  <a:gd name="connsiteY322" fmla="*/ 947370 h 1988156"/>
                  <a:gd name="connsiteX323" fmla="*/ 317893 w 1965160"/>
                  <a:gd name="connsiteY323" fmla="*/ 834956 h 1988156"/>
                  <a:gd name="connsiteX324" fmla="*/ 51098 w 1965160"/>
                  <a:gd name="connsiteY324" fmla="*/ 763419 h 1988156"/>
                  <a:gd name="connsiteX325" fmla="*/ 34139 w 1965160"/>
                  <a:gd name="connsiteY325" fmla="*/ 791468 h 1988156"/>
                  <a:gd name="connsiteX326" fmla="*/ 23701 w 1965160"/>
                  <a:gd name="connsiteY326" fmla="*/ 797122 h 1988156"/>
                  <a:gd name="connsiteX327" fmla="*/ 17178 w 1965160"/>
                  <a:gd name="connsiteY327" fmla="*/ 787554 h 1988156"/>
                  <a:gd name="connsiteX328" fmla="*/ 42184 w 1965160"/>
                  <a:gd name="connsiteY328" fmla="*/ 692318 h 1988156"/>
                  <a:gd name="connsiteX329" fmla="*/ 53708 w 1965160"/>
                  <a:gd name="connsiteY329" fmla="*/ 686881 h 1988156"/>
                  <a:gd name="connsiteX330" fmla="*/ 59796 w 1965160"/>
                  <a:gd name="connsiteY330" fmla="*/ 697101 h 1988156"/>
                  <a:gd name="connsiteX331" fmla="*/ 60013 w 1965160"/>
                  <a:gd name="connsiteY331" fmla="*/ 729282 h 1988156"/>
                  <a:gd name="connsiteX332" fmla="*/ 327243 w 1965160"/>
                  <a:gd name="connsiteY332" fmla="*/ 800166 h 1988156"/>
                  <a:gd name="connsiteX333" fmla="*/ 368338 w 1965160"/>
                  <a:gd name="connsiteY333" fmla="*/ 694274 h 1988156"/>
                  <a:gd name="connsiteX334" fmla="*/ 273318 w 1965160"/>
                  <a:gd name="connsiteY334" fmla="*/ 644699 h 1988156"/>
                  <a:gd name="connsiteX335" fmla="*/ 235485 w 1965160"/>
                  <a:gd name="connsiteY335" fmla="*/ 679923 h 1988156"/>
                  <a:gd name="connsiteX336" fmla="*/ 205478 w 1965160"/>
                  <a:gd name="connsiteY336" fmla="*/ 691013 h 1988156"/>
                  <a:gd name="connsiteX337" fmla="*/ 171776 w 1965160"/>
                  <a:gd name="connsiteY337" fmla="*/ 655788 h 1988156"/>
                  <a:gd name="connsiteX338" fmla="*/ 230918 w 1965160"/>
                  <a:gd name="connsiteY338" fmla="*/ 529675 h 1988156"/>
                  <a:gd name="connsiteX339" fmla="*/ 278319 w 1965160"/>
                  <a:gd name="connsiteY339" fmla="*/ 521847 h 1988156"/>
                  <a:gd name="connsiteX340" fmla="*/ 296802 w 1965160"/>
                  <a:gd name="connsiteY340" fmla="*/ 567726 h 1988156"/>
                  <a:gd name="connsiteX341" fmla="*/ 288974 w 1965160"/>
                  <a:gd name="connsiteY341" fmla="*/ 612953 h 1988156"/>
                  <a:gd name="connsiteX342" fmla="*/ 384646 w 1965160"/>
                  <a:gd name="connsiteY342" fmla="*/ 662964 h 1988156"/>
                  <a:gd name="connsiteX343" fmla="*/ 447919 w 1965160"/>
                  <a:gd name="connsiteY343" fmla="*/ 568378 h 1988156"/>
                  <a:gd name="connsiteX344" fmla="*/ 236137 w 1965160"/>
                  <a:gd name="connsiteY344" fmla="*/ 390733 h 1988156"/>
                  <a:gd name="connsiteX345" fmla="*/ 211567 w 1965160"/>
                  <a:gd name="connsiteY345" fmla="*/ 407911 h 1988156"/>
                  <a:gd name="connsiteX346" fmla="*/ 196346 w 1965160"/>
                  <a:gd name="connsiteY346" fmla="*/ 409868 h 1988156"/>
                  <a:gd name="connsiteX347" fmla="*/ 195911 w 1965160"/>
                  <a:gd name="connsiteY347" fmla="*/ 395517 h 1988156"/>
                  <a:gd name="connsiteX348" fmla="*/ 257011 w 1965160"/>
                  <a:gd name="connsiteY348" fmla="*/ 323111 h 1988156"/>
                  <a:gd name="connsiteX349" fmla="*/ 271144 w 1965160"/>
                  <a:gd name="connsiteY349" fmla="*/ 321589 h 1988156"/>
                  <a:gd name="connsiteX350" fmla="*/ 271361 w 1965160"/>
                  <a:gd name="connsiteY350" fmla="*/ 335721 h 1988156"/>
                  <a:gd name="connsiteX351" fmla="*/ 258750 w 1965160"/>
                  <a:gd name="connsiteY351" fmla="*/ 363553 h 1988156"/>
                  <a:gd name="connsiteX352" fmla="*/ 470533 w 1965160"/>
                  <a:gd name="connsiteY352" fmla="*/ 541199 h 1988156"/>
                  <a:gd name="connsiteX353" fmla="*/ 552507 w 1965160"/>
                  <a:gd name="connsiteY353" fmla="*/ 462705 h 1988156"/>
                  <a:gd name="connsiteX354" fmla="*/ 486841 w 1965160"/>
                  <a:gd name="connsiteY354" fmla="*/ 377035 h 1988156"/>
                  <a:gd name="connsiteX355" fmla="*/ 444440 w 1965160"/>
                  <a:gd name="connsiteY355" fmla="*/ 392255 h 1988156"/>
                  <a:gd name="connsiteX356" fmla="*/ 415304 w 1965160"/>
                  <a:gd name="connsiteY356" fmla="*/ 393560 h 1988156"/>
                  <a:gd name="connsiteX357" fmla="*/ 387689 w 1965160"/>
                  <a:gd name="connsiteY357" fmla="*/ 357031 h 1988156"/>
                  <a:gd name="connsiteX358" fmla="*/ 407259 w 1965160"/>
                  <a:gd name="connsiteY358" fmla="*/ 312891 h 1988156"/>
                  <a:gd name="connsiteX359" fmla="*/ 506192 w 1965160"/>
                  <a:gd name="connsiteY359" fmla="*/ 254400 h 1988156"/>
                  <a:gd name="connsiteX360" fmla="*/ 545331 w 1965160"/>
                  <a:gd name="connsiteY360" fmla="*/ 306585 h 1988156"/>
                  <a:gd name="connsiteX361" fmla="*/ 515760 w 1965160"/>
                  <a:gd name="connsiteY361" fmla="*/ 356596 h 1988156"/>
                  <a:gd name="connsiteX362" fmla="*/ 580339 w 1965160"/>
                  <a:gd name="connsiteY362" fmla="*/ 440961 h 1988156"/>
                  <a:gd name="connsiteX363" fmla="*/ 677315 w 1965160"/>
                  <a:gd name="connsiteY363" fmla="*/ 381819 h 1988156"/>
                  <a:gd name="connsiteX364" fmla="*/ 560551 w 1965160"/>
                  <a:gd name="connsiteY364" fmla="*/ 131549 h 1988156"/>
                  <a:gd name="connsiteX365" fmla="*/ 529023 w 1965160"/>
                  <a:gd name="connsiteY365" fmla="*/ 136985 h 1988156"/>
                  <a:gd name="connsiteX366" fmla="*/ 517282 w 1965160"/>
                  <a:gd name="connsiteY366" fmla="*/ 132201 h 1988156"/>
                  <a:gd name="connsiteX367" fmla="*/ 521196 w 1965160"/>
                  <a:gd name="connsiteY367" fmla="*/ 120025 h 1988156"/>
                  <a:gd name="connsiteX368" fmla="*/ 594906 w 1965160"/>
                  <a:gd name="connsiteY368" fmla="*/ 80886 h 1988156"/>
                  <a:gd name="connsiteX369" fmla="*/ 612084 w 1965160"/>
                  <a:gd name="connsiteY369" fmla="*/ 78929 h 1988156"/>
                  <a:gd name="connsiteX370" fmla="*/ 618607 w 1965160"/>
                  <a:gd name="connsiteY370" fmla="*/ 93280 h 1988156"/>
                  <a:gd name="connsiteX371" fmla="*/ 592732 w 1965160"/>
                  <a:gd name="connsiteY371" fmla="*/ 116981 h 1988156"/>
                  <a:gd name="connsiteX372" fmla="*/ 709278 w 1965160"/>
                  <a:gd name="connsiteY372" fmla="*/ 366815 h 1988156"/>
                  <a:gd name="connsiteX373" fmla="*/ 816909 w 1965160"/>
                  <a:gd name="connsiteY373" fmla="*/ 330286 h 1988156"/>
                  <a:gd name="connsiteX374" fmla="*/ 793643 w 1965160"/>
                  <a:gd name="connsiteY374" fmla="*/ 225699 h 1988156"/>
                  <a:gd name="connsiteX375" fmla="*/ 744720 w 1965160"/>
                  <a:gd name="connsiteY375" fmla="*/ 220263 h 1988156"/>
                  <a:gd name="connsiteX376" fmla="*/ 735370 w 1965160"/>
                  <a:gd name="connsiteY376" fmla="*/ 217436 h 1988156"/>
                  <a:gd name="connsiteX377" fmla="*/ 721237 w 1965160"/>
                  <a:gd name="connsiteY377" fmla="*/ 153510 h 1988156"/>
                  <a:gd name="connsiteX378" fmla="*/ 796253 w 1965160"/>
                  <a:gd name="connsiteY378" fmla="*/ 117633 h 1988156"/>
                  <a:gd name="connsiteX379" fmla="*/ 861701 w 1965160"/>
                  <a:gd name="connsiteY379" fmla="*/ 121330 h 1988156"/>
                  <a:gd name="connsiteX380" fmla="*/ 876052 w 1965160"/>
                  <a:gd name="connsiteY380" fmla="*/ 186561 h 1988156"/>
                  <a:gd name="connsiteX381" fmla="*/ 828433 w 1965160"/>
                  <a:gd name="connsiteY381" fmla="*/ 218741 h 1988156"/>
                  <a:gd name="connsiteX382" fmla="*/ 851481 w 1965160"/>
                  <a:gd name="connsiteY382" fmla="*/ 322458 h 1988156"/>
                  <a:gd name="connsiteX383" fmla="*/ 964113 w 1965160"/>
                  <a:gd name="connsiteY383" fmla="*/ 310282 h 1988156"/>
                  <a:gd name="connsiteX384" fmla="*/ 964113 w 1965160"/>
                  <a:gd name="connsiteY384" fmla="*/ 33920 h 1988156"/>
                  <a:gd name="connsiteX385" fmla="*/ 933237 w 1965160"/>
                  <a:gd name="connsiteY385" fmla="*/ 25222 h 1988156"/>
                  <a:gd name="connsiteX386" fmla="*/ 924540 w 1965160"/>
                  <a:gd name="connsiteY386" fmla="*/ 15656 h 1988156"/>
                  <a:gd name="connsiteX387" fmla="*/ 933020 w 1965160"/>
                  <a:gd name="connsiteY387" fmla="*/ 7393 h 1988156"/>
                  <a:gd name="connsiteX388" fmla="*/ 978247 w 1965160"/>
                  <a:gd name="connsiteY388" fmla="*/ 0 h 1988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</a:cxnLst>
                <a:rect l="l" t="t" r="r" b="b"/>
                <a:pathLst>
                  <a:path w="1965160" h="1988156">
                    <a:moveTo>
                      <a:pt x="955633" y="1489004"/>
                    </a:moveTo>
                    <a:cubicBezTo>
                      <a:pt x="963678" y="1489004"/>
                      <a:pt x="969766" y="1495310"/>
                      <a:pt x="969984" y="1503355"/>
                    </a:cubicBezTo>
                    <a:cubicBezTo>
                      <a:pt x="969984" y="1511618"/>
                      <a:pt x="964330" y="1517924"/>
                      <a:pt x="956068" y="1518141"/>
                    </a:cubicBezTo>
                    <a:cubicBezTo>
                      <a:pt x="947370" y="1518359"/>
                      <a:pt x="940847" y="1512053"/>
                      <a:pt x="941065" y="1503355"/>
                    </a:cubicBezTo>
                    <a:cubicBezTo>
                      <a:pt x="941282" y="1495092"/>
                      <a:pt x="947370" y="1489004"/>
                      <a:pt x="955633" y="1489004"/>
                    </a:cubicBezTo>
                    <a:close/>
                    <a:moveTo>
                      <a:pt x="1295921" y="1411813"/>
                    </a:moveTo>
                    <a:cubicBezTo>
                      <a:pt x="1320926" y="1411813"/>
                      <a:pt x="1341365" y="1432034"/>
                      <a:pt x="1341583" y="1457257"/>
                    </a:cubicBezTo>
                    <a:cubicBezTo>
                      <a:pt x="1341800" y="1483132"/>
                      <a:pt x="1321796" y="1503354"/>
                      <a:pt x="1296138" y="1503571"/>
                    </a:cubicBezTo>
                    <a:cubicBezTo>
                      <a:pt x="1270046" y="1503789"/>
                      <a:pt x="1250042" y="1484001"/>
                      <a:pt x="1250042" y="1457909"/>
                    </a:cubicBezTo>
                    <a:cubicBezTo>
                      <a:pt x="1250042" y="1432034"/>
                      <a:pt x="1270264" y="1411813"/>
                      <a:pt x="1295921" y="1411813"/>
                    </a:cubicBezTo>
                    <a:close/>
                    <a:moveTo>
                      <a:pt x="696232" y="1383764"/>
                    </a:moveTo>
                    <a:cubicBezTo>
                      <a:pt x="724716" y="1383764"/>
                      <a:pt x="748199" y="1407247"/>
                      <a:pt x="748417" y="1436166"/>
                    </a:cubicBezTo>
                    <a:cubicBezTo>
                      <a:pt x="748417" y="1465737"/>
                      <a:pt x="725803" y="1488350"/>
                      <a:pt x="696449" y="1488350"/>
                    </a:cubicBezTo>
                    <a:cubicBezTo>
                      <a:pt x="667313" y="1488350"/>
                      <a:pt x="643830" y="1465302"/>
                      <a:pt x="643830" y="1436383"/>
                    </a:cubicBezTo>
                    <a:cubicBezTo>
                      <a:pt x="643830" y="1407899"/>
                      <a:pt x="667530" y="1383764"/>
                      <a:pt x="696232" y="1383764"/>
                    </a:cubicBezTo>
                    <a:close/>
                    <a:moveTo>
                      <a:pt x="1101533" y="1309184"/>
                    </a:moveTo>
                    <a:cubicBezTo>
                      <a:pt x="1117623" y="1309402"/>
                      <a:pt x="1130452" y="1322230"/>
                      <a:pt x="1130452" y="1338103"/>
                    </a:cubicBezTo>
                    <a:cubicBezTo>
                      <a:pt x="1130670" y="1354193"/>
                      <a:pt x="1116971" y="1367891"/>
                      <a:pt x="1100881" y="1367891"/>
                    </a:cubicBezTo>
                    <a:cubicBezTo>
                      <a:pt x="1084355" y="1367891"/>
                      <a:pt x="1071527" y="1354628"/>
                      <a:pt x="1071744" y="1338103"/>
                    </a:cubicBezTo>
                    <a:cubicBezTo>
                      <a:pt x="1071744" y="1321360"/>
                      <a:pt x="1084573" y="1308967"/>
                      <a:pt x="1101533" y="1309184"/>
                    </a:cubicBezTo>
                    <a:close/>
                    <a:moveTo>
                      <a:pt x="515978" y="1247866"/>
                    </a:moveTo>
                    <a:cubicBezTo>
                      <a:pt x="524241" y="1247866"/>
                      <a:pt x="530547" y="1253737"/>
                      <a:pt x="530764" y="1262000"/>
                    </a:cubicBezTo>
                    <a:cubicBezTo>
                      <a:pt x="530981" y="1270480"/>
                      <a:pt x="525328" y="1276568"/>
                      <a:pt x="517065" y="1277003"/>
                    </a:cubicBezTo>
                    <a:cubicBezTo>
                      <a:pt x="508367" y="1277438"/>
                      <a:pt x="501844" y="1271350"/>
                      <a:pt x="501844" y="1262435"/>
                    </a:cubicBezTo>
                    <a:cubicBezTo>
                      <a:pt x="501844" y="1254172"/>
                      <a:pt x="507932" y="1248083"/>
                      <a:pt x="515978" y="1247866"/>
                    </a:cubicBezTo>
                    <a:close/>
                    <a:moveTo>
                      <a:pt x="1438777" y="1173938"/>
                    </a:moveTo>
                    <a:cubicBezTo>
                      <a:pt x="1464869" y="1173504"/>
                      <a:pt x="1485308" y="1193508"/>
                      <a:pt x="1485308" y="1219382"/>
                    </a:cubicBezTo>
                    <a:cubicBezTo>
                      <a:pt x="1485526" y="1245040"/>
                      <a:pt x="1465086" y="1265913"/>
                      <a:pt x="1439646" y="1265913"/>
                    </a:cubicBezTo>
                    <a:cubicBezTo>
                      <a:pt x="1414859" y="1265913"/>
                      <a:pt x="1393985" y="1245475"/>
                      <a:pt x="1393550" y="1220687"/>
                    </a:cubicBezTo>
                    <a:cubicBezTo>
                      <a:pt x="1393333" y="1194812"/>
                      <a:pt x="1412902" y="1174373"/>
                      <a:pt x="1438777" y="1173938"/>
                    </a:cubicBezTo>
                    <a:close/>
                    <a:moveTo>
                      <a:pt x="880618" y="1069134"/>
                    </a:moveTo>
                    <a:cubicBezTo>
                      <a:pt x="922148" y="1069352"/>
                      <a:pt x="955416" y="1103054"/>
                      <a:pt x="955633" y="1144584"/>
                    </a:cubicBezTo>
                    <a:cubicBezTo>
                      <a:pt x="955633" y="1185898"/>
                      <a:pt x="921930" y="1219817"/>
                      <a:pt x="880618" y="1220034"/>
                    </a:cubicBezTo>
                    <a:cubicBezTo>
                      <a:pt x="839740" y="1220252"/>
                      <a:pt x="805167" y="1186115"/>
                      <a:pt x="804732" y="1145019"/>
                    </a:cubicBezTo>
                    <a:cubicBezTo>
                      <a:pt x="804297" y="1103489"/>
                      <a:pt x="838870" y="1068917"/>
                      <a:pt x="880618" y="1069134"/>
                    </a:cubicBezTo>
                    <a:close/>
                    <a:moveTo>
                      <a:pt x="622738" y="1052826"/>
                    </a:moveTo>
                    <a:cubicBezTo>
                      <a:pt x="648613" y="1052609"/>
                      <a:pt x="669270" y="1072830"/>
                      <a:pt x="669487" y="1098270"/>
                    </a:cubicBezTo>
                    <a:cubicBezTo>
                      <a:pt x="669705" y="1123928"/>
                      <a:pt x="649265" y="1144367"/>
                      <a:pt x="623608" y="1144367"/>
                    </a:cubicBezTo>
                    <a:cubicBezTo>
                      <a:pt x="597516" y="1144367"/>
                      <a:pt x="577729" y="1124580"/>
                      <a:pt x="577729" y="1098487"/>
                    </a:cubicBezTo>
                    <a:cubicBezTo>
                      <a:pt x="577729" y="1073047"/>
                      <a:pt x="597516" y="1053044"/>
                      <a:pt x="622738" y="1052826"/>
                    </a:cubicBezTo>
                    <a:close/>
                    <a:moveTo>
                      <a:pt x="1539667" y="979333"/>
                    </a:moveTo>
                    <a:cubicBezTo>
                      <a:pt x="1547712" y="979333"/>
                      <a:pt x="1554888" y="986944"/>
                      <a:pt x="1554453" y="994771"/>
                    </a:cubicBezTo>
                    <a:cubicBezTo>
                      <a:pt x="1554018" y="1002381"/>
                      <a:pt x="1547060" y="1009122"/>
                      <a:pt x="1539450" y="1009122"/>
                    </a:cubicBezTo>
                    <a:cubicBezTo>
                      <a:pt x="1531404" y="1009122"/>
                      <a:pt x="1524229" y="1001512"/>
                      <a:pt x="1524664" y="993684"/>
                    </a:cubicBezTo>
                    <a:cubicBezTo>
                      <a:pt x="1525099" y="985857"/>
                      <a:pt x="1532274" y="979116"/>
                      <a:pt x="1539667" y="979333"/>
                    </a:cubicBezTo>
                    <a:close/>
                    <a:moveTo>
                      <a:pt x="1208730" y="952154"/>
                    </a:moveTo>
                    <a:cubicBezTo>
                      <a:pt x="1273743" y="952371"/>
                      <a:pt x="1326145" y="1004991"/>
                      <a:pt x="1326145" y="1069787"/>
                    </a:cubicBezTo>
                    <a:cubicBezTo>
                      <a:pt x="1325928" y="1134366"/>
                      <a:pt x="1272874" y="1186985"/>
                      <a:pt x="1208295" y="1186768"/>
                    </a:cubicBezTo>
                    <a:cubicBezTo>
                      <a:pt x="1143281" y="1186550"/>
                      <a:pt x="1091314" y="1134366"/>
                      <a:pt x="1091314" y="1069135"/>
                    </a:cubicBezTo>
                    <a:cubicBezTo>
                      <a:pt x="1091314" y="1003904"/>
                      <a:pt x="1143499" y="951936"/>
                      <a:pt x="1208730" y="952154"/>
                    </a:cubicBezTo>
                    <a:close/>
                    <a:moveTo>
                      <a:pt x="436394" y="826041"/>
                    </a:moveTo>
                    <a:cubicBezTo>
                      <a:pt x="452920" y="825606"/>
                      <a:pt x="465966" y="838435"/>
                      <a:pt x="465966" y="855177"/>
                    </a:cubicBezTo>
                    <a:cubicBezTo>
                      <a:pt x="465966" y="871702"/>
                      <a:pt x="453137" y="884966"/>
                      <a:pt x="436829" y="884966"/>
                    </a:cubicBezTo>
                    <a:cubicBezTo>
                      <a:pt x="420739" y="884966"/>
                      <a:pt x="407259" y="871050"/>
                      <a:pt x="407476" y="854959"/>
                    </a:cubicBezTo>
                    <a:cubicBezTo>
                      <a:pt x="407694" y="839087"/>
                      <a:pt x="420522" y="826258"/>
                      <a:pt x="436394" y="826041"/>
                    </a:cubicBezTo>
                    <a:close/>
                    <a:moveTo>
                      <a:pt x="1441168" y="771681"/>
                    </a:moveTo>
                    <a:cubicBezTo>
                      <a:pt x="1481829" y="772551"/>
                      <a:pt x="1513791" y="805819"/>
                      <a:pt x="1512922" y="846045"/>
                    </a:cubicBezTo>
                    <a:cubicBezTo>
                      <a:pt x="1512270" y="886705"/>
                      <a:pt x="1478350" y="918886"/>
                      <a:pt x="1437472" y="918016"/>
                    </a:cubicBezTo>
                    <a:cubicBezTo>
                      <a:pt x="1398116" y="917146"/>
                      <a:pt x="1365501" y="883444"/>
                      <a:pt x="1366153" y="843871"/>
                    </a:cubicBezTo>
                    <a:cubicBezTo>
                      <a:pt x="1367023" y="802992"/>
                      <a:pt x="1400291" y="770812"/>
                      <a:pt x="1441168" y="771681"/>
                    </a:cubicBezTo>
                    <a:close/>
                    <a:moveTo>
                      <a:pt x="653833" y="765158"/>
                    </a:moveTo>
                    <a:cubicBezTo>
                      <a:pt x="662530" y="764723"/>
                      <a:pt x="669488" y="771246"/>
                      <a:pt x="669488" y="779509"/>
                    </a:cubicBezTo>
                    <a:cubicBezTo>
                      <a:pt x="669488" y="787771"/>
                      <a:pt x="662530" y="794511"/>
                      <a:pt x="654268" y="794294"/>
                    </a:cubicBezTo>
                    <a:cubicBezTo>
                      <a:pt x="646440" y="794077"/>
                      <a:pt x="639916" y="787554"/>
                      <a:pt x="639699" y="779944"/>
                    </a:cubicBezTo>
                    <a:cubicBezTo>
                      <a:pt x="639699" y="772333"/>
                      <a:pt x="646005" y="765592"/>
                      <a:pt x="653833" y="765158"/>
                    </a:cubicBezTo>
                    <a:close/>
                    <a:moveTo>
                      <a:pt x="851481" y="764941"/>
                    </a:moveTo>
                    <a:cubicBezTo>
                      <a:pt x="867353" y="765158"/>
                      <a:pt x="880400" y="778204"/>
                      <a:pt x="880400" y="794077"/>
                    </a:cubicBezTo>
                    <a:cubicBezTo>
                      <a:pt x="880617" y="810168"/>
                      <a:pt x="867136" y="823865"/>
                      <a:pt x="851046" y="823865"/>
                    </a:cubicBezTo>
                    <a:cubicBezTo>
                      <a:pt x="834956" y="823865"/>
                      <a:pt x="821692" y="810602"/>
                      <a:pt x="821692" y="794077"/>
                    </a:cubicBezTo>
                    <a:cubicBezTo>
                      <a:pt x="821692" y="777552"/>
                      <a:pt x="834956" y="764506"/>
                      <a:pt x="851481" y="764941"/>
                    </a:cubicBezTo>
                    <a:close/>
                    <a:moveTo>
                      <a:pt x="1132626" y="718844"/>
                    </a:moveTo>
                    <a:cubicBezTo>
                      <a:pt x="1158066" y="719062"/>
                      <a:pt x="1178505" y="739935"/>
                      <a:pt x="1178288" y="765593"/>
                    </a:cubicBezTo>
                    <a:cubicBezTo>
                      <a:pt x="1178070" y="790380"/>
                      <a:pt x="1157631" y="811036"/>
                      <a:pt x="1132626" y="811254"/>
                    </a:cubicBezTo>
                    <a:cubicBezTo>
                      <a:pt x="1107621" y="811471"/>
                      <a:pt x="1086747" y="790598"/>
                      <a:pt x="1086747" y="764940"/>
                    </a:cubicBezTo>
                    <a:cubicBezTo>
                      <a:pt x="1086747" y="739283"/>
                      <a:pt x="1107403" y="718627"/>
                      <a:pt x="1132626" y="718844"/>
                    </a:cubicBezTo>
                    <a:close/>
                    <a:moveTo>
                      <a:pt x="1281571" y="617084"/>
                    </a:moveTo>
                    <a:cubicBezTo>
                      <a:pt x="1289616" y="617301"/>
                      <a:pt x="1295922" y="624042"/>
                      <a:pt x="1295704" y="631870"/>
                    </a:cubicBezTo>
                    <a:cubicBezTo>
                      <a:pt x="1295487" y="639915"/>
                      <a:pt x="1288094" y="646873"/>
                      <a:pt x="1280049" y="646438"/>
                    </a:cubicBezTo>
                    <a:cubicBezTo>
                      <a:pt x="1272438" y="646003"/>
                      <a:pt x="1265915" y="639045"/>
                      <a:pt x="1265915" y="631435"/>
                    </a:cubicBezTo>
                    <a:cubicBezTo>
                      <a:pt x="1266132" y="623172"/>
                      <a:pt x="1273526" y="616431"/>
                      <a:pt x="1281571" y="617084"/>
                    </a:cubicBezTo>
                    <a:close/>
                    <a:moveTo>
                      <a:pt x="694493" y="570770"/>
                    </a:moveTo>
                    <a:cubicBezTo>
                      <a:pt x="736241" y="571422"/>
                      <a:pt x="770813" y="607299"/>
                      <a:pt x="769074" y="647959"/>
                    </a:cubicBezTo>
                    <a:cubicBezTo>
                      <a:pt x="767552" y="689707"/>
                      <a:pt x="733197" y="722540"/>
                      <a:pt x="692318" y="721452"/>
                    </a:cubicBezTo>
                    <a:cubicBezTo>
                      <a:pt x="650571" y="720365"/>
                      <a:pt x="617086" y="685576"/>
                      <a:pt x="618173" y="645133"/>
                    </a:cubicBezTo>
                    <a:cubicBezTo>
                      <a:pt x="619478" y="603385"/>
                      <a:pt x="653615" y="570117"/>
                      <a:pt x="694493" y="570770"/>
                    </a:cubicBezTo>
                    <a:close/>
                    <a:moveTo>
                      <a:pt x="1027605" y="393776"/>
                    </a:moveTo>
                    <a:cubicBezTo>
                      <a:pt x="1068266" y="393993"/>
                      <a:pt x="1100446" y="425957"/>
                      <a:pt x="1100663" y="466618"/>
                    </a:cubicBezTo>
                    <a:cubicBezTo>
                      <a:pt x="1100881" y="507495"/>
                      <a:pt x="1068918" y="539893"/>
                      <a:pt x="1028257" y="539893"/>
                    </a:cubicBezTo>
                    <a:cubicBezTo>
                      <a:pt x="987379" y="540111"/>
                      <a:pt x="954764" y="508147"/>
                      <a:pt x="954546" y="467705"/>
                    </a:cubicBezTo>
                    <a:cubicBezTo>
                      <a:pt x="954329" y="426174"/>
                      <a:pt x="986510" y="393776"/>
                      <a:pt x="1027605" y="393776"/>
                    </a:cubicBezTo>
                    <a:close/>
                    <a:moveTo>
                      <a:pt x="984335" y="345724"/>
                    </a:moveTo>
                    <a:cubicBezTo>
                      <a:pt x="624913" y="345506"/>
                      <a:pt x="334418" y="635349"/>
                      <a:pt x="334418" y="993901"/>
                    </a:cubicBezTo>
                    <a:cubicBezTo>
                      <a:pt x="334635" y="1352237"/>
                      <a:pt x="624043" y="1642514"/>
                      <a:pt x="981508" y="1642514"/>
                    </a:cubicBezTo>
                    <a:cubicBezTo>
                      <a:pt x="1341583" y="1642514"/>
                      <a:pt x="1631208" y="1353542"/>
                      <a:pt x="1631208" y="994336"/>
                    </a:cubicBezTo>
                    <a:cubicBezTo>
                      <a:pt x="1631208" y="636002"/>
                      <a:pt x="1342018" y="345941"/>
                      <a:pt x="984335" y="345724"/>
                    </a:cubicBezTo>
                    <a:close/>
                    <a:moveTo>
                      <a:pt x="978247" y="0"/>
                    </a:moveTo>
                    <a:cubicBezTo>
                      <a:pt x="995642" y="0"/>
                      <a:pt x="1013254" y="3914"/>
                      <a:pt x="1030432" y="7176"/>
                    </a:cubicBezTo>
                    <a:cubicBezTo>
                      <a:pt x="1034563" y="8045"/>
                      <a:pt x="1037607" y="13264"/>
                      <a:pt x="1041085" y="16525"/>
                    </a:cubicBezTo>
                    <a:cubicBezTo>
                      <a:pt x="1037607" y="19787"/>
                      <a:pt x="1034780" y="24570"/>
                      <a:pt x="1030432" y="26310"/>
                    </a:cubicBezTo>
                    <a:cubicBezTo>
                      <a:pt x="1021299" y="29789"/>
                      <a:pt x="1011732" y="31746"/>
                      <a:pt x="1001513" y="34355"/>
                    </a:cubicBezTo>
                    <a:cubicBezTo>
                      <a:pt x="1001513" y="125896"/>
                      <a:pt x="1001513" y="218089"/>
                      <a:pt x="1001513" y="310064"/>
                    </a:cubicBezTo>
                    <a:cubicBezTo>
                      <a:pt x="1046956" y="315935"/>
                      <a:pt x="1092618" y="321806"/>
                      <a:pt x="1140019" y="327894"/>
                    </a:cubicBezTo>
                    <a:cubicBezTo>
                      <a:pt x="1148934" y="294192"/>
                      <a:pt x="1158284" y="259184"/>
                      <a:pt x="1167851" y="223089"/>
                    </a:cubicBezTo>
                    <a:cubicBezTo>
                      <a:pt x="1164590" y="221567"/>
                      <a:pt x="1161110" y="220480"/>
                      <a:pt x="1158501" y="218306"/>
                    </a:cubicBezTo>
                    <a:cubicBezTo>
                      <a:pt x="1144368" y="207869"/>
                      <a:pt x="1128060" y="199389"/>
                      <a:pt x="1116754" y="186561"/>
                    </a:cubicBezTo>
                    <a:cubicBezTo>
                      <a:pt x="1097401" y="164817"/>
                      <a:pt x="1104577" y="138942"/>
                      <a:pt x="1132191" y="129810"/>
                    </a:cubicBezTo>
                    <a:cubicBezTo>
                      <a:pt x="1148282" y="124591"/>
                      <a:pt x="1166329" y="122634"/>
                      <a:pt x="1183289" y="123287"/>
                    </a:cubicBezTo>
                    <a:cubicBezTo>
                      <a:pt x="1208076" y="124156"/>
                      <a:pt x="1231560" y="131984"/>
                      <a:pt x="1252869" y="145248"/>
                    </a:cubicBezTo>
                    <a:cubicBezTo>
                      <a:pt x="1260697" y="150249"/>
                      <a:pt x="1268524" y="156120"/>
                      <a:pt x="1274830" y="162642"/>
                    </a:cubicBezTo>
                    <a:cubicBezTo>
                      <a:pt x="1300922" y="189604"/>
                      <a:pt x="1293311" y="219393"/>
                      <a:pt x="1256783" y="228743"/>
                    </a:cubicBezTo>
                    <a:cubicBezTo>
                      <a:pt x="1240040" y="233092"/>
                      <a:pt x="1221993" y="232657"/>
                      <a:pt x="1201554" y="234831"/>
                    </a:cubicBezTo>
                    <a:cubicBezTo>
                      <a:pt x="1193074" y="266795"/>
                      <a:pt x="1183724" y="302237"/>
                      <a:pt x="1173940" y="338331"/>
                    </a:cubicBezTo>
                    <a:cubicBezTo>
                      <a:pt x="1196553" y="346594"/>
                      <a:pt x="1219383" y="354204"/>
                      <a:pt x="1241562" y="363336"/>
                    </a:cubicBezTo>
                    <a:cubicBezTo>
                      <a:pt x="1263958" y="372468"/>
                      <a:pt x="1285702" y="383341"/>
                      <a:pt x="1308750" y="393777"/>
                    </a:cubicBezTo>
                    <a:cubicBezTo>
                      <a:pt x="1354629" y="314413"/>
                      <a:pt x="1400943" y="234397"/>
                      <a:pt x="1445952" y="156337"/>
                    </a:cubicBezTo>
                    <a:cubicBezTo>
                      <a:pt x="1438559" y="147857"/>
                      <a:pt x="1431384" y="140464"/>
                      <a:pt x="1425078" y="131984"/>
                    </a:cubicBezTo>
                    <a:cubicBezTo>
                      <a:pt x="1422469" y="128505"/>
                      <a:pt x="1422252" y="123504"/>
                      <a:pt x="1420947" y="119373"/>
                    </a:cubicBezTo>
                    <a:cubicBezTo>
                      <a:pt x="1425078" y="118068"/>
                      <a:pt x="1429645" y="115024"/>
                      <a:pt x="1433558" y="115676"/>
                    </a:cubicBezTo>
                    <a:cubicBezTo>
                      <a:pt x="1467913" y="121547"/>
                      <a:pt x="1496397" y="138507"/>
                      <a:pt x="1519010" y="165034"/>
                    </a:cubicBezTo>
                    <a:cubicBezTo>
                      <a:pt x="1521402" y="167861"/>
                      <a:pt x="1522489" y="174167"/>
                      <a:pt x="1520967" y="176776"/>
                    </a:cubicBezTo>
                    <a:cubicBezTo>
                      <a:pt x="1519228" y="179385"/>
                      <a:pt x="1513140" y="180907"/>
                      <a:pt x="1509444" y="180255"/>
                    </a:cubicBezTo>
                    <a:cubicBezTo>
                      <a:pt x="1499224" y="178298"/>
                      <a:pt x="1489222" y="175036"/>
                      <a:pt x="1477915" y="171992"/>
                    </a:cubicBezTo>
                    <a:cubicBezTo>
                      <a:pt x="1432036" y="251574"/>
                      <a:pt x="1385722" y="331590"/>
                      <a:pt x="1339843" y="410955"/>
                    </a:cubicBezTo>
                    <a:cubicBezTo>
                      <a:pt x="1370285" y="433351"/>
                      <a:pt x="1400291" y="455312"/>
                      <a:pt x="1431601" y="478142"/>
                    </a:cubicBezTo>
                    <a:cubicBezTo>
                      <a:pt x="1455520" y="452267"/>
                      <a:pt x="1480307" y="425088"/>
                      <a:pt x="1504442" y="398778"/>
                    </a:cubicBezTo>
                    <a:cubicBezTo>
                      <a:pt x="1496614" y="385515"/>
                      <a:pt x="1488135" y="373773"/>
                      <a:pt x="1482699" y="360509"/>
                    </a:cubicBezTo>
                    <a:cubicBezTo>
                      <a:pt x="1478568" y="350508"/>
                      <a:pt x="1476611" y="338983"/>
                      <a:pt x="1476393" y="327894"/>
                    </a:cubicBezTo>
                    <a:cubicBezTo>
                      <a:pt x="1476176" y="311151"/>
                      <a:pt x="1488135" y="299193"/>
                      <a:pt x="1504877" y="298323"/>
                    </a:cubicBezTo>
                    <a:cubicBezTo>
                      <a:pt x="1513358" y="297888"/>
                      <a:pt x="1522707" y="297888"/>
                      <a:pt x="1530535" y="300497"/>
                    </a:cubicBezTo>
                    <a:cubicBezTo>
                      <a:pt x="1579458" y="316805"/>
                      <a:pt x="1614683" y="348116"/>
                      <a:pt x="1629034" y="398778"/>
                    </a:cubicBezTo>
                    <a:cubicBezTo>
                      <a:pt x="1637731" y="429872"/>
                      <a:pt x="1616639" y="451180"/>
                      <a:pt x="1584676" y="444875"/>
                    </a:cubicBezTo>
                    <a:cubicBezTo>
                      <a:pt x="1575109" y="442918"/>
                      <a:pt x="1565760" y="439874"/>
                      <a:pt x="1556844" y="435960"/>
                    </a:cubicBezTo>
                    <a:cubicBezTo>
                      <a:pt x="1548364" y="432264"/>
                      <a:pt x="1540320" y="427045"/>
                      <a:pt x="1531187" y="421609"/>
                    </a:cubicBezTo>
                    <a:cubicBezTo>
                      <a:pt x="1506617" y="448353"/>
                      <a:pt x="1481829" y="475533"/>
                      <a:pt x="1457694" y="501843"/>
                    </a:cubicBezTo>
                    <a:cubicBezTo>
                      <a:pt x="1482916" y="530545"/>
                      <a:pt x="1507487" y="558377"/>
                      <a:pt x="1532709" y="587078"/>
                    </a:cubicBezTo>
                    <a:cubicBezTo>
                      <a:pt x="1607507" y="534676"/>
                      <a:pt x="1682958" y="481839"/>
                      <a:pt x="1759060" y="428567"/>
                    </a:cubicBezTo>
                    <a:cubicBezTo>
                      <a:pt x="1755581" y="419652"/>
                      <a:pt x="1751232" y="411390"/>
                      <a:pt x="1749058" y="402475"/>
                    </a:cubicBezTo>
                    <a:cubicBezTo>
                      <a:pt x="1747753" y="397474"/>
                      <a:pt x="1749710" y="391385"/>
                      <a:pt x="1750145" y="385950"/>
                    </a:cubicBezTo>
                    <a:cubicBezTo>
                      <a:pt x="1755799" y="387254"/>
                      <a:pt x="1762757" y="387037"/>
                      <a:pt x="1766888" y="390298"/>
                    </a:cubicBezTo>
                    <a:cubicBezTo>
                      <a:pt x="1791676" y="409868"/>
                      <a:pt x="1809288" y="434655"/>
                      <a:pt x="1818420" y="464879"/>
                    </a:cubicBezTo>
                    <a:cubicBezTo>
                      <a:pt x="1819725" y="469445"/>
                      <a:pt x="1817768" y="475098"/>
                      <a:pt x="1817333" y="480099"/>
                    </a:cubicBezTo>
                    <a:cubicBezTo>
                      <a:pt x="1812115" y="479012"/>
                      <a:pt x="1805809" y="479012"/>
                      <a:pt x="1801460" y="476185"/>
                    </a:cubicBezTo>
                    <a:cubicBezTo>
                      <a:pt x="1793633" y="470968"/>
                      <a:pt x="1787110" y="464227"/>
                      <a:pt x="1779499" y="457486"/>
                    </a:cubicBezTo>
                    <a:cubicBezTo>
                      <a:pt x="1704049" y="510323"/>
                      <a:pt x="1628164" y="563377"/>
                      <a:pt x="1553148" y="615997"/>
                    </a:cubicBezTo>
                    <a:cubicBezTo>
                      <a:pt x="1571413" y="649265"/>
                      <a:pt x="1589243" y="681880"/>
                      <a:pt x="1607942" y="715583"/>
                    </a:cubicBezTo>
                    <a:cubicBezTo>
                      <a:pt x="1640775" y="702102"/>
                      <a:pt x="1674695" y="687969"/>
                      <a:pt x="1705789" y="675140"/>
                    </a:cubicBezTo>
                    <a:cubicBezTo>
                      <a:pt x="1705354" y="654483"/>
                      <a:pt x="1702962" y="635132"/>
                      <a:pt x="1705136" y="616649"/>
                    </a:cubicBezTo>
                    <a:cubicBezTo>
                      <a:pt x="1709050" y="583600"/>
                      <a:pt x="1736230" y="571640"/>
                      <a:pt x="1763844" y="590339"/>
                    </a:cubicBezTo>
                    <a:cubicBezTo>
                      <a:pt x="1796025" y="612084"/>
                      <a:pt x="1812550" y="644481"/>
                      <a:pt x="1819508" y="681445"/>
                    </a:cubicBezTo>
                    <a:cubicBezTo>
                      <a:pt x="1822552" y="697319"/>
                      <a:pt x="1822335" y="714931"/>
                      <a:pt x="1819290" y="730803"/>
                    </a:cubicBezTo>
                    <a:cubicBezTo>
                      <a:pt x="1813854" y="757983"/>
                      <a:pt x="1790589" y="767115"/>
                      <a:pt x="1765801" y="754070"/>
                    </a:cubicBezTo>
                    <a:cubicBezTo>
                      <a:pt x="1751667" y="746459"/>
                      <a:pt x="1740579" y="734717"/>
                      <a:pt x="1722096" y="706885"/>
                    </a:cubicBezTo>
                    <a:cubicBezTo>
                      <a:pt x="1688393" y="720802"/>
                      <a:pt x="1654474" y="734935"/>
                      <a:pt x="1621423" y="748633"/>
                    </a:cubicBezTo>
                    <a:cubicBezTo>
                      <a:pt x="1632077" y="784945"/>
                      <a:pt x="1642297" y="820604"/>
                      <a:pt x="1653169" y="857786"/>
                    </a:cubicBezTo>
                    <a:cubicBezTo>
                      <a:pt x="1743188" y="841914"/>
                      <a:pt x="1834293" y="825823"/>
                      <a:pt x="1925399" y="809733"/>
                    </a:cubicBezTo>
                    <a:cubicBezTo>
                      <a:pt x="1926051" y="799513"/>
                      <a:pt x="1925616" y="789728"/>
                      <a:pt x="1927356" y="780162"/>
                    </a:cubicBezTo>
                    <a:cubicBezTo>
                      <a:pt x="1928226" y="775596"/>
                      <a:pt x="1932574" y="771464"/>
                      <a:pt x="1935401" y="767333"/>
                    </a:cubicBezTo>
                    <a:cubicBezTo>
                      <a:pt x="1939533" y="770377"/>
                      <a:pt x="1945185" y="772769"/>
                      <a:pt x="1947360" y="776900"/>
                    </a:cubicBezTo>
                    <a:cubicBezTo>
                      <a:pt x="1962363" y="805819"/>
                      <a:pt x="1968669" y="836695"/>
                      <a:pt x="1963233" y="869311"/>
                    </a:cubicBezTo>
                    <a:cubicBezTo>
                      <a:pt x="1962581" y="873659"/>
                      <a:pt x="1958232" y="877355"/>
                      <a:pt x="1955623" y="881269"/>
                    </a:cubicBezTo>
                    <a:cubicBezTo>
                      <a:pt x="1951709" y="878443"/>
                      <a:pt x="1946490" y="876486"/>
                      <a:pt x="1944098" y="872789"/>
                    </a:cubicBezTo>
                    <a:cubicBezTo>
                      <a:pt x="1939098" y="864092"/>
                      <a:pt x="1935401" y="854742"/>
                      <a:pt x="1931053" y="844957"/>
                    </a:cubicBezTo>
                    <a:cubicBezTo>
                      <a:pt x="1840599" y="860831"/>
                      <a:pt x="1749928" y="876920"/>
                      <a:pt x="1659257" y="892794"/>
                    </a:cubicBezTo>
                    <a:cubicBezTo>
                      <a:pt x="1661648" y="930627"/>
                      <a:pt x="1664258" y="968026"/>
                      <a:pt x="1666650" y="1006296"/>
                    </a:cubicBezTo>
                    <a:cubicBezTo>
                      <a:pt x="1702309" y="1007818"/>
                      <a:pt x="1738404" y="1009557"/>
                      <a:pt x="1775150" y="1011079"/>
                    </a:cubicBezTo>
                    <a:cubicBezTo>
                      <a:pt x="1777760" y="1002164"/>
                      <a:pt x="1779282" y="992814"/>
                      <a:pt x="1782978" y="984552"/>
                    </a:cubicBezTo>
                    <a:cubicBezTo>
                      <a:pt x="1788197" y="973028"/>
                      <a:pt x="1793415" y="961286"/>
                      <a:pt x="1801243" y="951719"/>
                    </a:cubicBezTo>
                    <a:cubicBezTo>
                      <a:pt x="1818203" y="931062"/>
                      <a:pt x="1842338" y="932584"/>
                      <a:pt x="1857994" y="954111"/>
                    </a:cubicBezTo>
                    <a:cubicBezTo>
                      <a:pt x="1873432" y="975202"/>
                      <a:pt x="1877563" y="999772"/>
                      <a:pt x="1877781" y="1024995"/>
                    </a:cubicBezTo>
                    <a:cubicBezTo>
                      <a:pt x="1877998" y="1048260"/>
                      <a:pt x="1874084" y="1071092"/>
                      <a:pt x="1863212" y="1092183"/>
                    </a:cubicBezTo>
                    <a:cubicBezTo>
                      <a:pt x="1859950" y="1098489"/>
                      <a:pt x="1856037" y="1104794"/>
                      <a:pt x="1851254" y="1110230"/>
                    </a:cubicBezTo>
                    <a:cubicBezTo>
                      <a:pt x="1833423" y="1130886"/>
                      <a:pt x="1808418" y="1130669"/>
                      <a:pt x="1794068" y="1107403"/>
                    </a:cubicBezTo>
                    <a:cubicBezTo>
                      <a:pt x="1785587" y="1093705"/>
                      <a:pt x="1781674" y="1076962"/>
                      <a:pt x="1776237" y="1061524"/>
                    </a:cubicBezTo>
                    <a:cubicBezTo>
                      <a:pt x="1774715" y="1057176"/>
                      <a:pt x="1774715" y="1052174"/>
                      <a:pt x="1773846" y="1046521"/>
                    </a:cubicBezTo>
                    <a:cubicBezTo>
                      <a:pt x="1737317" y="1044781"/>
                      <a:pt x="1701005" y="1043259"/>
                      <a:pt x="1664693" y="1041520"/>
                    </a:cubicBezTo>
                    <a:cubicBezTo>
                      <a:pt x="1659040" y="1078919"/>
                      <a:pt x="1653387" y="1115666"/>
                      <a:pt x="1647516" y="1153718"/>
                    </a:cubicBezTo>
                    <a:cubicBezTo>
                      <a:pt x="1665997" y="1158718"/>
                      <a:pt x="1685567" y="1164154"/>
                      <a:pt x="1705354" y="1169373"/>
                    </a:cubicBezTo>
                    <a:cubicBezTo>
                      <a:pt x="1771672" y="1187202"/>
                      <a:pt x="1837989" y="1204597"/>
                      <a:pt x="1904308" y="1222644"/>
                    </a:cubicBezTo>
                    <a:cubicBezTo>
                      <a:pt x="1912571" y="1224819"/>
                      <a:pt x="1916484" y="1224384"/>
                      <a:pt x="1919745" y="1215686"/>
                    </a:cubicBezTo>
                    <a:cubicBezTo>
                      <a:pt x="1922355" y="1208729"/>
                      <a:pt x="1926704" y="1202206"/>
                      <a:pt x="1931487" y="1196335"/>
                    </a:cubicBezTo>
                    <a:cubicBezTo>
                      <a:pt x="1933879" y="1193508"/>
                      <a:pt x="1938880" y="1191116"/>
                      <a:pt x="1942359" y="1191551"/>
                    </a:cubicBezTo>
                    <a:cubicBezTo>
                      <a:pt x="1944751" y="1191986"/>
                      <a:pt x="1948012" y="1197639"/>
                      <a:pt x="1948012" y="1200684"/>
                    </a:cubicBezTo>
                    <a:cubicBezTo>
                      <a:pt x="1947360" y="1216339"/>
                      <a:pt x="1947577" y="1232647"/>
                      <a:pt x="1943881" y="1247867"/>
                    </a:cubicBezTo>
                    <a:cubicBezTo>
                      <a:pt x="1939968" y="1263740"/>
                      <a:pt x="1932357" y="1278743"/>
                      <a:pt x="1925181" y="1293529"/>
                    </a:cubicBezTo>
                    <a:cubicBezTo>
                      <a:pt x="1923224" y="1297660"/>
                      <a:pt x="1916266" y="1299400"/>
                      <a:pt x="1911701" y="1302443"/>
                    </a:cubicBezTo>
                    <a:cubicBezTo>
                      <a:pt x="1909527" y="1297443"/>
                      <a:pt x="1905830" y="1292659"/>
                      <a:pt x="1905178" y="1287441"/>
                    </a:cubicBezTo>
                    <a:cubicBezTo>
                      <a:pt x="1904090" y="1278525"/>
                      <a:pt x="1904960" y="1269611"/>
                      <a:pt x="1904960" y="1259174"/>
                    </a:cubicBezTo>
                    <a:cubicBezTo>
                      <a:pt x="1817116" y="1235691"/>
                      <a:pt x="1727967" y="1211773"/>
                      <a:pt x="1639035" y="1187854"/>
                    </a:cubicBezTo>
                    <a:cubicBezTo>
                      <a:pt x="1625337" y="1223079"/>
                      <a:pt x="1611638" y="1258087"/>
                      <a:pt x="1597723" y="1293746"/>
                    </a:cubicBezTo>
                    <a:cubicBezTo>
                      <a:pt x="1629251" y="1310054"/>
                      <a:pt x="1661866" y="1327232"/>
                      <a:pt x="1693394" y="1343539"/>
                    </a:cubicBezTo>
                    <a:cubicBezTo>
                      <a:pt x="1703832" y="1332884"/>
                      <a:pt x="1713182" y="1322231"/>
                      <a:pt x="1723618" y="1312881"/>
                    </a:cubicBezTo>
                    <a:cubicBezTo>
                      <a:pt x="1729054" y="1307879"/>
                      <a:pt x="1736012" y="1303965"/>
                      <a:pt x="1742970" y="1300921"/>
                    </a:cubicBezTo>
                    <a:cubicBezTo>
                      <a:pt x="1768410" y="1289833"/>
                      <a:pt x="1789719" y="1302008"/>
                      <a:pt x="1794068" y="1329406"/>
                    </a:cubicBezTo>
                    <a:cubicBezTo>
                      <a:pt x="1801243" y="1375937"/>
                      <a:pt x="1768845" y="1440951"/>
                      <a:pt x="1727315" y="1463347"/>
                    </a:cubicBezTo>
                    <a:cubicBezTo>
                      <a:pt x="1697526" y="1479437"/>
                      <a:pt x="1674043" y="1467696"/>
                      <a:pt x="1669694" y="1433993"/>
                    </a:cubicBezTo>
                    <a:cubicBezTo>
                      <a:pt x="1668389" y="1424425"/>
                      <a:pt x="1669042" y="1414423"/>
                      <a:pt x="1670564" y="1404856"/>
                    </a:cubicBezTo>
                    <a:cubicBezTo>
                      <a:pt x="1671868" y="1395289"/>
                      <a:pt x="1675347" y="1385939"/>
                      <a:pt x="1677957" y="1375502"/>
                    </a:cubicBezTo>
                    <a:cubicBezTo>
                      <a:pt x="1645776" y="1358759"/>
                      <a:pt x="1613160" y="1341800"/>
                      <a:pt x="1581197" y="1325057"/>
                    </a:cubicBezTo>
                    <a:cubicBezTo>
                      <a:pt x="1560106" y="1356585"/>
                      <a:pt x="1539450" y="1387461"/>
                      <a:pt x="1518141" y="1419424"/>
                    </a:cubicBezTo>
                    <a:cubicBezTo>
                      <a:pt x="1588155" y="1478349"/>
                      <a:pt x="1659040" y="1537710"/>
                      <a:pt x="1729489" y="1596852"/>
                    </a:cubicBezTo>
                    <a:cubicBezTo>
                      <a:pt x="1738839" y="1590329"/>
                      <a:pt x="1747101" y="1584024"/>
                      <a:pt x="1756016" y="1578805"/>
                    </a:cubicBezTo>
                    <a:cubicBezTo>
                      <a:pt x="1759495" y="1576849"/>
                      <a:pt x="1765584" y="1576631"/>
                      <a:pt x="1768845" y="1578371"/>
                    </a:cubicBezTo>
                    <a:cubicBezTo>
                      <a:pt x="1770802" y="1579458"/>
                      <a:pt x="1771237" y="1586633"/>
                      <a:pt x="1769932" y="1590112"/>
                    </a:cubicBezTo>
                    <a:cubicBezTo>
                      <a:pt x="1757973" y="1622945"/>
                      <a:pt x="1736665" y="1648167"/>
                      <a:pt x="1706441" y="1665563"/>
                    </a:cubicBezTo>
                    <a:cubicBezTo>
                      <a:pt x="1703179" y="1667302"/>
                      <a:pt x="1696873" y="1667737"/>
                      <a:pt x="1694699" y="1665780"/>
                    </a:cubicBezTo>
                    <a:cubicBezTo>
                      <a:pt x="1692525" y="1663823"/>
                      <a:pt x="1692090" y="1657517"/>
                      <a:pt x="1693177" y="1654038"/>
                    </a:cubicBezTo>
                    <a:cubicBezTo>
                      <a:pt x="1696656" y="1644253"/>
                      <a:pt x="1701440" y="1634904"/>
                      <a:pt x="1706441" y="1623814"/>
                    </a:cubicBezTo>
                    <a:cubicBezTo>
                      <a:pt x="1636426" y="1565106"/>
                      <a:pt x="1565542" y="1505529"/>
                      <a:pt x="1495092" y="1446386"/>
                    </a:cubicBezTo>
                    <a:cubicBezTo>
                      <a:pt x="1467913" y="1472261"/>
                      <a:pt x="1441168" y="1498136"/>
                      <a:pt x="1413119" y="1524881"/>
                    </a:cubicBezTo>
                    <a:cubicBezTo>
                      <a:pt x="1434645" y="1552931"/>
                      <a:pt x="1457042" y="1582067"/>
                      <a:pt x="1479220" y="1610986"/>
                    </a:cubicBezTo>
                    <a:cubicBezTo>
                      <a:pt x="1490961" y="1606202"/>
                      <a:pt x="1501616" y="1600549"/>
                      <a:pt x="1512923" y="1597505"/>
                    </a:cubicBezTo>
                    <a:cubicBezTo>
                      <a:pt x="1524011" y="1594678"/>
                      <a:pt x="1535753" y="1593156"/>
                      <a:pt x="1547060" y="1593591"/>
                    </a:cubicBezTo>
                    <a:cubicBezTo>
                      <a:pt x="1567717" y="1594460"/>
                      <a:pt x="1580545" y="1610986"/>
                      <a:pt x="1577501" y="1631425"/>
                    </a:cubicBezTo>
                    <a:cubicBezTo>
                      <a:pt x="1576631" y="1637079"/>
                      <a:pt x="1575761" y="1643166"/>
                      <a:pt x="1573152" y="1648167"/>
                    </a:cubicBezTo>
                    <a:cubicBezTo>
                      <a:pt x="1549886" y="1695569"/>
                      <a:pt x="1512923" y="1725575"/>
                      <a:pt x="1460086" y="1732750"/>
                    </a:cubicBezTo>
                    <a:cubicBezTo>
                      <a:pt x="1425296" y="1737534"/>
                      <a:pt x="1406596" y="1713398"/>
                      <a:pt x="1419860" y="1680565"/>
                    </a:cubicBezTo>
                    <a:cubicBezTo>
                      <a:pt x="1426818" y="1663606"/>
                      <a:pt x="1438559" y="1648384"/>
                      <a:pt x="1449431" y="1630555"/>
                    </a:cubicBezTo>
                    <a:cubicBezTo>
                      <a:pt x="1428992" y="1603810"/>
                      <a:pt x="1406596" y="1574674"/>
                      <a:pt x="1384852" y="1546190"/>
                    </a:cubicBezTo>
                    <a:cubicBezTo>
                      <a:pt x="1352237" y="1565976"/>
                      <a:pt x="1320274" y="1585546"/>
                      <a:pt x="1287876" y="1605115"/>
                    </a:cubicBezTo>
                    <a:cubicBezTo>
                      <a:pt x="1326579" y="1688393"/>
                      <a:pt x="1365718" y="1772106"/>
                      <a:pt x="1404639" y="1855384"/>
                    </a:cubicBezTo>
                    <a:cubicBezTo>
                      <a:pt x="1415511" y="1853427"/>
                      <a:pt x="1425731" y="1850818"/>
                      <a:pt x="1435950" y="1849948"/>
                    </a:cubicBezTo>
                    <a:cubicBezTo>
                      <a:pt x="1439864" y="1849513"/>
                      <a:pt x="1446387" y="1851905"/>
                      <a:pt x="1447691" y="1854732"/>
                    </a:cubicBezTo>
                    <a:cubicBezTo>
                      <a:pt x="1448996" y="1857776"/>
                      <a:pt x="1446604" y="1864082"/>
                      <a:pt x="1443778" y="1866909"/>
                    </a:cubicBezTo>
                    <a:cubicBezTo>
                      <a:pt x="1423339" y="1887782"/>
                      <a:pt x="1397899" y="1899089"/>
                      <a:pt x="1370067" y="1906047"/>
                    </a:cubicBezTo>
                    <a:cubicBezTo>
                      <a:pt x="1364414" y="1907351"/>
                      <a:pt x="1358542" y="1908221"/>
                      <a:pt x="1352889" y="1908004"/>
                    </a:cubicBezTo>
                    <a:cubicBezTo>
                      <a:pt x="1342888" y="1907351"/>
                      <a:pt x="1339626" y="1901045"/>
                      <a:pt x="1346149" y="1893653"/>
                    </a:cubicBezTo>
                    <a:cubicBezTo>
                      <a:pt x="1353541" y="1885390"/>
                      <a:pt x="1362457" y="1878432"/>
                      <a:pt x="1372242" y="1869735"/>
                    </a:cubicBezTo>
                    <a:cubicBezTo>
                      <a:pt x="1333755" y="1787109"/>
                      <a:pt x="1294616" y="1703178"/>
                      <a:pt x="1255696" y="1619900"/>
                    </a:cubicBezTo>
                    <a:cubicBezTo>
                      <a:pt x="1219601" y="1632077"/>
                      <a:pt x="1184593" y="1644036"/>
                      <a:pt x="1148064" y="1656430"/>
                    </a:cubicBezTo>
                    <a:cubicBezTo>
                      <a:pt x="1155674" y="1691003"/>
                      <a:pt x="1163720" y="1726879"/>
                      <a:pt x="1171113" y="1761017"/>
                    </a:cubicBezTo>
                    <a:cubicBezTo>
                      <a:pt x="1188507" y="1762974"/>
                      <a:pt x="1204598" y="1764713"/>
                      <a:pt x="1220471" y="1766887"/>
                    </a:cubicBezTo>
                    <a:cubicBezTo>
                      <a:pt x="1223950" y="1767322"/>
                      <a:pt x="1227429" y="1768845"/>
                      <a:pt x="1230690" y="1770149"/>
                    </a:cubicBezTo>
                    <a:cubicBezTo>
                      <a:pt x="1260697" y="1782543"/>
                      <a:pt x="1266784" y="1808636"/>
                      <a:pt x="1244388" y="1832119"/>
                    </a:cubicBezTo>
                    <a:cubicBezTo>
                      <a:pt x="1219601" y="1858211"/>
                      <a:pt x="1187203" y="1868865"/>
                      <a:pt x="1152630" y="1870822"/>
                    </a:cubicBezTo>
                    <a:cubicBezTo>
                      <a:pt x="1135670" y="1871691"/>
                      <a:pt x="1117624" y="1869735"/>
                      <a:pt x="1101533" y="1864517"/>
                    </a:cubicBezTo>
                    <a:cubicBezTo>
                      <a:pt x="1069135" y="1853862"/>
                      <a:pt x="1062612" y="1824726"/>
                      <a:pt x="1087400" y="1801460"/>
                    </a:cubicBezTo>
                    <a:cubicBezTo>
                      <a:pt x="1101098" y="1788631"/>
                      <a:pt x="1118493" y="1779934"/>
                      <a:pt x="1136105" y="1767975"/>
                    </a:cubicBezTo>
                    <a:cubicBezTo>
                      <a:pt x="1128930" y="1735359"/>
                      <a:pt x="1120885" y="1699482"/>
                      <a:pt x="1113057" y="1664258"/>
                    </a:cubicBezTo>
                    <a:cubicBezTo>
                      <a:pt x="1075441" y="1668389"/>
                      <a:pt x="1038694" y="1672302"/>
                      <a:pt x="1001295" y="1676216"/>
                    </a:cubicBezTo>
                    <a:cubicBezTo>
                      <a:pt x="1001295" y="1768192"/>
                      <a:pt x="1001295" y="1860385"/>
                      <a:pt x="1001295" y="1952796"/>
                    </a:cubicBezTo>
                    <a:cubicBezTo>
                      <a:pt x="1011297" y="1955622"/>
                      <a:pt x="1021517" y="1957796"/>
                      <a:pt x="1031301" y="1961275"/>
                    </a:cubicBezTo>
                    <a:cubicBezTo>
                      <a:pt x="1035215" y="1962798"/>
                      <a:pt x="1037824" y="1967364"/>
                      <a:pt x="1041085" y="1970408"/>
                    </a:cubicBezTo>
                    <a:cubicBezTo>
                      <a:pt x="1037824" y="1973670"/>
                      <a:pt x="1035433" y="1978454"/>
                      <a:pt x="1031519" y="1979758"/>
                    </a:cubicBezTo>
                    <a:cubicBezTo>
                      <a:pt x="998903" y="1990847"/>
                      <a:pt x="966288" y="1991064"/>
                      <a:pt x="933672" y="1979758"/>
                    </a:cubicBezTo>
                    <a:cubicBezTo>
                      <a:pt x="929976" y="1978454"/>
                      <a:pt x="925627" y="1973887"/>
                      <a:pt x="924974" y="1970191"/>
                    </a:cubicBezTo>
                    <a:cubicBezTo>
                      <a:pt x="924540" y="1968016"/>
                      <a:pt x="929758" y="1963015"/>
                      <a:pt x="933455" y="1961710"/>
                    </a:cubicBezTo>
                    <a:cubicBezTo>
                      <a:pt x="943457" y="1959318"/>
                      <a:pt x="953893" y="1956927"/>
                      <a:pt x="964983" y="1953883"/>
                    </a:cubicBezTo>
                    <a:cubicBezTo>
                      <a:pt x="964983" y="1861690"/>
                      <a:pt x="964983" y="1769497"/>
                      <a:pt x="964983" y="1678391"/>
                    </a:cubicBezTo>
                    <a:cubicBezTo>
                      <a:pt x="918235" y="1672302"/>
                      <a:pt x="872137" y="1666432"/>
                      <a:pt x="824954" y="1660344"/>
                    </a:cubicBezTo>
                    <a:cubicBezTo>
                      <a:pt x="816039" y="1694047"/>
                      <a:pt x="806690" y="1729271"/>
                      <a:pt x="797340" y="1764713"/>
                    </a:cubicBezTo>
                    <a:cubicBezTo>
                      <a:pt x="805820" y="1769062"/>
                      <a:pt x="814734" y="1772106"/>
                      <a:pt x="821475" y="1777760"/>
                    </a:cubicBezTo>
                    <a:cubicBezTo>
                      <a:pt x="833000" y="1787326"/>
                      <a:pt x="845175" y="1797111"/>
                      <a:pt x="853656" y="1809288"/>
                    </a:cubicBezTo>
                    <a:cubicBezTo>
                      <a:pt x="864963" y="1825813"/>
                      <a:pt x="859527" y="1845599"/>
                      <a:pt x="841261" y="1854297"/>
                    </a:cubicBezTo>
                    <a:cubicBezTo>
                      <a:pt x="828216" y="1860603"/>
                      <a:pt x="813212" y="1864734"/>
                      <a:pt x="798862" y="1865387"/>
                    </a:cubicBezTo>
                    <a:cubicBezTo>
                      <a:pt x="764289" y="1866909"/>
                      <a:pt x="732109" y="1857341"/>
                      <a:pt x="703842" y="1837120"/>
                    </a:cubicBezTo>
                    <a:cubicBezTo>
                      <a:pt x="696232" y="1831684"/>
                      <a:pt x="689274" y="1824943"/>
                      <a:pt x="683838" y="1817550"/>
                    </a:cubicBezTo>
                    <a:cubicBezTo>
                      <a:pt x="667965" y="1796024"/>
                      <a:pt x="673618" y="1773846"/>
                      <a:pt x="697971" y="1763191"/>
                    </a:cubicBezTo>
                    <a:cubicBezTo>
                      <a:pt x="707756" y="1758842"/>
                      <a:pt x="718628" y="1756885"/>
                      <a:pt x="729282" y="1755581"/>
                    </a:cubicBezTo>
                    <a:cubicBezTo>
                      <a:pt x="739937" y="1754276"/>
                      <a:pt x="750809" y="1755363"/>
                      <a:pt x="763202" y="1755363"/>
                    </a:cubicBezTo>
                    <a:cubicBezTo>
                      <a:pt x="772335" y="1720791"/>
                      <a:pt x="781684" y="1685566"/>
                      <a:pt x="790816" y="1651646"/>
                    </a:cubicBezTo>
                    <a:cubicBezTo>
                      <a:pt x="746242" y="1633164"/>
                      <a:pt x="701885" y="1615117"/>
                      <a:pt x="656006" y="1595983"/>
                    </a:cubicBezTo>
                    <a:cubicBezTo>
                      <a:pt x="610779" y="1674259"/>
                      <a:pt x="564465" y="1754494"/>
                      <a:pt x="518587" y="1834076"/>
                    </a:cubicBezTo>
                    <a:cubicBezTo>
                      <a:pt x="526631" y="1842555"/>
                      <a:pt x="534677" y="1850383"/>
                      <a:pt x="541852" y="1858863"/>
                    </a:cubicBezTo>
                    <a:cubicBezTo>
                      <a:pt x="544027" y="1861473"/>
                      <a:pt x="545331" y="1866909"/>
                      <a:pt x="544027" y="1869517"/>
                    </a:cubicBezTo>
                    <a:cubicBezTo>
                      <a:pt x="542722" y="1871909"/>
                      <a:pt x="537286" y="1873649"/>
                      <a:pt x="533807" y="1873214"/>
                    </a:cubicBezTo>
                    <a:cubicBezTo>
                      <a:pt x="525979" y="1872344"/>
                      <a:pt x="517934" y="1870822"/>
                      <a:pt x="510759" y="1867996"/>
                    </a:cubicBezTo>
                    <a:cubicBezTo>
                      <a:pt x="487711" y="1858863"/>
                      <a:pt x="466185" y="1846686"/>
                      <a:pt x="449876" y="1827552"/>
                    </a:cubicBezTo>
                    <a:cubicBezTo>
                      <a:pt x="446615" y="1823638"/>
                      <a:pt x="445962" y="1817332"/>
                      <a:pt x="444223" y="1812114"/>
                    </a:cubicBezTo>
                    <a:cubicBezTo>
                      <a:pt x="449442" y="1811027"/>
                      <a:pt x="455095" y="1808636"/>
                      <a:pt x="460096" y="1809288"/>
                    </a:cubicBezTo>
                    <a:cubicBezTo>
                      <a:pt x="469011" y="1810592"/>
                      <a:pt x="477491" y="1813854"/>
                      <a:pt x="487711" y="1816680"/>
                    </a:cubicBezTo>
                    <a:cubicBezTo>
                      <a:pt x="533589" y="1737099"/>
                      <a:pt x="580121" y="1656865"/>
                      <a:pt x="626000" y="1577283"/>
                    </a:cubicBezTo>
                    <a:cubicBezTo>
                      <a:pt x="595559" y="1554887"/>
                      <a:pt x="565553" y="1532926"/>
                      <a:pt x="534459" y="1510095"/>
                    </a:cubicBezTo>
                    <a:cubicBezTo>
                      <a:pt x="510324" y="1536405"/>
                      <a:pt x="485536" y="1563367"/>
                      <a:pt x="461183" y="1589894"/>
                    </a:cubicBezTo>
                    <a:cubicBezTo>
                      <a:pt x="469011" y="1603158"/>
                      <a:pt x="477708" y="1614899"/>
                      <a:pt x="483144" y="1627946"/>
                    </a:cubicBezTo>
                    <a:cubicBezTo>
                      <a:pt x="487493" y="1638600"/>
                      <a:pt x="489233" y="1650994"/>
                      <a:pt x="489233" y="1662518"/>
                    </a:cubicBezTo>
                    <a:cubicBezTo>
                      <a:pt x="489015" y="1677738"/>
                      <a:pt x="477273" y="1688828"/>
                      <a:pt x="462053" y="1689915"/>
                    </a:cubicBezTo>
                    <a:cubicBezTo>
                      <a:pt x="452921" y="1690568"/>
                      <a:pt x="442701" y="1690568"/>
                      <a:pt x="434221" y="1687523"/>
                    </a:cubicBezTo>
                    <a:cubicBezTo>
                      <a:pt x="385733" y="1670998"/>
                      <a:pt x="350943" y="1639905"/>
                      <a:pt x="336592" y="1589677"/>
                    </a:cubicBezTo>
                    <a:cubicBezTo>
                      <a:pt x="327895" y="1558801"/>
                      <a:pt x="348552" y="1536840"/>
                      <a:pt x="379645" y="1544015"/>
                    </a:cubicBezTo>
                    <a:cubicBezTo>
                      <a:pt x="398344" y="1548147"/>
                      <a:pt x="415956" y="1556844"/>
                      <a:pt x="436396" y="1564454"/>
                    </a:cubicBezTo>
                    <a:cubicBezTo>
                      <a:pt x="458792" y="1539884"/>
                      <a:pt x="483797" y="1512922"/>
                      <a:pt x="508149" y="1486177"/>
                    </a:cubicBezTo>
                    <a:cubicBezTo>
                      <a:pt x="483144" y="1457693"/>
                      <a:pt x="458574" y="1429861"/>
                      <a:pt x="433134" y="1400725"/>
                    </a:cubicBezTo>
                    <a:cubicBezTo>
                      <a:pt x="358336" y="1453127"/>
                      <a:pt x="282451" y="1506181"/>
                      <a:pt x="206783" y="1559235"/>
                    </a:cubicBezTo>
                    <a:cubicBezTo>
                      <a:pt x="210480" y="1569455"/>
                      <a:pt x="214611" y="1579023"/>
                      <a:pt x="217002" y="1589024"/>
                    </a:cubicBezTo>
                    <a:cubicBezTo>
                      <a:pt x="218089" y="1592938"/>
                      <a:pt x="215915" y="1597940"/>
                      <a:pt x="215045" y="1602288"/>
                    </a:cubicBezTo>
                    <a:cubicBezTo>
                      <a:pt x="210262" y="1601419"/>
                      <a:pt x="204609" y="1602071"/>
                      <a:pt x="201130" y="1599462"/>
                    </a:cubicBezTo>
                    <a:cubicBezTo>
                      <a:pt x="173733" y="1579240"/>
                      <a:pt x="155251" y="1552496"/>
                      <a:pt x="146118" y="1519880"/>
                    </a:cubicBezTo>
                    <a:cubicBezTo>
                      <a:pt x="145031" y="1516401"/>
                      <a:pt x="146336" y="1510095"/>
                      <a:pt x="148728" y="1508356"/>
                    </a:cubicBezTo>
                    <a:cubicBezTo>
                      <a:pt x="151119" y="1506616"/>
                      <a:pt x="157425" y="1507486"/>
                      <a:pt x="160469" y="1509660"/>
                    </a:cubicBezTo>
                    <a:cubicBezTo>
                      <a:pt x="169384" y="1515749"/>
                      <a:pt x="177429" y="1523142"/>
                      <a:pt x="186344" y="1530316"/>
                    </a:cubicBezTo>
                    <a:cubicBezTo>
                      <a:pt x="261577" y="1477697"/>
                      <a:pt x="337462" y="1424643"/>
                      <a:pt x="412695" y="1371806"/>
                    </a:cubicBezTo>
                    <a:cubicBezTo>
                      <a:pt x="394430" y="1338538"/>
                      <a:pt x="376601" y="1305922"/>
                      <a:pt x="358118" y="1272437"/>
                    </a:cubicBezTo>
                    <a:cubicBezTo>
                      <a:pt x="325286" y="1286136"/>
                      <a:pt x="291366" y="1300052"/>
                      <a:pt x="259837" y="1313098"/>
                    </a:cubicBezTo>
                    <a:cubicBezTo>
                      <a:pt x="260272" y="1333537"/>
                      <a:pt x="262882" y="1352672"/>
                      <a:pt x="260490" y="1371371"/>
                    </a:cubicBezTo>
                    <a:cubicBezTo>
                      <a:pt x="256358" y="1405509"/>
                      <a:pt x="228526" y="1417032"/>
                      <a:pt x="200260" y="1397246"/>
                    </a:cubicBezTo>
                    <a:cubicBezTo>
                      <a:pt x="168949" y="1375285"/>
                      <a:pt x="152642" y="1343104"/>
                      <a:pt x="145901" y="1306575"/>
                    </a:cubicBezTo>
                    <a:cubicBezTo>
                      <a:pt x="143074" y="1290920"/>
                      <a:pt x="143074" y="1273959"/>
                      <a:pt x="146118" y="1258304"/>
                    </a:cubicBezTo>
                    <a:cubicBezTo>
                      <a:pt x="151554" y="1230472"/>
                      <a:pt x="175907" y="1220035"/>
                      <a:pt x="199825" y="1235691"/>
                    </a:cubicBezTo>
                    <a:cubicBezTo>
                      <a:pt x="213741" y="1244823"/>
                      <a:pt x="224178" y="1258739"/>
                      <a:pt x="236137" y="1270915"/>
                    </a:cubicBezTo>
                    <a:cubicBezTo>
                      <a:pt x="238964" y="1273959"/>
                      <a:pt x="240921" y="1278090"/>
                      <a:pt x="243312" y="1282004"/>
                    </a:cubicBezTo>
                    <a:cubicBezTo>
                      <a:pt x="277667" y="1267654"/>
                      <a:pt x="311587" y="1253738"/>
                      <a:pt x="344638" y="1240040"/>
                    </a:cubicBezTo>
                    <a:cubicBezTo>
                      <a:pt x="333983" y="1203510"/>
                      <a:pt x="323546" y="1167850"/>
                      <a:pt x="312674" y="1130886"/>
                    </a:cubicBezTo>
                    <a:cubicBezTo>
                      <a:pt x="222221" y="1146759"/>
                      <a:pt x="130897" y="1162849"/>
                      <a:pt x="40444" y="1178940"/>
                    </a:cubicBezTo>
                    <a:cubicBezTo>
                      <a:pt x="39140" y="1190899"/>
                      <a:pt x="38705" y="1201771"/>
                      <a:pt x="36748" y="1212425"/>
                    </a:cubicBezTo>
                    <a:cubicBezTo>
                      <a:pt x="36096" y="1215686"/>
                      <a:pt x="32399" y="1220687"/>
                      <a:pt x="30007" y="1220905"/>
                    </a:cubicBezTo>
                    <a:cubicBezTo>
                      <a:pt x="26528" y="1221122"/>
                      <a:pt x="21309" y="1218295"/>
                      <a:pt x="19570" y="1215034"/>
                    </a:cubicBezTo>
                    <a:cubicBezTo>
                      <a:pt x="2393" y="1184376"/>
                      <a:pt x="-3913" y="1151543"/>
                      <a:pt x="2393" y="1116753"/>
                    </a:cubicBezTo>
                    <a:cubicBezTo>
                      <a:pt x="3045" y="1113491"/>
                      <a:pt x="6742" y="1108490"/>
                      <a:pt x="9351" y="1108273"/>
                    </a:cubicBezTo>
                    <a:cubicBezTo>
                      <a:pt x="12830" y="1108055"/>
                      <a:pt x="17831" y="1111100"/>
                      <a:pt x="19570" y="1114144"/>
                    </a:cubicBezTo>
                    <a:cubicBezTo>
                      <a:pt x="25006" y="1123276"/>
                      <a:pt x="29137" y="1133278"/>
                      <a:pt x="34356" y="1143933"/>
                    </a:cubicBezTo>
                    <a:cubicBezTo>
                      <a:pt x="124810" y="1128060"/>
                      <a:pt x="215698" y="1111969"/>
                      <a:pt x="306368" y="1096097"/>
                    </a:cubicBezTo>
                    <a:cubicBezTo>
                      <a:pt x="303977" y="1058480"/>
                      <a:pt x="301585" y="1021516"/>
                      <a:pt x="298976" y="982813"/>
                    </a:cubicBezTo>
                    <a:cubicBezTo>
                      <a:pt x="263534" y="981291"/>
                      <a:pt x="227222" y="979768"/>
                      <a:pt x="189605" y="978029"/>
                    </a:cubicBezTo>
                    <a:cubicBezTo>
                      <a:pt x="187866" y="984769"/>
                      <a:pt x="186996" y="991944"/>
                      <a:pt x="184170" y="998250"/>
                    </a:cubicBezTo>
                    <a:cubicBezTo>
                      <a:pt x="178951" y="1010427"/>
                      <a:pt x="174385" y="1023473"/>
                      <a:pt x="166774" y="1033910"/>
                    </a:cubicBezTo>
                    <a:cubicBezTo>
                      <a:pt x="148510" y="1059132"/>
                      <a:pt x="121548" y="1057610"/>
                      <a:pt x="104587" y="1031736"/>
                    </a:cubicBezTo>
                    <a:cubicBezTo>
                      <a:pt x="92412" y="1013254"/>
                      <a:pt x="88280" y="992379"/>
                      <a:pt x="87193" y="970853"/>
                    </a:cubicBezTo>
                    <a:cubicBezTo>
                      <a:pt x="85888" y="947153"/>
                      <a:pt x="89150" y="923887"/>
                      <a:pt x="99370" y="902143"/>
                    </a:cubicBezTo>
                    <a:cubicBezTo>
                      <a:pt x="103065" y="894099"/>
                      <a:pt x="107849" y="886053"/>
                      <a:pt x="113503" y="879095"/>
                    </a:cubicBezTo>
                    <a:cubicBezTo>
                      <a:pt x="131550" y="857786"/>
                      <a:pt x="156555" y="858439"/>
                      <a:pt x="171341" y="882357"/>
                    </a:cubicBezTo>
                    <a:cubicBezTo>
                      <a:pt x="179604" y="895838"/>
                      <a:pt x="183518" y="912145"/>
                      <a:pt x="188735" y="927366"/>
                    </a:cubicBezTo>
                    <a:cubicBezTo>
                      <a:pt x="190257" y="931714"/>
                      <a:pt x="190257" y="936715"/>
                      <a:pt x="191127" y="942369"/>
                    </a:cubicBezTo>
                    <a:cubicBezTo>
                      <a:pt x="227874" y="944109"/>
                      <a:pt x="264404" y="945631"/>
                      <a:pt x="300498" y="947370"/>
                    </a:cubicBezTo>
                    <a:cubicBezTo>
                      <a:pt x="306368" y="909319"/>
                      <a:pt x="312022" y="872789"/>
                      <a:pt x="317893" y="834956"/>
                    </a:cubicBezTo>
                    <a:cubicBezTo>
                      <a:pt x="229396" y="811255"/>
                      <a:pt x="139812" y="787337"/>
                      <a:pt x="51098" y="763419"/>
                    </a:cubicBezTo>
                    <a:cubicBezTo>
                      <a:pt x="45010" y="773639"/>
                      <a:pt x="40227" y="782989"/>
                      <a:pt x="34139" y="791468"/>
                    </a:cubicBezTo>
                    <a:cubicBezTo>
                      <a:pt x="31964" y="794512"/>
                      <a:pt x="26746" y="797774"/>
                      <a:pt x="23701" y="797122"/>
                    </a:cubicBezTo>
                    <a:cubicBezTo>
                      <a:pt x="20875" y="796469"/>
                      <a:pt x="17613" y="791033"/>
                      <a:pt x="17178" y="787554"/>
                    </a:cubicBezTo>
                    <a:cubicBezTo>
                      <a:pt x="13700" y="752765"/>
                      <a:pt x="22614" y="721019"/>
                      <a:pt x="42184" y="692318"/>
                    </a:cubicBezTo>
                    <a:cubicBezTo>
                      <a:pt x="44358" y="689056"/>
                      <a:pt x="50011" y="686447"/>
                      <a:pt x="53708" y="686881"/>
                    </a:cubicBezTo>
                    <a:cubicBezTo>
                      <a:pt x="56317" y="687316"/>
                      <a:pt x="59361" y="693405"/>
                      <a:pt x="59796" y="697101"/>
                    </a:cubicBezTo>
                    <a:cubicBezTo>
                      <a:pt x="60666" y="707103"/>
                      <a:pt x="60013" y="717323"/>
                      <a:pt x="60013" y="729282"/>
                    </a:cubicBezTo>
                    <a:cubicBezTo>
                      <a:pt x="148510" y="752330"/>
                      <a:pt x="237877" y="776248"/>
                      <a:pt x="327243" y="800166"/>
                    </a:cubicBezTo>
                    <a:cubicBezTo>
                      <a:pt x="340941" y="764941"/>
                      <a:pt x="354422" y="730151"/>
                      <a:pt x="368338" y="694274"/>
                    </a:cubicBezTo>
                    <a:cubicBezTo>
                      <a:pt x="336810" y="677966"/>
                      <a:pt x="304194" y="660789"/>
                      <a:pt x="273318" y="644699"/>
                    </a:cubicBezTo>
                    <a:cubicBezTo>
                      <a:pt x="260272" y="657093"/>
                      <a:pt x="248965" y="669922"/>
                      <a:pt x="235485" y="679923"/>
                    </a:cubicBezTo>
                    <a:cubicBezTo>
                      <a:pt x="227222" y="686012"/>
                      <a:pt x="215915" y="689926"/>
                      <a:pt x="205478" y="691013"/>
                    </a:cubicBezTo>
                    <a:cubicBezTo>
                      <a:pt x="187866" y="692970"/>
                      <a:pt x="173080" y="677314"/>
                      <a:pt x="171776" y="655788"/>
                    </a:cubicBezTo>
                    <a:cubicBezTo>
                      <a:pt x="168731" y="603168"/>
                      <a:pt x="190257" y="561638"/>
                      <a:pt x="230918" y="529675"/>
                    </a:cubicBezTo>
                    <a:cubicBezTo>
                      <a:pt x="244617" y="518803"/>
                      <a:pt x="261142" y="512062"/>
                      <a:pt x="278319" y="521847"/>
                    </a:cubicBezTo>
                    <a:cubicBezTo>
                      <a:pt x="295715" y="531849"/>
                      <a:pt x="297671" y="550114"/>
                      <a:pt x="296802" y="567726"/>
                    </a:cubicBezTo>
                    <a:cubicBezTo>
                      <a:pt x="295932" y="582295"/>
                      <a:pt x="292018" y="596863"/>
                      <a:pt x="288974" y="612953"/>
                    </a:cubicBezTo>
                    <a:cubicBezTo>
                      <a:pt x="319850" y="629043"/>
                      <a:pt x="352465" y="646221"/>
                      <a:pt x="384646" y="662964"/>
                    </a:cubicBezTo>
                    <a:cubicBezTo>
                      <a:pt x="405737" y="631435"/>
                      <a:pt x="426393" y="600342"/>
                      <a:pt x="447919" y="568378"/>
                    </a:cubicBezTo>
                    <a:cubicBezTo>
                      <a:pt x="377905" y="509453"/>
                      <a:pt x="307238" y="450310"/>
                      <a:pt x="236137" y="390733"/>
                    </a:cubicBezTo>
                    <a:cubicBezTo>
                      <a:pt x="227874" y="396604"/>
                      <a:pt x="220046" y="403127"/>
                      <a:pt x="211567" y="407911"/>
                    </a:cubicBezTo>
                    <a:cubicBezTo>
                      <a:pt x="207435" y="410303"/>
                      <a:pt x="201564" y="409215"/>
                      <a:pt x="196346" y="409868"/>
                    </a:cubicBezTo>
                    <a:cubicBezTo>
                      <a:pt x="196128" y="405084"/>
                      <a:pt x="194389" y="399648"/>
                      <a:pt x="195911" y="395517"/>
                    </a:cubicBezTo>
                    <a:cubicBezTo>
                      <a:pt x="208305" y="364640"/>
                      <a:pt x="228744" y="340288"/>
                      <a:pt x="257011" y="323111"/>
                    </a:cubicBezTo>
                    <a:cubicBezTo>
                      <a:pt x="260707" y="320936"/>
                      <a:pt x="266361" y="322023"/>
                      <a:pt x="271144" y="321589"/>
                    </a:cubicBezTo>
                    <a:cubicBezTo>
                      <a:pt x="271361" y="326372"/>
                      <a:pt x="272883" y="331590"/>
                      <a:pt x="271361" y="335721"/>
                    </a:cubicBezTo>
                    <a:cubicBezTo>
                      <a:pt x="268100" y="344854"/>
                      <a:pt x="263534" y="353334"/>
                      <a:pt x="258750" y="363553"/>
                    </a:cubicBezTo>
                    <a:cubicBezTo>
                      <a:pt x="328982" y="422479"/>
                      <a:pt x="399866" y="482056"/>
                      <a:pt x="470533" y="541199"/>
                    </a:cubicBezTo>
                    <a:cubicBezTo>
                      <a:pt x="497495" y="515324"/>
                      <a:pt x="524457" y="489449"/>
                      <a:pt x="552507" y="462705"/>
                    </a:cubicBezTo>
                    <a:cubicBezTo>
                      <a:pt x="530980" y="434655"/>
                      <a:pt x="508584" y="405301"/>
                      <a:pt x="486841" y="377035"/>
                    </a:cubicBezTo>
                    <a:cubicBezTo>
                      <a:pt x="472055" y="382471"/>
                      <a:pt x="458574" y="388559"/>
                      <a:pt x="444440" y="392255"/>
                    </a:cubicBezTo>
                    <a:cubicBezTo>
                      <a:pt x="435309" y="394647"/>
                      <a:pt x="424871" y="394647"/>
                      <a:pt x="415304" y="393560"/>
                    </a:cubicBezTo>
                    <a:cubicBezTo>
                      <a:pt x="396822" y="391385"/>
                      <a:pt x="385733" y="375730"/>
                      <a:pt x="387689" y="357031"/>
                    </a:cubicBezTo>
                    <a:cubicBezTo>
                      <a:pt x="389646" y="340288"/>
                      <a:pt x="396822" y="325720"/>
                      <a:pt x="407259" y="312891"/>
                    </a:cubicBezTo>
                    <a:cubicBezTo>
                      <a:pt x="432917" y="281145"/>
                      <a:pt x="464228" y="258097"/>
                      <a:pt x="506192" y="254400"/>
                    </a:cubicBezTo>
                    <a:cubicBezTo>
                      <a:pt x="541200" y="251356"/>
                      <a:pt x="558594" y="273970"/>
                      <a:pt x="545331" y="306585"/>
                    </a:cubicBezTo>
                    <a:cubicBezTo>
                      <a:pt x="538373" y="323546"/>
                      <a:pt x="526631" y="338766"/>
                      <a:pt x="515760" y="356596"/>
                    </a:cubicBezTo>
                    <a:cubicBezTo>
                      <a:pt x="536199" y="383341"/>
                      <a:pt x="558594" y="412477"/>
                      <a:pt x="580339" y="440961"/>
                    </a:cubicBezTo>
                    <a:cubicBezTo>
                      <a:pt x="612736" y="421174"/>
                      <a:pt x="644482" y="401822"/>
                      <a:pt x="677315" y="381819"/>
                    </a:cubicBezTo>
                    <a:cubicBezTo>
                      <a:pt x="638611" y="298975"/>
                      <a:pt x="599473" y="215045"/>
                      <a:pt x="560551" y="131549"/>
                    </a:cubicBezTo>
                    <a:cubicBezTo>
                      <a:pt x="549463" y="133506"/>
                      <a:pt x="539460" y="136115"/>
                      <a:pt x="529023" y="136985"/>
                    </a:cubicBezTo>
                    <a:cubicBezTo>
                      <a:pt x="525110" y="137420"/>
                      <a:pt x="518587" y="135028"/>
                      <a:pt x="517282" y="132201"/>
                    </a:cubicBezTo>
                    <a:cubicBezTo>
                      <a:pt x="515977" y="129158"/>
                      <a:pt x="518369" y="122852"/>
                      <a:pt x="521196" y="120025"/>
                    </a:cubicBezTo>
                    <a:cubicBezTo>
                      <a:pt x="541635" y="99151"/>
                      <a:pt x="567075" y="87844"/>
                      <a:pt x="594906" y="80886"/>
                    </a:cubicBezTo>
                    <a:cubicBezTo>
                      <a:pt x="600560" y="79581"/>
                      <a:pt x="606431" y="78712"/>
                      <a:pt x="612084" y="78929"/>
                    </a:cubicBezTo>
                    <a:cubicBezTo>
                      <a:pt x="622086" y="79581"/>
                      <a:pt x="625348" y="85887"/>
                      <a:pt x="618607" y="93280"/>
                    </a:cubicBezTo>
                    <a:cubicBezTo>
                      <a:pt x="611214" y="101543"/>
                      <a:pt x="602300" y="108501"/>
                      <a:pt x="592732" y="116981"/>
                    </a:cubicBezTo>
                    <a:cubicBezTo>
                      <a:pt x="631219" y="199607"/>
                      <a:pt x="670357" y="283537"/>
                      <a:pt x="709278" y="366815"/>
                    </a:cubicBezTo>
                    <a:cubicBezTo>
                      <a:pt x="745373" y="354639"/>
                      <a:pt x="780380" y="342680"/>
                      <a:pt x="816909" y="330286"/>
                    </a:cubicBezTo>
                    <a:cubicBezTo>
                      <a:pt x="809299" y="295714"/>
                      <a:pt x="801254" y="259837"/>
                      <a:pt x="793643" y="225699"/>
                    </a:cubicBezTo>
                    <a:cubicBezTo>
                      <a:pt x="776249" y="223742"/>
                      <a:pt x="760375" y="222220"/>
                      <a:pt x="744720" y="220263"/>
                    </a:cubicBezTo>
                    <a:cubicBezTo>
                      <a:pt x="741459" y="219828"/>
                      <a:pt x="738414" y="218741"/>
                      <a:pt x="735370" y="217436"/>
                    </a:cubicBezTo>
                    <a:cubicBezTo>
                      <a:pt x="703624" y="205043"/>
                      <a:pt x="697319" y="177863"/>
                      <a:pt x="721237" y="153510"/>
                    </a:cubicBezTo>
                    <a:cubicBezTo>
                      <a:pt x="741676" y="132419"/>
                      <a:pt x="767986" y="122634"/>
                      <a:pt x="796253" y="117633"/>
                    </a:cubicBezTo>
                    <a:cubicBezTo>
                      <a:pt x="818213" y="113719"/>
                      <a:pt x="840174" y="113719"/>
                      <a:pt x="861701" y="121330"/>
                    </a:cubicBezTo>
                    <a:cubicBezTo>
                      <a:pt x="895403" y="133723"/>
                      <a:pt x="902579" y="162207"/>
                      <a:pt x="876052" y="186561"/>
                    </a:cubicBezTo>
                    <a:cubicBezTo>
                      <a:pt x="862571" y="198954"/>
                      <a:pt x="845393" y="207435"/>
                      <a:pt x="828433" y="218741"/>
                    </a:cubicBezTo>
                    <a:cubicBezTo>
                      <a:pt x="835826" y="252009"/>
                      <a:pt x="843653" y="287668"/>
                      <a:pt x="851481" y="322458"/>
                    </a:cubicBezTo>
                    <a:cubicBezTo>
                      <a:pt x="889533" y="318327"/>
                      <a:pt x="926496" y="314413"/>
                      <a:pt x="964113" y="310282"/>
                    </a:cubicBezTo>
                    <a:cubicBezTo>
                      <a:pt x="964113" y="218741"/>
                      <a:pt x="964113" y="126331"/>
                      <a:pt x="964113" y="33920"/>
                    </a:cubicBezTo>
                    <a:cubicBezTo>
                      <a:pt x="953893" y="31093"/>
                      <a:pt x="943240" y="28919"/>
                      <a:pt x="933237" y="25222"/>
                    </a:cubicBezTo>
                    <a:cubicBezTo>
                      <a:pt x="929541" y="23918"/>
                      <a:pt x="925192" y="19352"/>
                      <a:pt x="924540" y="15656"/>
                    </a:cubicBezTo>
                    <a:cubicBezTo>
                      <a:pt x="924105" y="13264"/>
                      <a:pt x="929541" y="8045"/>
                      <a:pt x="933020" y="7393"/>
                    </a:cubicBezTo>
                    <a:cubicBezTo>
                      <a:pt x="948458" y="4349"/>
                      <a:pt x="963461" y="0"/>
                      <a:pt x="978247" y="0"/>
                    </a:cubicBezTo>
                    <a:close/>
                  </a:path>
                </a:pathLst>
              </a:custGeom>
              <a:solidFill>
                <a:srgbClr val="C00000">
                  <a:alpha val="50000"/>
                </a:srgbClr>
              </a:solidFill>
              <a:ln w="26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 dirty="0"/>
              </a:p>
            </p:txBody>
          </p:sp>
          <p:sp>
            <p:nvSpPr>
              <p:cNvPr id="37" name="Freeform: Shape 145">
                <a:extLst>
                  <a:ext uri="{FF2B5EF4-FFF2-40B4-BE49-F238E27FC236}">
                    <a16:creationId xmlns:a16="http://schemas.microsoft.com/office/drawing/2014/main" id="{84C77F91-E0D1-4A7F-B107-3019F77AA231}"/>
                  </a:ext>
                </a:extLst>
              </p:cNvPr>
              <p:cNvSpPr/>
              <p:nvPr/>
            </p:nvSpPr>
            <p:spPr>
              <a:xfrm rot="180311">
                <a:off x="10123945" y="4575002"/>
                <a:ext cx="1873783" cy="1448541"/>
              </a:xfrm>
              <a:custGeom>
                <a:avLst/>
                <a:gdLst>
                  <a:gd name="connsiteX0" fmla="*/ 468666 w 3550584"/>
                  <a:gd name="connsiteY0" fmla="*/ 1251464 h 1477406"/>
                  <a:gd name="connsiteX1" fmla="*/ 481344 w 3550584"/>
                  <a:gd name="connsiteY1" fmla="*/ 1308227 h 1477406"/>
                  <a:gd name="connsiteX2" fmla="*/ 413344 w 3550584"/>
                  <a:gd name="connsiteY2" fmla="*/ 1428092 h 1477406"/>
                  <a:gd name="connsiteX3" fmla="*/ 409310 w 3550584"/>
                  <a:gd name="connsiteY3" fmla="*/ 1432126 h 1477406"/>
                  <a:gd name="connsiteX4" fmla="*/ 368971 w 3550584"/>
                  <a:gd name="connsiteY4" fmla="*/ 1458058 h 1477406"/>
                  <a:gd name="connsiteX5" fmla="*/ 354564 w 3550584"/>
                  <a:gd name="connsiteY5" fmla="*/ 1450855 h 1477406"/>
                  <a:gd name="connsiteX6" fmla="*/ 346496 w 3550584"/>
                  <a:gd name="connsiteY6" fmla="*/ 1423482 h 1477406"/>
                  <a:gd name="connsiteX7" fmla="*/ 362056 w 3550584"/>
                  <a:gd name="connsiteY7" fmla="*/ 1406194 h 1477406"/>
                  <a:gd name="connsiteX8" fmla="*/ 434954 w 3550584"/>
                  <a:gd name="connsiteY8" fmla="*/ 1285176 h 1477406"/>
                  <a:gd name="connsiteX9" fmla="*/ 435242 w 3550584"/>
                  <a:gd name="connsiteY9" fmla="*/ 1275667 h 1477406"/>
                  <a:gd name="connsiteX10" fmla="*/ 468666 w 3550584"/>
                  <a:gd name="connsiteY10" fmla="*/ 1251464 h 1477406"/>
                  <a:gd name="connsiteX11" fmla="*/ 164105 w 3550584"/>
                  <a:gd name="connsiteY11" fmla="*/ 914055 h 1477406"/>
                  <a:gd name="connsiteX12" fmla="*/ 168427 w 3550584"/>
                  <a:gd name="connsiteY12" fmla="*/ 922699 h 1477406"/>
                  <a:gd name="connsiteX13" fmla="*/ 173038 w 3550584"/>
                  <a:gd name="connsiteY13" fmla="*/ 937106 h 1477406"/>
                  <a:gd name="connsiteX14" fmla="*/ 172461 w 3550584"/>
                  <a:gd name="connsiteY14" fmla="*/ 959292 h 1477406"/>
                  <a:gd name="connsiteX15" fmla="*/ 152868 w 3550584"/>
                  <a:gd name="connsiteY15" fmla="*/ 1027293 h 1477406"/>
                  <a:gd name="connsiteX16" fmla="*/ 215682 w 3550584"/>
                  <a:gd name="connsiteY16" fmla="*/ 1242819 h 1477406"/>
                  <a:gd name="connsiteX17" fmla="*/ 254581 w 3550584"/>
                  <a:gd name="connsiteY17" fmla="*/ 1373922 h 1477406"/>
                  <a:gd name="connsiteX18" fmla="*/ 267259 w 3550584"/>
                  <a:gd name="connsiteY18" fmla="*/ 1399278 h 1477406"/>
                  <a:gd name="connsiteX19" fmla="*/ 273886 w 3550584"/>
                  <a:gd name="connsiteY19" fmla="*/ 1407634 h 1477406"/>
                  <a:gd name="connsiteX20" fmla="*/ 309327 w 3550584"/>
                  <a:gd name="connsiteY20" fmla="*/ 1422329 h 1477406"/>
                  <a:gd name="connsiteX21" fmla="*/ 318835 w 3550584"/>
                  <a:gd name="connsiteY21" fmla="*/ 1428092 h 1477406"/>
                  <a:gd name="connsiteX22" fmla="*/ 328056 w 3550584"/>
                  <a:gd name="connsiteY22" fmla="*/ 1464973 h 1477406"/>
                  <a:gd name="connsiteX23" fmla="*/ 272157 w 3550584"/>
                  <a:gd name="connsiteY23" fmla="*/ 1476787 h 1477406"/>
                  <a:gd name="connsiteX24" fmla="*/ 75935 w 3550584"/>
                  <a:gd name="connsiteY24" fmla="*/ 1385447 h 1477406"/>
                  <a:gd name="connsiteX25" fmla="*/ 12257 w 3550584"/>
                  <a:gd name="connsiteY25" fmla="*/ 1071378 h 1477406"/>
                  <a:gd name="connsiteX26" fmla="*/ 153732 w 3550584"/>
                  <a:gd name="connsiteY26" fmla="*/ 914919 h 1477406"/>
                  <a:gd name="connsiteX27" fmla="*/ 164105 w 3550584"/>
                  <a:gd name="connsiteY27" fmla="*/ 914055 h 1477406"/>
                  <a:gd name="connsiteX28" fmla="*/ 341022 w 3550584"/>
                  <a:gd name="connsiteY28" fmla="*/ 859596 h 1477406"/>
                  <a:gd name="connsiteX29" fmla="*/ 364361 w 3550584"/>
                  <a:gd name="connsiteY29" fmla="*/ 875732 h 1477406"/>
                  <a:gd name="connsiteX30" fmla="*/ 385107 w 3550584"/>
                  <a:gd name="connsiteY30" fmla="*/ 944885 h 1477406"/>
                  <a:gd name="connsiteX31" fmla="*/ 392598 w 3550584"/>
                  <a:gd name="connsiteY31" fmla="*/ 968512 h 1477406"/>
                  <a:gd name="connsiteX32" fmla="*/ 401819 w 3550584"/>
                  <a:gd name="connsiteY32" fmla="*/ 990123 h 1477406"/>
                  <a:gd name="connsiteX33" fmla="*/ 418242 w 3550584"/>
                  <a:gd name="connsiteY33" fmla="*/ 1048326 h 1477406"/>
                  <a:gd name="connsiteX34" fmla="*/ 394039 w 3550584"/>
                  <a:gd name="connsiteY34" fmla="*/ 1082615 h 1477406"/>
                  <a:gd name="connsiteX35" fmla="*/ 366090 w 3550584"/>
                  <a:gd name="connsiteY35" fmla="*/ 1067631 h 1477406"/>
                  <a:gd name="connsiteX36" fmla="*/ 346208 w 3550584"/>
                  <a:gd name="connsiteY36" fmla="*/ 1035360 h 1477406"/>
                  <a:gd name="connsiteX37" fmla="*/ 284547 w 3550584"/>
                  <a:gd name="connsiteY37" fmla="*/ 970529 h 1477406"/>
                  <a:gd name="connsiteX38" fmla="*/ 272733 w 3550584"/>
                  <a:gd name="connsiteY38" fmla="*/ 963326 h 1477406"/>
                  <a:gd name="connsiteX39" fmla="*/ 228072 w 3550584"/>
                  <a:gd name="connsiteY39" fmla="*/ 948054 h 1477406"/>
                  <a:gd name="connsiteX40" fmla="*/ 199546 w 3550584"/>
                  <a:gd name="connsiteY40" fmla="*/ 911173 h 1477406"/>
                  <a:gd name="connsiteX41" fmla="*/ 212224 w 3550584"/>
                  <a:gd name="connsiteY41" fmla="*/ 899359 h 1477406"/>
                  <a:gd name="connsiteX42" fmla="*/ 253140 w 3550584"/>
                  <a:gd name="connsiteY42" fmla="*/ 897054 h 1477406"/>
                  <a:gd name="connsiteX43" fmla="*/ 314225 w 3550584"/>
                  <a:gd name="connsiteY43" fmla="*/ 895325 h 1477406"/>
                  <a:gd name="connsiteX44" fmla="*/ 320852 w 3550584"/>
                  <a:gd name="connsiteY44" fmla="*/ 879478 h 1477406"/>
                  <a:gd name="connsiteX45" fmla="*/ 341022 w 3550584"/>
                  <a:gd name="connsiteY45" fmla="*/ 859596 h 1477406"/>
                  <a:gd name="connsiteX46" fmla="*/ 624260 w 3550584"/>
                  <a:gd name="connsiteY46" fmla="*/ 774813 h 1477406"/>
                  <a:gd name="connsiteX47" fmla="*/ 629735 w 3550584"/>
                  <a:gd name="connsiteY47" fmla="*/ 784393 h 1477406"/>
                  <a:gd name="connsiteX48" fmla="*/ 633193 w 3550584"/>
                  <a:gd name="connsiteY48" fmla="*/ 795631 h 1477406"/>
                  <a:gd name="connsiteX49" fmla="*/ 627142 w 3550584"/>
                  <a:gd name="connsiteY49" fmla="*/ 830495 h 1477406"/>
                  <a:gd name="connsiteX50" fmla="*/ 620515 w 3550584"/>
                  <a:gd name="connsiteY50" fmla="*/ 887835 h 1477406"/>
                  <a:gd name="connsiteX51" fmla="*/ 691685 w 3550584"/>
                  <a:gd name="connsiteY51" fmla="*/ 1129294 h 1477406"/>
                  <a:gd name="connsiteX52" fmla="*/ 709261 w 3550584"/>
                  <a:gd name="connsiteY52" fmla="*/ 1189803 h 1477406"/>
                  <a:gd name="connsiteX53" fmla="*/ 713295 w 3550584"/>
                  <a:gd name="connsiteY53" fmla="*/ 1203633 h 1477406"/>
                  <a:gd name="connsiteX54" fmla="*/ 725973 w 3550584"/>
                  <a:gd name="connsiteY54" fmla="*/ 1246566 h 1477406"/>
                  <a:gd name="connsiteX55" fmla="*/ 763431 w 3550584"/>
                  <a:gd name="connsiteY55" fmla="*/ 1286040 h 1477406"/>
                  <a:gd name="connsiteX56" fmla="*/ 768041 w 3550584"/>
                  <a:gd name="connsiteY56" fmla="*/ 1289210 h 1477406"/>
                  <a:gd name="connsiteX57" fmla="*/ 777261 w 3550584"/>
                  <a:gd name="connsiteY57" fmla="*/ 1298142 h 1477406"/>
                  <a:gd name="connsiteX58" fmla="*/ 784753 w 3550584"/>
                  <a:gd name="connsiteY58" fmla="*/ 1324075 h 1477406"/>
                  <a:gd name="connsiteX59" fmla="*/ 778126 w 3550584"/>
                  <a:gd name="connsiteY59" fmla="*/ 1334159 h 1477406"/>
                  <a:gd name="connsiteX60" fmla="*/ 730007 w 3550584"/>
                  <a:gd name="connsiteY60" fmla="*/ 1338770 h 1477406"/>
                  <a:gd name="connsiteX61" fmla="*/ 684481 w 3550584"/>
                  <a:gd name="connsiteY61" fmla="*/ 1333871 h 1477406"/>
                  <a:gd name="connsiteX62" fmla="*/ 627718 w 3550584"/>
                  <a:gd name="connsiteY62" fmla="*/ 1313702 h 1477406"/>
                  <a:gd name="connsiteX63" fmla="*/ 591413 w 3550584"/>
                  <a:gd name="connsiteY63" fmla="*/ 1290651 h 1477406"/>
                  <a:gd name="connsiteX64" fmla="*/ 506700 w 3550584"/>
                  <a:gd name="connsiteY64" fmla="*/ 1182887 h 1477406"/>
                  <a:gd name="connsiteX65" fmla="*/ 496327 w 3550584"/>
                  <a:gd name="connsiteY65" fmla="*/ 1165887 h 1477406"/>
                  <a:gd name="connsiteX66" fmla="*/ 467802 w 3550584"/>
                  <a:gd name="connsiteY66" fmla="*/ 1067344 h 1477406"/>
                  <a:gd name="connsiteX67" fmla="*/ 462904 w 3550584"/>
                  <a:gd name="connsiteY67" fmla="*/ 1024124 h 1477406"/>
                  <a:gd name="connsiteX68" fmla="*/ 514768 w 3550584"/>
                  <a:gd name="connsiteY68" fmla="*/ 850665 h 1477406"/>
                  <a:gd name="connsiteX69" fmla="*/ 534938 w 3550584"/>
                  <a:gd name="connsiteY69" fmla="*/ 829055 h 1477406"/>
                  <a:gd name="connsiteX70" fmla="*/ 613599 w 3550584"/>
                  <a:gd name="connsiteY70" fmla="*/ 776902 h 1477406"/>
                  <a:gd name="connsiteX71" fmla="*/ 624260 w 3550584"/>
                  <a:gd name="connsiteY71" fmla="*/ 774813 h 1477406"/>
                  <a:gd name="connsiteX72" fmla="*/ 736346 w 3550584"/>
                  <a:gd name="connsiteY72" fmla="*/ 759613 h 1477406"/>
                  <a:gd name="connsiteX73" fmla="*/ 929974 w 3550584"/>
                  <a:gd name="connsiteY73" fmla="*/ 899936 h 1477406"/>
                  <a:gd name="connsiteX74" fmla="*/ 962246 w 3550584"/>
                  <a:gd name="connsiteY74" fmla="*/ 978886 h 1477406"/>
                  <a:gd name="connsiteX75" fmla="*/ 979246 w 3550584"/>
                  <a:gd name="connsiteY75" fmla="*/ 1089819 h 1477406"/>
                  <a:gd name="connsiteX76" fmla="*/ 967144 w 3550584"/>
                  <a:gd name="connsiteY76" fmla="*/ 1170497 h 1477406"/>
                  <a:gd name="connsiteX77" fmla="*/ 932568 w 3550584"/>
                  <a:gd name="connsiteY77" fmla="*/ 1240514 h 1477406"/>
                  <a:gd name="connsiteX78" fmla="*/ 921906 w 3550584"/>
                  <a:gd name="connsiteY78" fmla="*/ 1252040 h 1477406"/>
                  <a:gd name="connsiteX79" fmla="*/ 827397 w 3550584"/>
                  <a:gd name="connsiteY79" fmla="*/ 1320041 h 1477406"/>
                  <a:gd name="connsiteX80" fmla="*/ 816448 w 3550584"/>
                  <a:gd name="connsiteY80" fmla="*/ 1314854 h 1477406"/>
                  <a:gd name="connsiteX81" fmla="*/ 814143 w 3550584"/>
                  <a:gd name="connsiteY81" fmla="*/ 1306786 h 1477406"/>
                  <a:gd name="connsiteX82" fmla="*/ 821058 w 3550584"/>
                  <a:gd name="connsiteY82" fmla="*/ 1266735 h 1477406"/>
                  <a:gd name="connsiteX83" fmla="*/ 830279 w 3550584"/>
                  <a:gd name="connsiteY83" fmla="*/ 1229277 h 1477406"/>
                  <a:gd name="connsiteX84" fmla="*/ 817601 w 3550584"/>
                  <a:gd name="connsiteY84" fmla="*/ 1187497 h 1477406"/>
                  <a:gd name="connsiteX85" fmla="*/ 805499 w 3550584"/>
                  <a:gd name="connsiteY85" fmla="*/ 1155226 h 1477406"/>
                  <a:gd name="connsiteX86" fmla="*/ 741533 w 3550584"/>
                  <a:gd name="connsiteY86" fmla="*/ 937682 h 1477406"/>
                  <a:gd name="connsiteX87" fmla="*/ 714448 w 3550584"/>
                  <a:gd name="connsiteY87" fmla="*/ 845478 h 1477406"/>
                  <a:gd name="connsiteX88" fmla="*/ 680447 w 3550584"/>
                  <a:gd name="connsiteY88" fmla="*/ 814071 h 1477406"/>
                  <a:gd name="connsiteX89" fmla="*/ 660278 w 3550584"/>
                  <a:gd name="connsiteY89" fmla="*/ 794190 h 1477406"/>
                  <a:gd name="connsiteX90" fmla="*/ 655379 w 3550584"/>
                  <a:gd name="connsiteY90" fmla="*/ 778342 h 1477406"/>
                  <a:gd name="connsiteX91" fmla="*/ 665464 w 3550584"/>
                  <a:gd name="connsiteY91" fmla="*/ 761918 h 1477406"/>
                  <a:gd name="connsiteX92" fmla="*/ 736346 w 3550584"/>
                  <a:gd name="connsiteY92" fmla="*/ 759613 h 1477406"/>
                  <a:gd name="connsiteX93" fmla="*/ 1139738 w 3550584"/>
                  <a:gd name="connsiteY93" fmla="*/ 634273 h 1477406"/>
                  <a:gd name="connsiteX94" fmla="*/ 1169128 w 3550584"/>
                  <a:gd name="connsiteY94" fmla="*/ 644070 h 1477406"/>
                  <a:gd name="connsiteX95" fmla="*/ 1165959 w 3550584"/>
                  <a:gd name="connsiteY95" fmla="*/ 677206 h 1477406"/>
                  <a:gd name="connsiteX96" fmla="*/ 1163654 w 3550584"/>
                  <a:gd name="connsiteY96" fmla="*/ 723308 h 1477406"/>
                  <a:gd name="connsiteX97" fmla="*/ 1270553 w 3550584"/>
                  <a:gd name="connsiteY97" fmla="*/ 892733 h 1477406"/>
                  <a:gd name="connsiteX98" fmla="*/ 1276604 w 3550584"/>
                  <a:gd name="connsiteY98" fmla="*/ 906563 h 1477406"/>
                  <a:gd name="connsiteX99" fmla="*/ 1335672 w 3550584"/>
                  <a:gd name="connsiteY99" fmla="*/ 1000784 h 1477406"/>
                  <a:gd name="connsiteX100" fmla="*/ 1341434 w 3550584"/>
                  <a:gd name="connsiteY100" fmla="*/ 1019513 h 1477406"/>
                  <a:gd name="connsiteX101" fmla="*/ 1343451 w 3550584"/>
                  <a:gd name="connsiteY101" fmla="*/ 1091836 h 1477406"/>
                  <a:gd name="connsiteX102" fmla="*/ 1344028 w 3550584"/>
                  <a:gd name="connsiteY102" fmla="*/ 1147446 h 1477406"/>
                  <a:gd name="connsiteX103" fmla="*/ 1333655 w 3550584"/>
                  <a:gd name="connsiteY103" fmla="*/ 1160700 h 1477406"/>
                  <a:gd name="connsiteX104" fmla="*/ 1313485 w 3550584"/>
                  <a:gd name="connsiteY104" fmla="*/ 1166751 h 1477406"/>
                  <a:gd name="connsiteX105" fmla="*/ 1311468 w 3550584"/>
                  <a:gd name="connsiteY105" fmla="*/ 1169633 h 1477406"/>
                  <a:gd name="connsiteX106" fmla="*/ 1246637 w 3550584"/>
                  <a:gd name="connsiteY106" fmla="*/ 1188938 h 1477406"/>
                  <a:gd name="connsiteX107" fmla="*/ 1232519 w 3550584"/>
                  <a:gd name="connsiteY107" fmla="*/ 1180582 h 1477406"/>
                  <a:gd name="connsiteX108" fmla="*/ 1206874 w 3550584"/>
                  <a:gd name="connsiteY108" fmla="*/ 1139378 h 1477406"/>
                  <a:gd name="connsiteX109" fmla="*/ 1097382 w 3550584"/>
                  <a:gd name="connsiteY109" fmla="*/ 971970 h 1477406"/>
                  <a:gd name="connsiteX110" fmla="*/ 1093925 w 3550584"/>
                  <a:gd name="connsiteY110" fmla="*/ 963614 h 1477406"/>
                  <a:gd name="connsiteX111" fmla="*/ 1001721 w 3550584"/>
                  <a:gd name="connsiteY111" fmla="*/ 820122 h 1477406"/>
                  <a:gd name="connsiteX112" fmla="*/ 968585 w 3550584"/>
                  <a:gd name="connsiteY112" fmla="*/ 768257 h 1477406"/>
                  <a:gd name="connsiteX113" fmla="*/ 931991 w 3550584"/>
                  <a:gd name="connsiteY113" fmla="*/ 743189 h 1477406"/>
                  <a:gd name="connsiteX114" fmla="*/ 913839 w 3550584"/>
                  <a:gd name="connsiteY114" fmla="*/ 728494 h 1477406"/>
                  <a:gd name="connsiteX115" fmla="*/ 920178 w 3550584"/>
                  <a:gd name="connsiteY115" fmla="*/ 706884 h 1477406"/>
                  <a:gd name="connsiteX116" fmla="*/ 980687 w 3550584"/>
                  <a:gd name="connsiteY116" fmla="*/ 683257 h 1477406"/>
                  <a:gd name="connsiteX117" fmla="*/ 1001721 w 3550584"/>
                  <a:gd name="connsiteY117" fmla="*/ 676341 h 1477406"/>
                  <a:gd name="connsiteX118" fmla="*/ 1026500 w 3550584"/>
                  <a:gd name="connsiteY118" fmla="*/ 666833 h 1477406"/>
                  <a:gd name="connsiteX119" fmla="*/ 1063382 w 3550584"/>
                  <a:gd name="connsiteY119" fmla="*/ 655884 h 1477406"/>
                  <a:gd name="connsiteX120" fmla="*/ 1139738 w 3550584"/>
                  <a:gd name="connsiteY120" fmla="*/ 634273 h 1477406"/>
                  <a:gd name="connsiteX121" fmla="*/ 1371112 w 3550584"/>
                  <a:gd name="connsiteY121" fmla="*/ 574052 h 1477406"/>
                  <a:gd name="connsiteX122" fmla="*/ 1381773 w 3550584"/>
                  <a:gd name="connsiteY122" fmla="*/ 583273 h 1477406"/>
                  <a:gd name="connsiteX123" fmla="*/ 1372265 w 3550584"/>
                  <a:gd name="connsiteY123" fmla="*/ 613815 h 1477406"/>
                  <a:gd name="connsiteX124" fmla="*/ 1335383 w 3550584"/>
                  <a:gd name="connsiteY124" fmla="*/ 695358 h 1477406"/>
                  <a:gd name="connsiteX125" fmla="*/ 1338841 w 3550584"/>
                  <a:gd name="connsiteY125" fmla="*/ 870834 h 1477406"/>
                  <a:gd name="connsiteX126" fmla="*/ 1338841 w 3550584"/>
                  <a:gd name="connsiteY126" fmla="*/ 951224 h 1477406"/>
                  <a:gd name="connsiteX127" fmla="*/ 1301383 w 3550584"/>
                  <a:gd name="connsiteY127" fmla="*/ 891868 h 1477406"/>
                  <a:gd name="connsiteX128" fmla="*/ 1296197 w 3550584"/>
                  <a:gd name="connsiteY128" fmla="*/ 870546 h 1477406"/>
                  <a:gd name="connsiteX129" fmla="*/ 1293027 w 3550584"/>
                  <a:gd name="connsiteY129" fmla="*/ 705731 h 1477406"/>
                  <a:gd name="connsiteX130" fmla="*/ 1282366 w 3550584"/>
                  <a:gd name="connsiteY130" fmla="*/ 668849 h 1477406"/>
                  <a:gd name="connsiteX131" fmla="*/ 1245773 w 3550584"/>
                  <a:gd name="connsiteY131" fmla="*/ 653002 h 1477406"/>
                  <a:gd name="connsiteX132" fmla="*/ 1226468 w 3550584"/>
                  <a:gd name="connsiteY132" fmla="*/ 645222 h 1477406"/>
                  <a:gd name="connsiteX133" fmla="*/ 1229349 w 3550584"/>
                  <a:gd name="connsiteY133" fmla="*/ 614680 h 1477406"/>
                  <a:gd name="connsiteX134" fmla="*/ 1252688 w 3550584"/>
                  <a:gd name="connsiteY134" fmla="*/ 603730 h 1477406"/>
                  <a:gd name="connsiteX135" fmla="*/ 1348062 w 3550584"/>
                  <a:gd name="connsiteY135" fmla="*/ 575781 h 1477406"/>
                  <a:gd name="connsiteX136" fmla="*/ 1352672 w 3550584"/>
                  <a:gd name="connsiteY136" fmla="*/ 574340 h 1477406"/>
                  <a:gd name="connsiteX137" fmla="*/ 1371112 w 3550584"/>
                  <a:gd name="connsiteY137" fmla="*/ 574052 h 1477406"/>
                  <a:gd name="connsiteX138" fmla="*/ 1649165 w 3550584"/>
                  <a:gd name="connsiteY138" fmla="*/ 485018 h 1477406"/>
                  <a:gd name="connsiteX139" fmla="*/ 1658674 w 3550584"/>
                  <a:gd name="connsiteY139" fmla="*/ 486170 h 1477406"/>
                  <a:gd name="connsiteX140" fmla="*/ 1677403 w 3550584"/>
                  <a:gd name="connsiteY140" fmla="*/ 504035 h 1477406"/>
                  <a:gd name="connsiteX141" fmla="*/ 1669047 w 3550584"/>
                  <a:gd name="connsiteY141" fmla="*/ 528239 h 1477406"/>
                  <a:gd name="connsiteX142" fmla="*/ 1655504 w 3550584"/>
                  <a:gd name="connsiteY142" fmla="*/ 577222 h 1477406"/>
                  <a:gd name="connsiteX143" fmla="*/ 1711691 w 3550584"/>
                  <a:gd name="connsiteY143" fmla="*/ 768257 h 1477406"/>
                  <a:gd name="connsiteX144" fmla="*/ 1713996 w 3550584"/>
                  <a:gd name="connsiteY144" fmla="*/ 785833 h 1477406"/>
                  <a:gd name="connsiteX145" fmla="*/ 1749725 w 3550584"/>
                  <a:gd name="connsiteY145" fmla="*/ 907427 h 1477406"/>
                  <a:gd name="connsiteX146" fmla="*/ 1763844 w 3550584"/>
                  <a:gd name="connsiteY146" fmla="*/ 946326 h 1477406"/>
                  <a:gd name="connsiteX147" fmla="*/ 1786607 w 3550584"/>
                  <a:gd name="connsiteY147" fmla="*/ 978597 h 1477406"/>
                  <a:gd name="connsiteX148" fmla="*/ 1799285 w 3550584"/>
                  <a:gd name="connsiteY148" fmla="*/ 980038 h 1477406"/>
                  <a:gd name="connsiteX149" fmla="*/ 1818014 w 3550584"/>
                  <a:gd name="connsiteY149" fmla="*/ 993580 h 1477406"/>
                  <a:gd name="connsiteX150" fmla="*/ 1811675 w 3550584"/>
                  <a:gd name="connsiteY150" fmla="*/ 1017208 h 1477406"/>
                  <a:gd name="connsiteX151" fmla="*/ 1793810 w 3550584"/>
                  <a:gd name="connsiteY151" fmla="*/ 1026140 h 1477406"/>
                  <a:gd name="connsiteX152" fmla="*/ 1722928 w 3550584"/>
                  <a:gd name="connsiteY152" fmla="*/ 1047462 h 1477406"/>
                  <a:gd name="connsiteX153" fmla="*/ 1677114 w 3550584"/>
                  <a:gd name="connsiteY153" fmla="*/ 1060717 h 1477406"/>
                  <a:gd name="connsiteX154" fmla="*/ 1602487 w 3550584"/>
                  <a:gd name="connsiteY154" fmla="*/ 1082327 h 1477406"/>
                  <a:gd name="connsiteX155" fmla="*/ 1581453 w 3550584"/>
                  <a:gd name="connsiteY155" fmla="*/ 1085208 h 1477406"/>
                  <a:gd name="connsiteX156" fmla="*/ 1562724 w 3550584"/>
                  <a:gd name="connsiteY156" fmla="*/ 1069649 h 1477406"/>
                  <a:gd name="connsiteX157" fmla="*/ 1569927 w 3550584"/>
                  <a:gd name="connsiteY157" fmla="*/ 1047462 h 1477406"/>
                  <a:gd name="connsiteX158" fmla="*/ 1578571 w 3550584"/>
                  <a:gd name="connsiteY158" fmla="*/ 1041123 h 1477406"/>
                  <a:gd name="connsiteX159" fmla="*/ 1588368 w 3550584"/>
                  <a:gd name="connsiteY159" fmla="*/ 1009716 h 1477406"/>
                  <a:gd name="connsiteX160" fmla="*/ 1580300 w 3550584"/>
                  <a:gd name="connsiteY160" fmla="*/ 992140 h 1477406"/>
                  <a:gd name="connsiteX161" fmla="*/ 1567622 w 3550584"/>
                  <a:gd name="connsiteY161" fmla="*/ 948343 h 1477406"/>
                  <a:gd name="connsiteX162" fmla="*/ 1503656 w 3550584"/>
                  <a:gd name="connsiteY162" fmla="*/ 731375 h 1477406"/>
                  <a:gd name="connsiteX163" fmla="*/ 1470520 w 3550584"/>
                  <a:gd name="connsiteY163" fmla="*/ 617273 h 1477406"/>
                  <a:gd name="connsiteX164" fmla="*/ 1448333 w 3550584"/>
                  <a:gd name="connsiteY164" fmla="*/ 597680 h 1477406"/>
                  <a:gd name="connsiteX165" fmla="*/ 1436520 w 3550584"/>
                  <a:gd name="connsiteY165" fmla="*/ 595663 h 1477406"/>
                  <a:gd name="connsiteX166" fmla="*/ 1416350 w 3550584"/>
                  <a:gd name="connsiteY166" fmla="*/ 576934 h 1477406"/>
                  <a:gd name="connsiteX167" fmla="*/ 1428452 w 3550584"/>
                  <a:gd name="connsiteY167" fmla="*/ 550425 h 1477406"/>
                  <a:gd name="connsiteX168" fmla="*/ 1449486 w 3550584"/>
                  <a:gd name="connsiteY168" fmla="*/ 542357 h 1477406"/>
                  <a:gd name="connsiteX169" fmla="*/ 1635334 w 3550584"/>
                  <a:gd name="connsiteY169" fmla="*/ 487899 h 1477406"/>
                  <a:gd name="connsiteX170" fmla="*/ 1649165 w 3550584"/>
                  <a:gd name="connsiteY170" fmla="*/ 485018 h 1477406"/>
                  <a:gd name="connsiteX171" fmla="*/ 2584927 w 3550584"/>
                  <a:gd name="connsiteY171" fmla="*/ 448172 h 1477406"/>
                  <a:gd name="connsiteX172" fmla="*/ 2589069 w 3550584"/>
                  <a:gd name="connsiteY172" fmla="*/ 454763 h 1477406"/>
                  <a:gd name="connsiteX173" fmla="*/ 2615866 w 3550584"/>
                  <a:gd name="connsiteY173" fmla="*/ 546679 h 1477406"/>
                  <a:gd name="connsiteX174" fmla="*/ 2610679 w 3550584"/>
                  <a:gd name="connsiteY174" fmla="*/ 557628 h 1477406"/>
                  <a:gd name="connsiteX175" fmla="*/ 2374695 w 3550584"/>
                  <a:gd name="connsiteY175" fmla="*/ 626493 h 1477406"/>
                  <a:gd name="connsiteX176" fmla="*/ 2371525 w 3550584"/>
                  <a:gd name="connsiteY176" fmla="*/ 627934 h 1477406"/>
                  <a:gd name="connsiteX177" fmla="*/ 2366339 w 3550584"/>
                  <a:gd name="connsiteY177" fmla="*/ 623324 h 1477406"/>
                  <a:gd name="connsiteX178" fmla="*/ 2337525 w 3550584"/>
                  <a:gd name="connsiteY178" fmla="*/ 525933 h 1477406"/>
                  <a:gd name="connsiteX179" fmla="*/ 2345017 w 3550584"/>
                  <a:gd name="connsiteY179" fmla="*/ 517289 h 1477406"/>
                  <a:gd name="connsiteX180" fmla="*/ 2540085 w 3550584"/>
                  <a:gd name="connsiteY180" fmla="*/ 459950 h 1477406"/>
                  <a:gd name="connsiteX181" fmla="*/ 2577543 w 3550584"/>
                  <a:gd name="connsiteY181" fmla="*/ 448712 h 1477406"/>
                  <a:gd name="connsiteX182" fmla="*/ 2584927 w 3550584"/>
                  <a:gd name="connsiteY182" fmla="*/ 448172 h 1477406"/>
                  <a:gd name="connsiteX183" fmla="*/ 1932872 w 3550584"/>
                  <a:gd name="connsiteY183" fmla="*/ 406356 h 1477406"/>
                  <a:gd name="connsiteX184" fmla="*/ 1938167 w 3550584"/>
                  <a:gd name="connsiteY184" fmla="*/ 417018 h 1477406"/>
                  <a:gd name="connsiteX185" fmla="*/ 1948540 w 3550584"/>
                  <a:gd name="connsiteY185" fmla="*/ 441797 h 1477406"/>
                  <a:gd name="connsiteX186" fmla="*/ 1966404 w 3550584"/>
                  <a:gd name="connsiteY186" fmla="*/ 502018 h 1477406"/>
                  <a:gd name="connsiteX187" fmla="*/ 1976777 w 3550584"/>
                  <a:gd name="connsiteY187" fmla="*/ 537459 h 1477406"/>
                  <a:gd name="connsiteX188" fmla="*/ 1991184 w 3550584"/>
                  <a:gd name="connsiteY188" fmla="*/ 587595 h 1477406"/>
                  <a:gd name="connsiteX189" fmla="*/ 2064371 w 3550584"/>
                  <a:gd name="connsiteY189" fmla="*/ 837410 h 1477406"/>
                  <a:gd name="connsiteX190" fmla="*/ 2090015 w 3550584"/>
                  <a:gd name="connsiteY190" fmla="*/ 925004 h 1477406"/>
                  <a:gd name="connsiteX191" fmla="*/ 2079354 w 3550584"/>
                  <a:gd name="connsiteY191" fmla="*/ 946038 h 1477406"/>
                  <a:gd name="connsiteX192" fmla="*/ 2007896 w 3550584"/>
                  <a:gd name="connsiteY192" fmla="*/ 967360 h 1477406"/>
                  <a:gd name="connsiteX193" fmla="*/ 1993777 w 3550584"/>
                  <a:gd name="connsiteY193" fmla="*/ 967936 h 1477406"/>
                  <a:gd name="connsiteX194" fmla="*/ 1911946 w 3550584"/>
                  <a:gd name="connsiteY194" fmla="*/ 991275 h 1477406"/>
                  <a:gd name="connsiteX195" fmla="*/ 1888607 w 3550584"/>
                  <a:gd name="connsiteY195" fmla="*/ 995309 h 1477406"/>
                  <a:gd name="connsiteX196" fmla="*/ 1869590 w 3550584"/>
                  <a:gd name="connsiteY196" fmla="*/ 982055 h 1477406"/>
                  <a:gd name="connsiteX197" fmla="*/ 1874200 w 3550584"/>
                  <a:gd name="connsiteY197" fmla="*/ 959004 h 1477406"/>
                  <a:gd name="connsiteX198" fmla="*/ 1875929 w 3550584"/>
                  <a:gd name="connsiteY198" fmla="*/ 957563 h 1477406"/>
                  <a:gd name="connsiteX199" fmla="*/ 1890624 w 3550584"/>
                  <a:gd name="connsiteY199" fmla="*/ 905987 h 1477406"/>
                  <a:gd name="connsiteX200" fmla="*/ 1873048 w 3550584"/>
                  <a:gd name="connsiteY200" fmla="*/ 849800 h 1477406"/>
                  <a:gd name="connsiteX201" fmla="*/ 1853454 w 3550584"/>
                  <a:gd name="connsiteY201" fmla="*/ 791884 h 1477406"/>
                  <a:gd name="connsiteX202" fmla="*/ 1832708 w 3550584"/>
                  <a:gd name="connsiteY202" fmla="*/ 721579 h 1477406"/>
                  <a:gd name="connsiteX203" fmla="*/ 1804183 w 3550584"/>
                  <a:gd name="connsiteY203" fmla="*/ 623900 h 1477406"/>
                  <a:gd name="connsiteX204" fmla="*/ 1776233 w 3550584"/>
                  <a:gd name="connsiteY204" fmla="*/ 528239 h 1477406"/>
                  <a:gd name="connsiteX205" fmla="*/ 1750013 w 3550584"/>
                  <a:gd name="connsiteY205" fmla="*/ 507781 h 1477406"/>
                  <a:gd name="connsiteX206" fmla="*/ 1744250 w 3550584"/>
                  <a:gd name="connsiteY206" fmla="*/ 507204 h 1477406"/>
                  <a:gd name="connsiteX207" fmla="*/ 1720911 w 3550584"/>
                  <a:gd name="connsiteY207" fmla="*/ 485306 h 1477406"/>
                  <a:gd name="connsiteX208" fmla="*/ 1737911 w 3550584"/>
                  <a:gd name="connsiteY208" fmla="*/ 459374 h 1477406"/>
                  <a:gd name="connsiteX209" fmla="*/ 1771623 w 3550584"/>
                  <a:gd name="connsiteY209" fmla="*/ 448136 h 1477406"/>
                  <a:gd name="connsiteX210" fmla="*/ 1870742 w 3550584"/>
                  <a:gd name="connsiteY210" fmla="*/ 419323 h 1477406"/>
                  <a:gd name="connsiteX211" fmla="*/ 1909641 w 3550584"/>
                  <a:gd name="connsiteY211" fmla="*/ 410967 h 1477406"/>
                  <a:gd name="connsiteX212" fmla="*/ 1920878 w 3550584"/>
                  <a:gd name="connsiteY212" fmla="*/ 407797 h 1477406"/>
                  <a:gd name="connsiteX213" fmla="*/ 1932872 w 3550584"/>
                  <a:gd name="connsiteY213" fmla="*/ 406356 h 1477406"/>
                  <a:gd name="connsiteX214" fmla="*/ 3263727 w 3550584"/>
                  <a:gd name="connsiteY214" fmla="*/ 398322 h 1477406"/>
                  <a:gd name="connsiteX215" fmla="*/ 3291611 w 3550584"/>
                  <a:gd name="connsiteY215" fmla="*/ 399023 h 1477406"/>
                  <a:gd name="connsiteX216" fmla="*/ 3324972 w 3550584"/>
                  <a:gd name="connsiteY216" fmla="*/ 416442 h 1477406"/>
                  <a:gd name="connsiteX217" fmla="*/ 3341684 w 3550584"/>
                  <a:gd name="connsiteY217" fmla="*/ 482713 h 1477406"/>
                  <a:gd name="connsiteX218" fmla="*/ 3335921 w 3550584"/>
                  <a:gd name="connsiteY218" fmla="*/ 496832 h 1477406"/>
                  <a:gd name="connsiteX219" fmla="*/ 3360989 w 3550584"/>
                  <a:gd name="connsiteY219" fmla="*/ 530256 h 1477406"/>
                  <a:gd name="connsiteX220" fmla="*/ 3375684 w 3550584"/>
                  <a:gd name="connsiteY220" fmla="*/ 540629 h 1477406"/>
                  <a:gd name="connsiteX221" fmla="*/ 3379142 w 3550584"/>
                  <a:gd name="connsiteY221" fmla="*/ 553307 h 1477406"/>
                  <a:gd name="connsiteX222" fmla="*/ 3365599 w 3550584"/>
                  <a:gd name="connsiteY222" fmla="*/ 575494 h 1477406"/>
                  <a:gd name="connsiteX223" fmla="*/ 3334769 w 3550584"/>
                  <a:gd name="connsiteY223" fmla="*/ 578663 h 1477406"/>
                  <a:gd name="connsiteX224" fmla="*/ 3238531 w 3550584"/>
                  <a:gd name="connsiteY224" fmla="*/ 552443 h 1477406"/>
                  <a:gd name="connsiteX225" fmla="*/ 3199632 w 3550584"/>
                  <a:gd name="connsiteY225" fmla="*/ 450442 h 1477406"/>
                  <a:gd name="connsiteX226" fmla="*/ 3263727 w 3550584"/>
                  <a:gd name="connsiteY226" fmla="*/ 398322 h 1477406"/>
                  <a:gd name="connsiteX227" fmla="*/ 2038511 w 3550584"/>
                  <a:gd name="connsiteY227" fmla="*/ 383661 h 1477406"/>
                  <a:gd name="connsiteX228" fmla="*/ 2196050 w 3550584"/>
                  <a:gd name="connsiteY228" fmla="*/ 455340 h 1477406"/>
                  <a:gd name="connsiteX229" fmla="*/ 2293440 w 3550584"/>
                  <a:gd name="connsiteY229" fmla="*/ 685273 h 1477406"/>
                  <a:gd name="connsiteX230" fmla="*/ 2144473 w 3550584"/>
                  <a:gd name="connsiteY230" fmla="*/ 921834 h 1477406"/>
                  <a:gd name="connsiteX231" fmla="*/ 2137270 w 3550584"/>
                  <a:gd name="connsiteY231" fmla="*/ 925580 h 1477406"/>
                  <a:gd name="connsiteX232" fmla="*/ 2116812 w 3550584"/>
                  <a:gd name="connsiteY232" fmla="*/ 920393 h 1477406"/>
                  <a:gd name="connsiteX233" fmla="*/ 2112778 w 3550584"/>
                  <a:gd name="connsiteY233" fmla="*/ 908004 h 1477406"/>
                  <a:gd name="connsiteX234" fmla="*/ 2123439 w 3550584"/>
                  <a:gd name="connsiteY234" fmla="*/ 876020 h 1477406"/>
                  <a:gd name="connsiteX235" fmla="*/ 2137846 w 3550584"/>
                  <a:gd name="connsiteY235" fmla="*/ 830495 h 1477406"/>
                  <a:gd name="connsiteX236" fmla="*/ 2115083 w 3550584"/>
                  <a:gd name="connsiteY236" fmla="*/ 745782 h 1477406"/>
                  <a:gd name="connsiteX237" fmla="*/ 2038727 w 3550584"/>
                  <a:gd name="connsiteY237" fmla="*/ 487323 h 1477406"/>
                  <a:gd name="connsiteX238" fmla="*/ 2017116 w 3550584"/>
                  <a:gd name="connsiteY238" fmla="*/ 449865 h 1477406"/>
                  <a:gd name="connsiteX239" fmla="*/ 1991472 w 3550584"/>
                  <a:gd name="connsiteY239" fmla="*/ 439492 h 1477406"/>
                  <a:gd name="connsiteX240" fmla="*/ 1975336 w 3550584"/>
                  <a:gd name="connsiteY240" fmla="*/ 429407 h 1477406"/>
                  <a:gd name="connsiteX241" fmla="*/ 1968709 w 3550584"/>
                  <a:gd name="connsiteY241" fmla="*/ 405492 h 1477406"/>
                  <a:gd name="connsiteX242" fmla="*/ 1976489 w 3550584"/>
                  <a:gd name="connsiteY242" fmla="*/ 391373 h 1477406"/>
                  <a:gd name="connsiteX243" fmla="*/ 2038511 w 3550584"/>
                  <a:gd name="connsiteY243" fmla="*/ 383661 h 1477406"/>
                  <a:gd name="connsiteX244" fmla="*/ 2876558 w 3550584"/>
                  <a:gd name="connsiteY244" fmla="*/ 129421 h 1477406"/>
                  <a:gd name="connsiteX245" fmla="*/ 2880952 w 3550584"/>
                  <a:gd name="connsiteY245" fmla="*/ 136660 h 1477406"/>
                  <a:gd name="connsiteX246" fmla="*/ 2963936 w 3550584"/>
                  <a:gd name="connsiteY246" fmla="*/ 420763 h 1477406"/>
                  <a:gd name="connsiteX247" fmla="*/ 3013784 w 3550584"/>
                  <a:gd name="connsiteY247" fmla="*/ 589900 h 1477406"/>
                  <a:gd name="connsiteX248" fmla="*/ 3043173 w 3550584"/>
                  <a:gd name="connsiteY248" fmla="*/ 612087 h 1477406"/>
                  <a:gd name="connsiteX249" fmla="*/ 3057292 w 3550584"/>
                  <a:gd name="connsiteY249" fmla="*/ 611799 h 1477406"/>
                  <a:gd name="connsiteX250" fmla="*/ 3075157 w 3550584"/>
                  <a:gd name="connsiteY250" fmla="*/ 623324 h 1477406"/>
                  <a:gd name="connsiteX251" fmla="*/ 3071699 w 3550584"/>
                  <a:gd name="connsiteY251" fmla="*/ 646375 h 1477406"/>
                  <a:gd name="connsiteX252" fmla="*/ 3054411 w 3550584"/>
                  <a:gd name="connsiteY252" fmla="*/ 656460 h 1477406"/>
                  <a:gd name="connsiteX253" fmla="*/ 2864817 w 3550584"/>
                  <a:gd name="connsiteY253" fmla="*/ 712070 h 1477406"/>
                  <a:gd name="connsiteX254" fmla="*/ 2853579 w 3550584"/>
                  <a:gd name="connsiteY254" fmla="*/ 713799 h 1477406"/>
                  <a:gd name="connsiteX255" fmla="*/ 2829664 w 3550584"/>
                  <a:gd name="connsiteY255" fmla="*/ 698240 h 1477406"/>
                  <a:gd name="connsiteX256" fmla="*/ 2840901 w 3550584"/>
                  <a:gd name="connsiteY256" fmla="*/ 673748 h 1477406"/>
                  <a:gd name="connsiteX257" fmla="*/ 2844935 w 3550584"/>
                  <a:gd name="connsiteY257" fmla="*/ 671443 h 1477406"/>
                  <a:gd name="connsiteX258" fmla="*/ 2861359 w 3550584"/>
                  <a:gd name="connsiteY258" fmla="*/ 629087 h 1477406"/>
                  <a:gd name="connsiteX259" fmla="*/ 2755036 w 3550584"/>
                  <a:gd name="connsiteY259" fmla="*/ 266898 h 1477406"/>
                  <a:gd name="connsiteX260" fmla="*/ 2751867 w 3550584"/>
                  <a:gd name="connsiteY260" fmla="*/ 256813 h 1477406"/>
                  <a:gd name="connsiteX261" fmla="*/ 2713545 w 3550584"/>
                  <a:gd name="connsiteY261" fmla="*/ 231745 h 1477406"/>
                  <a:gd name="connsiteX262" fmla="*/ 2686748 w 3550584"/>
                  <a:gd name="connsiteY262" fmla="*/ 217050 h 1477406"/>
                  <a:gd name="connsiteX263" fmla="*/ 2704612 w 3550584"/>
                  <a:gd name="connsiteY263" fmla="*/ 188813 h 1477406"/>
                  <a:gd name="connsiteX264" fmla="*/ 2809206 w 3550584"/>
                  <a:gd name="connsiteY264" fmla="*/ 151355 h 1477406"/>
                  <a:gd name="connsiteX265" fmla="*/ 2868274 w 3550584"/>
                  <a:gd name="connsiteY265" fmla="*/ 130609 h 1477406"/>
                  <a:gd name="connsiteX266" fmla="*/ 2876558 w 3550584"/>
                  <a:gd name="connsiteY266" fmla="*/ 129421 h 1477406"/>
                  <a:gd name="connsiteX267" fmla="*/ 3220090 w 3550584"/>
                  <a:gd name="connsiteY267" fmla="*/ 16975 h 1477406"/>
                  <a:gd name="connsiteX268" fmla="*/ 3224124 w 3550584"/>
                  <a:gd name="connsiteY268" fmla="*/ 25151 h 1477406"/>
                  <a:gd name="connsiteX269" fmla="*/ 3227870 w 3550584"/>
                  <a:gd name="connsiteY269" fmla="*/ 37541 h 1477406"/>
                  <a:gd name="connsiteX270" fmla="*/ 3221242 w 3550584"/>
                  <a:gd name="connsiteY270" fmla="*/ 67219 h 1477406"/>
                  <a:gd name="connsiteX271" fmla="*/ 3214615 w 3550584"/>
                  <a:gd name="connsiteY271" fmla="*/ 91999 h 1477406"/>
                  <a:gd name="connsiteX272" fmla="*/ 3262446 w 3550584"/>
                  <a:gd name="connsiteY272" fmla="*/ 254220 h 1477406"/>
                  <a:gd name="connsiteX273" fmla="*/ 3316904 w 3550584"/>
                  <a:gd name="connsiteY273" fmla="*/ 268627 h 1477406"/>
                  <a:gd name="connsiteX274" fmla="*/ 3325548 w 3550584"/>
                  <a:gd name="connsiteY274" fmla="*/ 258542 h 1477406"/>
                  <a:gd name="connsiteX275" fmla="*/ 3337362 w 3550584"/>
                  <a:gd name="connsiteY275" fmla="*/ 297153 h 1477406"/>
                  <a:gd name="connsiteX276" fmla="*/ 3335057 w 3550584"/>
                  <a:gd name="connsiteY276" fmla="*/ 305797 h 1477406"/>
                  <a:gd name="connsiteX277" fmla="*/ 3114055 w 3550584"/>
                  <a:gd name="connsiteY277" fmla="*/ 302915 h 1477406"/>
                  <a:gd name="connsiteX278" fmla="*/ 3079190 w 3550584"/>
                  <a:gd name="connsiteY278" fmla="*/ 186220 h 1477406"/>
                  <a:gd name="connsiteX279" fmla="*/ 3210869 w 3550584"/>
                  <a:gd name="connsiteY279" fmla="*/ 17659 h 1477406"/>
                  <a:gd name="connsiteX280" fmla="*/ 3220090 w 3550584"/>
                  <a:gd name="connsiteY280" fmla="*/ 16975 h 1477406"/>
                  <a:gd name="connsiteX281" fmla="*/ 3325513 w 3550584"/>
                  <a:gd name="connsiteY281" fmla="*/ 2604 h 1477406"/>
                  <a:gd name="connsiteX282" fmla="*/ 3384329 w 3550584"/>
                  <a:gd name="connsiteY282" fmla="*/ 23422 h 1477406"/>
                  <a:gd name="connsiteX283" fmla="*/ 3506499 w 3550584"/>
                  <a:gd name="connsiteY283" fmla="*/ 155389 h 1477406"/>
                  <a:gd name="connsiteX284" fmla="*/ 3550584 w 3550584"/>
                  <a:gd name="connsiteY284" fmla="*/ 341525 h 1477406"/>
                  <a:gd name="connsiteX285" fmla="*/ 3499296 w 3550584"/>
                  <a:gd name="connsiteY285" fmla="*/ 502594 h 1477406"/>
                  <a:gd name="connsiteX286" fmla="*/ 3424668 w 3550584"/>
                  <a:gd name="connsiteY286" fmla="*/ 559357 h 1477406"/>
                  <a:gd name="connsiteX287" fmla="*/ 3413431 w 3550584"/>
                  <a:gd name="connsiteY287" fmla="*/ 553883 h 1477406"/>
                  <a:gd name="connsiteX288" fmla="*/ 3410549 w 3550584"/>
                  <a:gd name="connsiteY288" fmla="*/ 543510 h 1477406"/>
                  <a:gd name="connsiteX289" fmla="*/ 3418041 w 3550584"/>
                  <a:gd name="connsiteY289" fmla="*/ 508069 h 1477406"/>
                  <a:gd name="connsiteX290" fmla="*/ 3428990 w 3550584"/>
                  <a:gd name="connsiteY290" fmla="*/ 462255 h 1477406"/>
                  <a:gd name="connsiteX291" fmla="*/ 3387498 w 3550584"/>
                  <a:gd name="connsiteY291" fmla="*/ 316746 h 1477406"/>
                  <a:gd name="connsiteX292" fmla="*/ 3323532 w 3550584"/>
                  <a:gd name="connsiteY292" fmla="*/ 98626 h 1477406"/>
                  <a:gd name="connsiteX293" fmla="*/ 3313159 w 3550584"/>
                  <a:gd name="connsiteY293" fmla="*/ 72405 h 1477406"/>
                  <a:gd name="connsiteX294" fmla="*/ 3271955 w 3550584"/>
                  <a:gd name="connsiteY294" fmla="*/ 47049 h 1477406"/>
                  <a:gd name="connsiteX295" fmla="*/ 3263311 w 3550584"/>
                  <a:gd name="connsiteY295" fmla="*/ 40422 h 1477406"/>
                  <a:gd name="connsiteX296" fmla="*/ 3255820 w 3550584"/>
                  <a:gd name="connsiteY296" fmla="*/ 15354 h 1477406"/>
                  <a:gd name="connsiteX297" fmla="*/ 3263023 w 3550584"/>
                  <a:gd name="connsiteY297" fmla="*/ 2964 h 1477406"/>
                  <a:gd name="connsiteX298" fmla="*/ 3325513 w 3550584"/>
                  <a:gd name="connsiteY298" fmla="*/ 2604 h 147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</a:cxnLst>
                <a:rect l="l" t="t" r="r" b="b"/>
                <a:pathLst>
                  <a:path w="3550584" h="1477406">
                    <a:moveTo>
                      <a:pt x="468666" y="1251464"/>
                    </a:moveTo>
                    <a:cubicBezTo>
                      <a:pt x="487683" y="1267023"/>
                      <a:pt x="484802" y="1288346"/>
                      <a:pt x="481344" y="1308227"/>
                    </a:cubicBezTo>
                    <a:cubicBezTo>
                      <a:pt x="472988" y="1356058"/>
                      <a:pt x="448785" y="1395533"/>
                      <a:pt x="413344" y="1428092"/>
                    </a:cubicBezTo>
                    <a:cubicBezTo>
                      <a:pt x="411903" y="1429533"/>
                      <a:pt x="410751" y="1430974"/>
                      <a:pt x="409310" y="1432126"/>
                    </a:cubicBezTo>
                    <a:cubicBezTo>
                      <a:pt x="398937" y="1445380"/>
                      <a:pt x="383954" y="1452008"/>
                      <a:pt x="368971" y="1458058"/>
                    </a:cubicBezTo>
                    <a:cubicBezTo>
                      <a:pt x="361479" y="1461228"/>
                      <a:pt x="357157" y="1458347"/>
                      <a:pt x="354564" y="1450855"/>
                    </a:cubicBezTo>
                    <a:cubicBezTo>
                      <a:pt x="351683" y="1441923"/>
                      <a:pt x="349089" y="1432702"/>
                      <a:pt x="346496" y="1423482"/>
                    </a:cubicBezTo>
                    <a:cubicBezTo>
                      <a:pt x="343903" y="1414550"/>
                      <a:pt x="346496" y="1411956"/>
                      <a:pt x="362056" y="1406194"/>
                    </a:cubicBezTo>
                    <a:cubicBezTo>
                      <a:pt x="405852" y="1377380"/>
                      <a:pt x="430632" y="1337617"/>
                      <a:pt x="434954" y="1285176"/>
                    </a:cubicBezTo>
                    <a:cubicBezTo>
                      <a:pt x="435242" y="1282007"/>
                      <a:pt x="434954" y="1278837"/>
                      <a:pt x="435242" y="1275667"/>
                    </a:cubicBezTo>
                    <a:cubicBezTo>
                      <a:pt x="436395" y="1254633"/>
                      <a:pt x="448209" y="1246277"/>
                      <a:pt x="468666" y="1251464"/>
                    </a:cubicBezTo>
                    <a:close/>
                    <a:moveTo>
                      <a:pt x="164105" y="914055"/>
                    </a:moveTo>
                    <a:cubicBezTo>
                      <a:pt x="166338" y="915352"/>
                      <a:pt x="167563" y="918233"/>
                      <a:pt x="168427" y="922699"/>
                    </a:cubicBezTo>
                    <a:cubicBezTo>
                      <a:pt x="169292" y="927597"/>
                      <a:pt x="171309" y="932496"/>
                      <a:pt x="173038" y="937106"/>
                    </a:cubicBezTo>
                    <a:cubicBezTo>
                      <a:pt x="180241" y="947190"/>
                      <a:pt x="180817" y="952953"/>
                      <a:pt x="172461" y="959292"/>
                    </a:cubicBezTo>
                    <a:cubicBezTo>
                      <a:pt x="148834" y="977157"/>
                      <a:pt x="147682" y="1001072"/>
                      <a:pt x="152868" y="1027293"/>
                    </a:cubicBezTo>
                    <a:cubicBezTo>
                      <a:pt x="173038" y="1099327"/>
                      <a:pt x="194648" y="1171073"/>
                      <a:pt x="215682" y="1242819"/>
                    </a:cubicBezTo>
                    <a:cubicBezTo>
                      <a:pt x="228360" y="1286616"/>
                      <a:pt x="240750" y="1330413"/>
                      <a:pt x="254581" y="1373922"/>
                    </a:cubicBezTo>
                    <a:cubicBezTo>
                      <a:pt x="257462" y="1383142"/>
                      <a:pt x="261496" y="1391498"/>
                      <a:pt x="267259" y="1399278"/>
                    </a:cubicBezTo>
                    <a:cubicBezTo>
                      <a:pt x="269276" y="1402159"/>
                      <a:pt x="271004" y="1405329"/>
                      <a:pt x="273886" y="1407634"/>
                    </a:cubicBezTo>
                    <a:cubicBezTo>
                      <a:pt x="284259" y="1415990"/>
                      <a:pt x="295496" y="1421753"/>
                      <a:pt x="309327" y="1422329"/>
                    </a:cubicBezTo>
                    <a:cubicBezTo>
                      <a:pt x="313361" y="1422617"/>
                      <a:pt x="317395" y="1423770"/>
                      <a:pt x="318835" y="1428092"/>
                    </a:cubicBezTo>
                    <a:cubicBezTo>
                      <a:pt x="322869" y="1439905"/>
                      <a:pt x="328632" y="1451719"/>
                      <a:pt x="328056" y="1464973"/>
                    </a:cubicBezTo>
                    <a:cubicBezTo>
                      <a:pt x="310767" y="1474482"/>
                      <a:pt x="291174" y="1475635"/>
                      <a:pt x="272157" y="1476787"/>
                    </a:cubicBezTo>
                    <a:cubicBezTo>
                      <a:pt x="190326" y="1482262"/>
                      <a:pt x="123478" y="1451431"/>
                      <a:pt x="75935" y="1385447"/>
                    </a:cubicBezTo>
                    <a:cubicBezTo>
                      <a:pt x="7935" y="1290938"/>
                      <a:pt x="-17421" y="1185480"/>
                      <a:pt x="12257" y="1071378"/>
                    </a:cubicBezTo>
                    <a:cubicBezTo>
                      <a:pt x="31850" y="995886"/>
                      <a:pt x="80834" y="944021"/>
                      <a:pt x="153732" y="914919"/>
                    </a:cubicBezTo>
                    <a:cubicBezTo>
                      <a:pt x="158630" y="913046"/>
                      <a:pt x="161872" y="912758"/>
                      <a:pt x="164105" y="914055"/>
                    </a:cubicBezTo>
                    <a:close/>
                    <a:moveTo>
                      <a:pt x="341022" y="859596"/>
                    </a:moveTo>
                    <a:cubicBezTo>
                      <a:pt x="353123" y="858444"/>
                      <a:pt x="360903" y="864783"/>
                      <a:pt x="364361" y="875732"/>
                    </a:cubicBezTo>
                    <a:cubicBezTo>
                      <a:pt x="371852" y="898495"/>
                      <a:pt x="378191" y="921834"/>
                      <a:pt x="385107" y="944885"/>
                    </a:cubicBezTo>
                    <a:cubicBezTo>
                      <a:pt x="387412" y="952665"/>
                      <a:pt x="390005" y="960733"/>
                      <a:pt x="392598" y="968512"/>
                    </a:cubicBezTo>
                    <a:cubicBezTo>
                      <a:pt x="397496" y="974851"/>
                      <a:pt x="398937" y="982919"/>
                      <a:pt x="401819" y="990123"/>
                    </a:cubicBezTo>
                    <a:cubicBezTo>
                      <a:pt x="407005" y="1009428"/>
                      <a:pt x="414208" y="1028445"/>
                      <a:pt x="418242" y="1048326"/>
                    </a:cubicBezTo>
                    <a:cubicBezTo>
                      <a:pt x="422276" y="1067920"/>
                      <a:pt x="412480" y="1081462"/>
                      <a:pt x="394039" y="1082615"/>
                    </a:cubicBezTo>
                    <a:cubicBezTo>
                      <a:pt x="382225" y="1083191"/>
                      <a:pt x="372717" y="1077428"/>
                      <a:pt x="366090" y="1067631"/>
                    </a:cubicBezTo>
                    <a:cubicBezTo>
                      <a:pt x="358886" y="1057259"/>
                      <a:pt x="353412" y="1045733"/>
                      <a:pt x="346208" y="1035360"/>
                    </a:cubicBezTo>
                    <a:cubicBezTo>
                      <a:pt x="329784" y="1009716"/>
                      <a:pt x="309903" y="987529"/>
                      <a:pt x="284547" y="970529"/>
                    </a:cubicBezTo>
                    <a:cubicBezTo>
                      <a:pt x="280801" y="967936"/>
                      <a:pt x="277055" y="965343"/>
                      <a:pt x="272733" y="963326"/>
                    </a:cubicBezTo>
                    <a:cubicBezTo>
                      <a:pt x="258614" y="955834"/>
                      <a:pt x="243919" y="950360"/>
                      <a:pt x="228072" y="948054"/>
                    </a:cubicBezTo>
                    <a:cubicBezTo>
                      <a:pt x="205597" y="944885"/>
                      <a:pt x="197529" y="934512"/>
                      <a:pt x="199546" y="911173"/>
                    </a:cubicBezTo>
                    <a:cubicBezTo>
                      <a:pt x="194071" y="896766"/>
                      <a:pt x="206173" y="901088"/>
                      <a:pt x="212224" y="899359"/>
                    </a:cubicBezTo>
                    <a:cubicBezTo>
                      <a:pt x="225478" y="893597"/>
                      <a:pt x="239597" y="895613"/>
                      <a:pt x="253140" y="897054"/>
                    </a:cubicBezTo>
                    <a:cubicBezTo>
                      <a:pt x="273309" y="898783"/>
                      <a:pt x="293767" y="899647"/>
                      <a:pt x="314225" y="895325"/>
                    </a:cubicBezTo>
                    <a:cubicBezTo>
                      <a:pt x="319699" y="891580"/>
                      <a:pt x="320276" y="885241"/>
                      <a:pt x="320852" y="879478"/>
                    </a:cubicBezTo>
                    <a:cubicBezTo>
                      <a:pt x="322581" y="867376"/>
                      <a:pt x="329496" y="861037"/>
                      <a:pt x="341022" y="859596"/>
                    </a:cubicBezTo>
                    <a:close/>
                    <a:moveTo>
                      <a:pt x="624260" y="774813"/>
                    </a:moveTo>
                    <a:cubicBezTo>
                      <a:pt x="626565" y="775893"/>
                      <a:pt x="628006" y="778919"/>
                      <a:pt x="629735" y="784393"/>
                    </a:cubicBezTo>
                    <a:cubicBezTo>
                      <a:pt x="630888" y="788139"/>
                      <a:pt x="631464" y="792173"/>
                      <a:pt x="633193" y="795631"/>
                    </a:cubicBezTo>
                    <a:cubicBezTo>
                      <a:pt x="638667" y="808597"/>
                      <a:pt x="639532" y="818970"/>
                      <a:pt x="627142" y="830495"/>
                    </a:cubicBezTo>
                    <a:cubicBezTo>
                      <a:pt x="609566" y="846631"/>
                      <a:pt x="612735" y="867665"/>
                      <a:pt x="620515" y="887835"/>
                    </a:cubicBezTo>
                    <a:cubicBezTo>
                      <a:pt x="644430" y="968225"/>
                      <a:pt x="667769" y="1048903"/>
                      <a:pt x="691685" y="1129294"/>
                    </a:cubicBezTo>
                    <a:cubicBezTo>
                      <a:pt x="697159" y="1149463"/>
                      <a:pt x="703786" y="1169345"/>
                      <a:pt x="709261" y="1189803"/>
                    </a:cubicBezTo>
                    <a:cubicBezTo>
                      <a:pt x="710702" y="1194413"/>
                      <a:pt x="711566" y="1199023"/>
                      <a:pt x="713295" y="1203633"/>
                    </a:cubicBezTo>
                    <a:cubicBezTo>
                      <a:pt x="717905" y="1217752"/>
                      <a:pt x="721939" y="1232159"/>
                      <a:pt x="725973" y="1246566"/>
                    </a:cubicBezTo>
                    <a:cubicBezTo>
                      <a:pt x="731159" y="1266735"/>
                      <a:pt x="742109" y="1281142"/>
                      <a:pt x="763431" y="1286040"/>
                    </a:cubicBezTo>
                    <a:cubicBezTo>
                      <a:pt x="765160" y="1286905"/>
                      <a:pt x="766600" y="1287769"/>
                      <a:pt x="768041" y="1289210"/>
                    </a:cubicBezTo>
                    <a:cubicBezTo>
                      <a:pt x="773228" y="1290074"/>
                      <a:pt x="776109" y="1292956"/>
                      <a:pt x="777261" y="1298142"/>
                    </a:cubicBezTo>
                    <a:cubicBezTo>
                      <a:pt x="779278" y="1306786"/>
                      <a:pt x="781295" y="1315719"/>
                      <a:pt x="784753" y="1324075"/>
                    </a:cubicBezTo>
                    <a:cubicBezTo>
                      <a:pt x="787923" y="1331854"/>
                      <a:pt x="784465" y="1333583"/>
                      <a:pt x="778126" y="1334159"/>
                    </a:cubicBezTo>
                    <a:cubicBezTo>
                      <a:pt x="761990" y="1335600"/>
                      <a:pt x="746143" y="1337329"/>
                      <a:pt x="730007" y="1338770"/>
                    </a:cubicBezTo>
                    <a:cubicBezTo>
                      <a:pt x="714447" y="1341363"/>
                      <a:pt x="699176" y="1341939"/>
                      <a:pt x="684481" y="1333871"/>
                    </a:cubicBezTo>
                    <a:cubicBezTo>
                      <a:pt x="665176" y="1328397"/>
                      <a:pt x="645871" y="1322634"/>
                      <a:pt x="627718" y="1313702"/>
                    </a:cubicBezTo>
                    <a:cubicBezTo>
                      <a:pt x="612735" y="1310532"/>
                      <a:pt x="600345" y="1303041"/>
                      <a:pt x="591413" y="1290651"/>
                    </a:cubicBezTo>
                    <a:cubicBezTo>
                      <a:pt x="554819" y="1261261"/>
                      <a:pt x="528023" y="1224091"/>
                      <a:pt x="506700" y="1182887"/>
                    </a:cubicBezTo>
                    <a:cubicBezTo>
                      <a:pt x="500650" y="1178853"/>
                      <a:pt x="499209" y="1171938"/>
                      <a:pt x="496327" y="1165887"/>
                    </a:cubicBezTo>
                    <a:cubicBezTo>
                      <a:pt x="482209" y="1134480"/>
                      <a:pt x="474141" y="1101056"/>
                      <a:pt x="467802" y="1067344"/>
                    </a:cubicBezTo>
                    <a:cubicBezTo>
                      <a:pt x="465209" y="1052937"/>
                      <a:pt x="465209" y="1038530"/>
                      <a:pt x="462904" y="1024124"/>
                    </a:cubicBezTo>
                    <a:cubicBezTo>
                      <a:pt x="462039" y="961021"/>
                      <a:pt x="475582" y="901953"/>
                      <a:pt x="514768" y="850665"/>
                    </a:cubicBezTo>
                    <a:cubicBezTo>
                      <a:pt x="520819" y="842885"/>
                      <a:pt x="528023" y="836258"/>
                      <a:pt x="534938" y="829055"/>
                    </a:cubicBezTo>
                    <a:cubicBezTo>
                      <a:pt x="557413" y="806004"/>
                      <a:pt x="584498" y="790156"/>
                      <a:pt x="613599" y="776902"/>
                    </a:cubicBezTo>
                    <a:cubicBezTo>
                      <a:pt x="618785" y="774597"/>
                      <a:pt x="621955" y="773732"/>
                      <a:pt x="624260" y="774813"/>
                    </a:cubicBezTo>
                    <a:close/>
                    <a:moveTo>
                      <a:pt x="736346" y="759613"/>
                    </a:moveTo>
                    <a:cubicBezTo>
                      <a:pt x="826533" y="770851"/>
                      <a:pt x="887906" y="822715"/>
                      <a:pt x="929974" y="899936"/>
                    </a:cubicBezTo>
                    <a:cubicBezTo>
                      <a:pt x="943517" y="925004"/>
                      <a:pt x="954466" y="951513"/>
                      <a:pt x="962246" y="978886"/>
                    </a:cubicBezTo>
                    <a:cubicBezTo>
                      <a:pt x="973195" y="1015191"/>
                      <a:pt x="979534" y="1052073"/>
                      <a:pt x="979246" y="1089819"/>
                    </a:cubicBezTo>
                    <a:cubicBezTo>
                      <a:pt x="978958" y="1117192"/>
                      <a:pt x="975500" y="1144277"/>
                      <a:pt x="967144" y="1170497"/>
                    </a:cubicBezTo>
                    <a:cubicBezTo>
                      <a:pt x="958500" y="1195277"/>
                      <a:pt x="948415" y="1219192"/>
                      <a:pt x="932568" y="1240514"/>
                    </a:cubicBezTo>
                    <a:cubicBezTo>
                      <a:pt x="930551" y="1245413"/>
                      <a:pt x="927957" y="1250599"/>
                      <a:pt x="921906" y="1252040"/>
                    </a:cubicBezTo>
                    <a:cubicBezTo>
                      <a:pt x="895686" y="1282006"/>
                      <a:pt x="863991" y="1304193"/>
                      <a:pt x="827397" y="1320041"/>
                    </a:cubicBezTo>
                    <a:cubicBezTo>
                      <a:pt x="821058" y="1322922"/>
                      <a:pt x="817313" y="1322922"/>
                      <a:pt x="816448" y="1314854"/>
                    </a:cubicBezTo>
                    <a:cubicBezTo>
                      <a:pt x="816160" y="1312261"/>
                      <a:pt x="815296" y="1309379"/>
                      <a:pt x="814143" y="1306786"/>
                    </a:cubicBezTo>
                    <a:cubicBezTo>
                      <a:pt x="807804" y="1291803"/>
                      <a:pt x="805787" y="1279125"/>
                      <a:pt x="821058" y="1266735"/>
                    </a:cubicBezTo>
                    <a:cubicBezTo>
                      <a:pt x="831720" y="1258091"/>
                      <a:pt x="834025" y="1243684"/>
                      <a:pt x="830279" y="1229277"/>
                    </a:cubicBezTo>
                    <a:cubicBezTo>
                      <a:pt x="826821" y="1215158"/>
                      <a:pt x="823652" y="1201040"/>
                      <a:pt x="817601" y="1187497"/>
                    </a:cubicBezTo>
                    <a:cubicBezTo>
                      <a:pt x="809821" y="1177989"/>
                      <a:pt x="810397" y="1165599"/>
                      <a:pt x="805499" y="1155226"/>
                    </a:cubicBezTo>
                    <a:cubicBezTo>
                      <a:pt x="784465" y="1082615"/>
                      <a:pt x="762855" y="1010005"/>
                      <a:pt x="741533" y="937682"/>
                    </a:cubicBezTo>
                    <a:cubicBezTo>
                      <a:pt x="733176" y="906563"/>
                      <a:pt x="723956" y="876021"/>
                      <a:pt x="714448" y="845478"/>
                    </a:cubicBezTo>
                    <a:cubicBezTo>
                      <a:pt x="709261" y="828766"/>
                      <a:pt x="697736" y="817241"/>
                      <a:pt x="680447" y="814071"/>
                    </a:cubicBezTo>
                    <a:cubicBezTo>
                      <a:pt x="668346" y="812054"/>
                      <a:pt x="662295" y="805715"/>
                      <a:pt x="660278" y="794190"/>
                    </a:cubicBezTo>
                    <a:cubicBezTo>
                      <a:pt x="659413" y="788715"/>
                      <a:pt x="656820" y="783817"/>
                      <a:pt x="655379" y="778342"/>
                    </a:cubicBezTo>
                    <a:cubicBezTo>
                      <a:pt x="652498" y="766817"/>
                      <a:pt x="654227" y="763935"/>
                      <a:pt x="665464" y="761918"/>
                    </a:cubicBezTo>
                    <a:cubicBezTo>
                      <a:pt x="689092" y="757308"/>
                      <a:pt x="712719" y="756732"/>
                      <a:pt x="736346" y="759613"/>
                    </a:cubicBezTo>
                    <a:close/>
                    <a:moveTo>
                      <a:pt x="1139738" y="634273"/>
                    </a:moveTo>
                    <a:cubicBezTo>
                      <a:pt x="1151552" y="631680"/>
                      <a:pt x="1161925" y="633697"/>
                      <a:pt x="1169128" y="644070"/>
                    </a:cubicBezTo>
                    <a:cubicBezTo>
                      <a:pt x="1175467" y="653002"/>
                      <a:pt x="1173739" y="666833"/>
                      <a:pt x="1165959" y="677206"/>
                    </a:cubicBezTo>
                    <a:cubicBezTo>
                      <a:pt x="1150399" y="697664"/>
                      <a:pt x="1149823" y="701409"/>
                      <a:pt x="1163654" y="723308"/>
                    </a:cubicBezTo>
                    <a:cubicBezTo>
                      <a:pt x="1199095" y="779783"/>
                      <a:pt x="1234824" y="836258"/>
                      <a:pt x="1270553" y="892733"/>
                    </a:cubicBezTo>
                    <a:cubicBezTo>
                      <a:pt x="1273434" y="897055"/>
                      <a:pt x="1276315" y="901377"/>
                      <a:pt x="1276604" y="906563"/>
                    </a:cubicBezTo>
                    <a:cubicBezTo>
                      <a:pt x="1296197" y="937970"/>
                      <a:pt x="1315790" y="969665"/>
                      <a:pt x="1335672" y="1000784"/>
                    </a:cubicBezTo>
                    <a:cubicBezTo>
                      <a:pt x="1339418" y="1006547"/>
                      <a:pt x="1341146" y="1012310"/>
                      <a:pt x="1341434" y="1019513"/>
                    </a:cubicBezTo>
                    <a:cubicBezTo>
                      <a:pt x="1341723" y="1043717"/>
                      <a:pt x="1340570" y="1067632"/>
                      <a:pt x="1343451" y="1091836"/>
                    </a:cubicBezTo>
                    <a:cubicBezTo>
                      <a:pt x="1343451" y="1110276"/>
                      <a:pt x="1342875" y="1129005"/>
                      <a:pt x="1344028" y="1147446"/>
                    </a:cubicBezTo>
                    <a:cubicBezTo>
                      <a:pt x="1344604" y="1156378"/>
                      <a:pt x="1341146" y="1158972"/>
                      <a:pt x="1333655" y="1160700"/>
                    </a:cubicBezTo>
                    <a:cubicBezTo>
                      <a:pt x="1326740" y="1162141"/>
                      <a:pt x="1320112" y="1164734"/>
                      <a:pt x="1313485" y="1166751"/>
                    </a:cubicBezTo>
                    <a:cubicBezTo>
                      <a:pt x="1313197" y="1167904"/>
                      <a:pt x="1312621" y="1169056"/>
                      <a:pt x="1311468" y="1169633"/>
                    </a:cubicBezTo>
                    <a:cubicBezTo>
                      <a:pt x="1290146" y="1177124"/>
                      <a:pt x="1268536" y="1183175"/>
                      <a:pt x="1246637" y="1188938"/>
                    </a:cubicBezTo>
                    <a:cubicBezTo>
                      <a:pt x="1239722" y="1190667"/>
                      <a:pt x="1235688" y="1185768"/>
                      <a:pt x="1232519" y="1180582"/>
                    </a:cubicBezTo>
                    <a:cubicBezTo>
                      <a:pt x="1223874" y="1166751"/>
                      <a:pt x="1214366" y="1153785"/>
                      <a:pt x="1206874" y="1139378"/>
                    </a:cubicBezTo>
                    <a:cubicBezTo>
                      <a:pt x="1169128" y="1084344"/>
                      <a:pt x="1134552" y="1027581"/>
                      <a:pt x="1097382" y="971970"/>
                    </a:cubicBezTo>
                    <a:cubicBezTo>
                      <a:pt x="1094789" y="969665"/>
                      <a:pt x="1093060" y="967072"/>
                      <a:pt x="1093925" y="963614"/>
                    </a:cubicBezTo>
                    <a:cubicBezTo>
                      <a:pt x="1063094" y="915784"/>
                      <a:pt x="1032551" y="867953"/>
                      <a:pt x="1001721" y="820122"/>
                    </a:cubicBezTo>
                    <a:cubicBezTo>
                      <a:pt x="990483" y="802834"/>
                      <a:pt x="978381" y="786122"/>
                      <a:pt x="968585" y="768257"/>
                    </a:cubicBezTo>
                    <a:cubicBezTo>
                      <a:pt x="960229" y="752986"/>
                      <a:pt x="949856" y="743189"/>
                      <a:pt x="931991" y="743189"/>
                    </a:cubicBezTo>
                    <a:cubicBezTo>
                      <a:pt x="921330" y="743766"/>
                      <a:pt x="916432" y="737138"/>
                      <a:pt x="913839" y="728494"/>
                    </a:cubicBezTo>
                    <a:cubicBezTo>
                      <a:pt x="911245" y="720138"/>
                      <a:pt x="911534" y="712070"/>
                      <a:pt x="920178" y="706884"/>
                    </a:cubicBezTo>
                    <a:cubicBezTo>
                      <a:pt x="938042" y="692765"/>
                      <a:pt x="960229" y="690460"/>
                      <a:pt x="980687" y="683257"/>
                    </a:cubicBezTo>
                    <a:cubicBezTo>
                      <a:pt x="987602" y="680952"/>
                      <a:pt x="994517" y="678647"/>
                      <a:pt x="1001721" y="676341"/>
                    </a:cubicBezTo>
                    <a:cubicBezTo>
                      <a:pt x="1008636" y="669714"/>
                      <a:pt x="1018144" y="669714"/>
                      <a:pt x="1026500" y="666833"/>
                    </a:cubicBezTo>
                    <a:cubicBezTo>
                      <a:pt x="1038602" y="662799"/>
                      <a:pt x="1050992" y="659053"/>
                      <a:pt x="1063382" y="655884"/>
                    </a:cubicBezTo>
                    <a:cubicBezTo>
                      <a:pt x="1088738" y="648680"/>
                      <a:pt x="1113806" y="639748"/>
                      <a:pt x="1139738" y="634273"/>
                    </a:cubicBezTo>
                    <a:close/>
                    <a:moveTo>
                      <a:pt x="1371112" y="574052"/>
                    </a:moveTo>
                    <a:cubicBezTo>
                      <a:pt x="1375866" y="575493"/>
                      <a:pt x="1379324" y="578519"/>
                      <a:pt x="1381773" y="583273"/>
                    </a:cubicBezTo>
                    <a:cubicBezTo>
                      <a:pt x="1387536" y="594510"/>
                      <a:pt x="1385519" y="604307"/>
                      <a:pt x="1372265" y="613815"/>
                    </a:cubicBezTo>
                    <a:cubicBezTo>
                      <a:pt x="1343739" y="633985"/>
                      <a:pt x="1334807" y="662799"/>
                      <a:pt x="1335383" y="695358"/>
                    </a:cubicBezTo>
                    <a:cubicBezTo>
                      <a:pt x="1336248" y="753850"/>
                      <a:pt x="1337688" y="812342"/>
                      <a:pt x="1338841" y="870834"/>
                    </a:cubicBezTo>
                    <a:cubicBezTo>
                      <a:pt x="1338841" y="897054"/>
                      <a:pt x="1338841" y="923275"/>
                      <a:pt x="1338841" y="951224"/>
                    </a:cubicBezTo>
                    <a:cubicBezTo>
                      <a:pt x="1326163" y="931054"/>
                      <a:pt x="1313773" y="911461"/>
                      <a:pt x="1301383" y="891868"/>
                    </a:cubicBezTo>
                    <a:cubicBezTo>
                      <a:pt x="1297061" y="885241"/>
                      <a:pt x="1296485" y="878037"/>
                      <a:pt x="1296197" y="870546"/>
                    </a:cubicBezTo>
                    <a:cubicBezTo>
                      <a:pt x="1295332" y="815511"/>
                      <a:pt x="1294180" y="760765"/>
                      <a:pt x="1293027" y="705731"/>
                    </a:cubicBezTo>
                    <a:cubicBezTo>
                      <a:pt x="1292739" y="692477"/>
                      <a:pt x="1289858" y="679799"/>
                      <a:pt x="1282366" y="668849"/>
                    </a:cubicBezTo>
                    <a:cubicBezTo>
                      <a:pt x="1273722" y="655883"/>
                      <a:pt x="1259891" y="653866"/>
                      <a:pt x="1245773" y="653002"/>
                    </a:cubicBezTo>
                    <a:cubicBezTo>
                      <a:pt x="1238569" y="652426"/>
                      <a:pt x="1231654" y="651273"/>
                      <a:pt x="1226468" y="645222"/>
                    </a:cubicBezTo>
                    <a:cubicBezTo>
                      <a:pt x="1218688" y="636002"/>
                      <a:pt x="1219840" y="622459"/>
                      <a:pt x="1229349" y="614680"/>
                    </a:cubicBezTo>
                    <a:cubicBezTo>
                      <a:pt x="1236264" y="608917"/>
                      <a:pt x="1244332" y="606324"/>
                      <a:pt x="1252688" y="603730"/>
                    </a:cubicBezTo>
                    <a:cubicBezTo>
                      <a:pt x="1284383" y="594510"/>
                      <a:pt x="1316078" y="585001"/>
                      <a:pt x="1348062" y="575781"/>
                    </a:cubicBezTo>
                    <a:cubicBezTo>
                      <a:pt x="1349502" y="575205"/>
                      <a:pt x="1350943" y="574629"/>
                      <a:pt x="1352672" y="574340"/>
                    </a:cubicBezTo>
                    <a:cubicBezTo>
                      <a:pt x="1360307" y="572756"/>
                      <a:pt x="1366358" y="572612"/>
                      <a:pt x="1371112" y="574052"/>
                    </a:cubicBezTo>
                    <a:close/>
                    <a:moveTo>
                      <a:pt x="1649165" y="485018"/>
                    </a:moveTo>
                    <a:cubicBezTo>
                      <a:pt x="1652335" y="484730"/>
                      <a:pt x="1655504" y="485306"/>
                      <a:pt x="1658674" y="486170"/>
                    </a:cubicBezTo>
                    <a:cubicBezTo>
                      <a:pt x="1668182" y="488476"/>
                      <a:pt x="1674809" y="494238"/>
                      <a:pt x="1677403" y="504035"/>
                    </a:cubicBezTo>
                    <a:cubicBezTo>
                      <a:pt x="1680284" y="514120"/>
                      <a:pt x="1677403" y="523340"/>
                      <a:pt x="1669047" y="528239"/>
                    </a:cubicBezTo>
                    <a:cubicBezTo>
                      <a:pt x="1648013" y="540628"/>
                      <a:pt x="1649453" y="557052"/>
                      <a:pt x="1655504" y="577222"/>
                    </a:cubicBezTo>
                    <a:cubicBezTo>
                      <a:pt x="1674809" y="640612"/>
                      <a:pt x="1692962" y="704579"/>
                      <a:pt x="1711691" y="768257"/>
                    </a:cubicBezTo>
                    <a:cubicBezTo>
                      <a:pt x="1713420" y="774020"/>
                      <a:pt x="1714572" y="779782"/>
                      <a:pt x="1713996" y="785833"/>
                    </a:cubicBezTo>
                    <a:cubicBezTo>
                      <a:pt x="1725810" y="826461"/>
                      <a:pt x="1737623" y="866800"/>
                      <a:pt x="1749725" y="907427"/>
                    </a:cubicBezTo>
                    <a:cubicBezTo>
                      <a:pt x="1756928" y="919529"/>
                      <a:pt x="1760386" y="933072"/>
                      <a:pt x="1763844" y="946326"/>
                    </a:cubicBezTo>
                    <a:cubicBezTo>
                      <a:pt x="1767301" y="959868"/>
                      <a:pt x="1772200" y="972258"/>
                      <a:pt x="1786607" y="978597"/>
                    </a:cubicBezTo>
                    <a:cubicBezTo>
                      <a:pt x="1790929" y="979173"/>
                      <a:pt x="1794963" y="979750"/>
                      <a:pt x="1799285" y="980038"/>
                    </a:cubicBezTo>
                    <a:cubicBezTo>
                      <a:pt x="1808505" y="980614"/>
                      <a:pt x="1815420" y="984648"/>
                      <a:pt x="1818014" y="993580"/>
                    </a:cubicBezTo>
                    <a:cubicBezTo>
                      <a:pt x="1820607" y="1002224"/>
                      <a:pt x="1819454" y="1010581"/>
                      <a:pt x="1811675" y="1017208"/>
                    </a:cubicBezTo>
                    <a:cubicBezTo>
                      <a:pt x="1806488" y="1021530"/>
                      <a:pt x="1800437" y="1024123"/>
                      <a:pt x="1793810" y="1026140"/>
                    </a:cubicBezTo>
                    <a:cubicBezTo>
                      <a:pt x="1770183" y="1033055"/>
                      <a:pt x="1746556" y="1040259"/>
                      <a:pt x="1722928" y="1047462"/>
                    </a:cubicBezTo>
                    <a:cubicBezTo>
                      <a:pt x="1708809" y="1056106"/>
                      <a:pt x="1693538" y="1060140"/>
                      <a:pt x="1677114" y="1060717"/>
                    </a:cubicBezTo>
                    <a:cubicBezTo>
                      <a:pt x="1652335" y="1067920"/>
                      <a:pt x="1627267" y="1075123"/>
                      <a:pt x="1602487" y="1082327"/>
                    </a:cubicBezTo>
                    <a:cubicBezTo>
                      <a:pt x="1595571" y="1084344"/>
                      <a:pt x="1588944" y="1086073"/>
                      <a:pt x="1581453" y="1085208"/>
                    </a:cubicBezTo>
                    <a:cubicBezTo>
                      <a:pt x="1571944" y="1084056"/>
                      <a:pt x="1565605" y="1079157"/>
                      <a:pt x="1562724" y="1069649"/>
                    </a:cubicBezTo>
                    <a:cubicBezTo>
                      <a:pt x="1559554" y="1060428"/>
                      <a:pt x="1563300" y="1053513"/>
                      <a:pt x="1569927" y="1047462"/>
                    </a:cubicBezTo>
                    <a:cubicBezTo>
                      <a:pt x="1572520" y="1045157"/>
                      <a:pt x="1575690" y="1043428"/>
                      <a:pt x="1578571" y="1041123"/>
                    </a:cubicBezTo>
                    <a:cubicBezTo>
                      <a:pt x="1591826" y="1031326"/>
                      <a:pt x="1592978" y="1026716"/>
                      <a:pt x="1588368" y="1009716"/>
                    </a:cubicBezTo>
                    <a:cubicBezTo>
                      <a:pt x="1582605" y="1005106"/>
                      <a:pt x="1582317" y="998191"/>
                      <a:pt x="1580300" y="992140"/>
                    </a:cubicBezTo>
                    <a:cubicBezTo>
                      <a:pt x="1575978" y="977445"/>
                      <a:pt x="1571080" y="963326"/>
                      <a:pt x="1567622" y="948343"/>
                    </a:cubicBezTo>
                    <a:cubicBezTo>
                      <a:pt x="1546012" y="876020"/>
                      <a:pt x="1525266" y="803698"/>
                      <a:pt x="1503656" y="731375"/>
                    </a:cubicBezTo>
                    <a:cubicBezTo>
                      <a:pt x="1492995" y="693341"/>
                      <a:pt x="1481469" y="655307"/>
                      <a:pt x="1470520" y="617273"/>
                    </a:cubicBezTo>
                    <a:cubicBezTo>
                      <a:pt x="1467062" y="605748"/>
                      <a:pt x="1460723" y="598544"/>
                      <a:pt x="1448333" y="597680"/>
                    </a:cubicBezTo>
                    <a:cubicBezTo>
                      <a:pt x="1444299" y="597392"/>
                      <a:pt x="1440554" y="596527"/>
                      <a:pt x="1436520" y="595663"/>
                    </a:cubicBezTo>
                    <a:cubicBezTo>
                      <a:pt x="1424706" y="593358"/>
                      <a:pt x="1418079" y="587019"/>
                      <a:pt x="1416350" y="576934"/>
                    </a:cubicBezTo>
                    <a:cubicBezTo>
                      <a:pt x="1414621" y="566273"/>
                      <a:pt x="1418943" y="556476"/>
                      <a:pt x="1428452" y="550425"/>
                    </a:cubicBezTo>
                    <a:cubicBezTo>
                      <a:pt x="1434791" y="546391"/>
                      <a:pt x="1442282" y="544374"/>
                      <a:pt x="1449486" y="542357"/>
                    </a:cubicBezTo>
                    <a:cubicBezTo>
                      <a:pt x="1511435" y="523917"/>
                      <a:pt x="1573385" y="506340"/>
                      <a:pt x="1635334" y="487899"/>
                    </a:cubicBezTo>
                    <a:cubicBezTo>
                      <a:pt x="1639945" y="486459"/>
                      <a:pt x="1644555" y="485306"/>
                      <a:pt x="1649165" y="485018"/>
                    </a:cubicBezTo>
                    <a:close/>
                    <a:moveTo>
                      <a:pt x="2584927" y="448172"/>
                    </a:moveTo>
                    <a:cubicBezTo>
                      <a:pt x="2586764" y="449000"/>
                      <a:pt x="2588061" y="451017"/>
                      <a:pt x="2589069" y="454763"/>
                    </a:cubicBezTo>
                    <a:cubicBezTo>
                      <a:pt x="2597425" y="485594"/>
                      <a:pt x="2606645" y="516137"/>
                      <a:pt x="2615866" y="546679"/>
                    </a:cubicBezTo>
                    <a:cubicBezTo>
                      <a:pt x="2617594" y="552442"/>
                      <a:pt x="2618171" y="555611"/>
                      <a:pt x="2610679" y="557628"/>
                    </a:cubicBezTo>
                    <a:cubicBezTo>
                      <a:pt x="2532018" y="580391"/>
                      <a:pt x="2453356" y="603442"/>
                      <a:pt x="2374695" y="626493"/>
                    </a:cubicBezTo>
                    <a:cubicBezTo>
                      <a:pt x="2373542" y="626781"/>
                      <a:pt x="2372390" y="627358"/>
                      <a:pt x="2371525" y="627934"/>
                    </a:cubicBezTo>
                    <a:cubicBezTo>
                      <a:pt x="2366915" y="629375"/>
                      <a:pt x="2367203" y="625341"/>
                      <a:pt x="2366339" y="623324"/>
                    </a:cubicBezTo>
                    <a:cubicBezTo>
                      <a:pt x="2356542" y="590764"/>
                      <a:pt x="2347321" y="558205"/>
                      <a:pt x="2337525" y="525933"/>
                    </a:cubicBezTo>
                    <a:cubicBezTo>
                      <a:pt x="2335220" y="517865"/>
                      <a:pt x="2340983" y="518442"/>
                      <a:pt x="2345017" y="517289"/>
                    </a:cubicBezTo>
                    <a:cubicBezTo>
                      <a:pt x="2410136" y="497984"/>
                      <a:pt x="2474966" y="479255"/>
                      <a:pt x="2540085" y="459950"/>
                    </a:cubicBezTo>
                    <a:cubicBezTo>
                      <a:pt x="2552476" y="456204"/>
                      <a:pt x="2565154" y="452746"/>
                      <a:pt x="2577543" y="448712"/>
                    </a:cubicBezTo>
                    <a:cubicBezTo>
                      <a:pt x="2580713" y="447703"/>
                      <a:pt x="2583090" y="447343"/>
                      <a:pt x="2584927" y="448172"/>
                    </a:cubicBezTo>
                    <a:close/>
                    <a:moveTo>
                      <a:pt x="1932872" y="406356"/>
                    </a:moveTo>
                    <a:cubicBezTo>
                      <a:pt x="1935790" y="407797"/>
                      <a:pt x="1937591" y="411255"/>
                      <a:pt x="1938167" y="417018"/>
                    </a:cubicBezTo>
                    <a:cubicBezTo>
                      <a:pt x="1945082" y="423645"/>
                      <a:pt x="1945946" y="433153"/>
                      <a:pt x="1948540" y="441797"/>
                    </a:cubicBezTo>
                    <a:cubicBezTo>
                      <a:pt x="1954302" y="461967"/>
                      <a:pt x="1960641" y="481848"/>
                      <a:pt x="1966404" y="502018"/>
                    </a:cubicBezTo>
                    <a:cubicBezTo>
                      <a:pt x="1969286" y="514120"/>
                      <a:pt x="1973608" y="525357"/>
                      <a:pt x="1976777" y="537459"/>
                    </a:cubicBezTo>
                    <a:cubicBezTo>
                      <a:pt x="1981099" y="554171"/>
                      <a:pt x="1986862" y="570883"/>
                      <a:pt x="1991184" y="587595"/>
                    </a:cubicBezTo>
                    <a:cubicBezTo>
                      <a:pt x="2015964" y="670867"/>
                      <a:pt x="2040167" y="754138"/>
                      <a:pt x="2064371" y="837410"/>
                    </a:cubicBezTo>
                    <a:cubicBezTo>
                      <a:pt x="2073303" y="866512"/>
                      <a:pt x="2081371" y="895614"/>
                      <a:pt x="2090015" y="925004"/>
                    </a:cubicBezTo>
                    <a:cubicBezTo>
                      <a:pt x="2094049" y="939123"/>
                      <a:pt x="2092608" y="942004"/>
                      <a:pt x="2079354" y="946038"/>
                    </a:cubicBezTo>
                    <a:cubicBezTo>
                      <a:pt x="2055727" y="953529"/>
                      <a:pt x="2031523" y="960157"/>
                      <a:pt x="2007896" y="967360"/>
                    </a:cubicBezTo>
                    <a:cubicBezTo>
                      <a:pt x="2003286" y="968224"/>
                      <a:pt x="1998676" y="969377"/>
                      <a:pt x="1993777" y="967936"/>
                    </a:cubicBezTo>
                    <a:cubicBezTo>
                      <a:pt x="1966404" y="975716"/>
                      <a:pt x="1939319" y="983496"/>
                      <a:pt x="1911946" y="991275"/>
                    </a:cubicBezTo>
                    <a:cubicBezTo>
                      <a:pt x="1904455" y="993580"/>
                      <a:pt x="1896675" y="995309"/>
                      <a:pt x="1888607" y="995309"/>
                    </a:cubicBezTo>
                    <a:cubicBezTo>
                      <a:pt x="1879099" y="995309"/>
                      <a:pt x="1872759" y="990987"/>
                      <a:pt x="1869590" y="982055"/>
                    </a:cubicBezTo>
                    <a:cubicBezTo>
                      <a:pt x="1866420" y="973699"/>
                      <a:pt x="1867573" y="965631"/>
                      <a:pt x="1874200" y="959004"/>
                    </a:cubicBezTo>
                    <a:cubicBezTo>
                      <a:pt x="1874776" y="958428"/>
                      <a:pt x="1875353" y="957851"/>
                      <a:pt x="1875929" y="957563"/>
                    </a:cubicBezTo>
                    <a:cubicBezTo>
                      <a:pt x="1900421" y="945750"/>
                      <a:pt x="1898980" y="927597"/>
                      <a:pt x="1890624" y="905987"/>
                    </a:cubicBezTo>
                    <a:cubicBezTo>
                      <a:pt x="1883709" y="887546"/>
                      <a:pt x="1878810" y="868529"/>
                      <a:pt x="1873048" y="849800"/>
                    </a:cubicBezTo>
                    <a:cubicBezTo>
                      <a:pt x="1862098" y="831935"/>
                      <a:pt x="1859793" y="811189"/>
                      <a:pt x="1853454" y="791884"/>
                    </a:cubicBezTo>
                    <a:cubicBezTo>
                      <a:pt x="1845963" y="768545"/>
                      <a:pt x="1839624" y="744918"/>
                      <a:pt x="1832708" y="721579"/>
                    </a:cubicBezTo>
                    <a:cubicBezTo>
                      <a:pt x="1823488" y="689019"/>
                      <a:pt x="1813979" y="656460"/>
                      <a:pt x="1804183" y="623900"/>
                    </a:cubicBezTo>
                    <a:cubicBezTo>
                      <a:pt x="1795250" y="591917"/>
                      <a:pt x="1785454" y="560222"/>
                      <a:pt x="1776233" y="528239"/>
                    </a:cubicBezTo>
                    <a:cubicBezTo>
                      <a:pt x="1772488" y="514984"/>
                      <a:pt x="1764708" y="506916"/>
                      <a:pt x="1750013" y="507781"/>
                    </a:cubicBezTo>
                    <a:cubicBezTo>
                      <a:pt x="1747996" y="507781"/>
                      <a:pt x="1745979" y="507493"/>
                      <a:pt x="1744250" y="507204"/>
                    </a:cubicBezTo>
                    <a:cubicBezTo>
                      <a:pt x="1730996" y="504611"/>
                      <a:pt x="1722640" y="496832"/>
                      <a:pt x="1720911" y="485306"/>
                    </a:cubicBezTo>
                    <a:cubicBezTo>
                      <a:pt x="1719470" y="475221"/>
                      <a:pt x="1726097" y="464848"/>
                      <a:pt x="1737911" y="459374"/>
                    </a:cubicBezTo>
                    <a:cubicBezTo>
                      <a:pt x="1748572" y="454187"/>
                      <a:pt x="1760386" y="451306"/>
                      <a:pt x="1771623" y="448136"/>
                    </a:cubicBezTo>
                    <a:cubicBezTo>
                      <a:pt x="1804759" y="438628"/>
                      <a:pt x="1837607" y="428831"/>
                      <a:pt x="1870742" y="419323"/>
                    </a:cubicBezTo>
                    <a:cubicBezTo>
                      <a:pt x="1883709" y="416153"/>
                      <a:pt x="1895810" y="409526"/>
                      <a:pt x="1909641" y="410967"/>
                    </a:cubicBezTo>
                    <a:cubicBezTo>
                      <a:pt x="1913387" y="409814"/>
                      <a:pt x="1917421" y="409238"/>
                      <a:pt x="1920878" y="407797"/>
                    </a:cubicBezTo>
                    <a:cubicBezTo>
                      <a:pt x="1925921" y="405492"/>
                      <a:pt x="1929955" y="404916"/>
                      <a:pt x="1932872" y="406356"/>
                    </a:cubicBezTo>
                    <a:close/>
                    <a:moveTo>
                      <a:pt x="3263727" y="398322"/>
                    </a:moveTo>
                    <a:cubicBezTo>
                      <a:pt x="3273014" y="396903"/>
                      <a:pt x="3282487" y="397088"/>
                      <a:pt x="3291611" y="399023"/>
                    </a:cubicBezTo>
                    <a:cubicBezTo>
                      <a:pt x="3303776" y="401603"/>
                      <a:pt x="3315320" y="407293"/>
                      <a:pt x="3324972" y="416442"/>
                    </a:cubicBezTo>
                    <a:cubicBezTo>
                      <a:pt x="3344277" y="434883"/>
                      <a:pt x="3349463" y="457357"/>
                      <a:pt x="3341684" y="482713"/>
                    </a:cubicBezTo>
                    <a:cubicBezTo>
                      <a:pt x="3340243" y="487612"/>
                      <a:pt x="3337650" y="492222"/>
                      <a:pt x="3335921" y="496832"/>
                    </a:cubicBezTo>
                    <a:cubicBezTo>
                      <a:pt x="3327853" y="518154"/>
                      <a:pt x="3337650" y="532561"/>
                      <a:pt x="3360989" y="530256"/>
                    </a:cubicBezTo>
                    <a:cubicBezTo>
                      <a:pt x="3370786" y="529104"/>
                      <a:pt x="3374243" y="531985"/>
                      <a:pt x="3375684" y="540629"/>
                    </a:cubicBezTo>
                    <a:cubicBezTo>
                      <a:pt x="3376548" y="544951"/>
                      <a:pt x="3377701" y="548985"/>
                      <a:pt x="3379142" y="553307"/>
                    </a:cubicBezTo>
                    <a:cubicBezTo>
                      <a:pt x="3384905" y="572612"/>
                      <a:pt x="3384905" y="572900"/>
                      <a:pt x="3365599" y="575494"/>
                    </a:cubicBezTo>
                    <a:cubicBezTo>
                      <a:pt x="3354074" y="577222"/>
                      <a:pt x="3343125" y="577799"/>
                      <a:pt x="3334769" y="578663"/>
                    </a:cubicBezTo>
                    <a:cubicBezTo>
                      <a:pt x="3298751" y="577222"/>
                      <a:pt x="3266768" y="571460"/>
                      <a:pt x="3238531" y="552443"/>
                    </a:cubicBezTo>
                    <a:cubicBezTo>
                      <a:pt x="3202801" y="528527"/>
                      <a:pt x="3186954" y="487035"/>
                      <a:pt x="3199632" y="450442"/>
                    </a:cubicBezTo>
                    <a:cubicBezTo>
                      <a:pt x="3209681" y="421268"/>
                      <a:pt x="3235866" y="402578"/>
                      <a:pt x="3263727" y="398322"/>
                    </a:cubicBezTo>
                    <a:close/>
                    <a:moveTo>
                      <a:pt x="2038511" y="383661"/>
                    </a:moveTo>
                    <a:cubicBezTo>
                      <a:pt x="2098317" y="383647"/>
                      <a:pt x="2151316" y="406933"/>
                      <a:pt x="2196050" y="455340"/>
                    </a:cubicBezTo>
                    <a:cubicBezTo>
                      <a:pt x="2255694" y="519882"/>
                      <a:pt x="2288254" y="597680"/>
                      <a:pt x="2293440" y="685273"/>
                    </a:cubicBezTo>
                    <a:cubicBezTo>
                      <a:pt x="2299491" y="787274"/>
                      <a:pt x="2238694" y="882359"/>
                      <a:pt x="2144473" y="921834"/>
                    </a:cubicBezTo>
                    <a:cubicBezTo>
                      <a:pt x="2141880" y="922987"/>
                      <a:pt x="2139575" y="924427"/>
                      <a:pt x="2137270" y="925580"/>
                    </a:cubicBezTo>
                    <a:cubicBezTo>
                      <a:pt x="2127185" y="933071"/>
                      <a:pt x="2121422" y="931631"/>
                      <a:pt x="2116812" y="920393"/>
                    </a:cubicBezTo>
                    <a:cubicBezTo>
                      <a:pt x="2115083" y="916359"/>
                      <a:pt x="2113931" y="912326"/>
                      <a:pt x="2112778" y="908004"/>
                    </a:cubicBezTo>
                    <a:cubicBezTo>
                      <a:pt x="2107304" y="888122"/>
                      <a:pt x="2107304" y="888122"/>
                      <a:pt x="2123439" y="876020"/>
                    </a:cubicBezTo>
                    <a:cubicBezTo>
                      <a:pt x="2136693" y="863630"/>
                      <a:pt x="2140439" y="847783"/>
                      <a:pt x="2137846" y="830495"/>
                    </a:cubicBezTo>
                    <a:cubicBezTo>
                      <a:pt x="2133524" y="801393"/>
                      <a:pt x="2123439" y="773731"/>
                      <a:pt x="2115083" y="745782"/>
                    </a:cubicBezTo>
                    <a:cubicBezTo>
                      <a:pt x="2089727" y="659629"/>
                      <a:pt x="2065235" y="573188"/>
                      <a:pt x="2038727" y="487323"/>
                    </a:cubicBezTo>
                    <a:cubicBezTo>
                      <a:pt x="2034405" y="473204"/>
                      <a:pt x="2028642" y="459950"/>
                      <a:pt x="2017116" y="449865"/>
                    </a:cubicBezTo>
                    <a:cubicBezTo>
                      <a:pt x="2009625" y="443238"/>
                      <a:pt x="2001557" y="439204"/>
                      <a:pt x="1991472" y="439492"/>
                    </a:cubicBezTo>
                    <a:cubicBezTo>
                      <a:pt x="1984557" y="438628"/>
                      <a:pt x="1975625" y="440933"/>
                      <a:pt x="1975336" y="429407"/>
                    </a:cubicBezTo>
                    <a:cubicBezTo>
                      <a:pt x="1973320" y="421339"/>
                      <a:pt x="1971879" y="413272"/>
                      <a:pt x="1968709" y="405492"/>
                    </a:cubicBezTo>
                    <a:cubicBezTo>
                      <a:pt x="1965252" y="396560"/>
                      <a:pt x="1967557" y="393390"/>
                      <a:pt x="1976489" y="391373"/>
                    </a:cubicBezTo>
                    <a:cubicBezTo>
                      <a:pt x="1997883" y="386258"/>
                      <a:pt x="2018575" y="383665"/>
                      <a:pt x="2038511" y="383661"/>
                    </a:cubicBezTo>
                    <a:close/>
                    <a:moveTo>
                      <a:pt x="2876558" y="129421"/>
                    </a:moveTo>
                    <a:cubicBezTo>
                      <a:pt x="2878503" y="130249"/>
                      <a:pt x="2879800" y="132482"/>
                      <a:pt x="2880952" y="136660"/>
                    </a:cubicBezTo>
                    <a:cubicBezTo>
                      <a:pt x="2908325" y="231457"/>
                      <a:pt x="2936275" y="325966"/>
                      <a:pt x="2963936" y="420763"/>
                    </a:cubicBezTo>
                    <a:cubicBezTo>
                      <a:pt x="2980360" y="477238"/>
                      <a:pt x="2997072" y="533425"/>
                      <a:pt x="3013784" y="589900"/>
                    </a:cubicBezTo>
                    <a:cubicBezTo>
                      <a:pt x="3019258" y="608629"/>
                      <a:pt x="3023292" y="611799"/>
                      <a:pt x="3043173" y="612087"/>
                    </a:cubicBezTo>
                    <a:cubicBezTo>
                      <a:pt x="3047784" y="612087"/>
                      <a:pt x="3052682" y="611799"/>
                      <a:pt x="3057292" y="611799"/>
                    </a:cubicBezTo>
                    <a:cubicBezTo>
                      <a:pt x="3065936" y="611510"/>
                      <a:pt x="3071699" y="615544"/>
                      <a:pt x="3075157" y="623324"/>
                    </a:cubicBezTo>
                    <a:cubicBezTo>
                      <a:pt x="3078903" y="631680"/>
                      <a:pt x="3078326" y="639460"/>
                      <a:pt x="3071699" y="646375"/>
                    </a:cubicBezTo>
                    <a:cubicBezTo>
                      <a:pt x="3066801" y="651273"/>
                      <a:pt x="3060750" y="654443"/>
                      <a:pt x="3054411" y="656460"/>
                    </a:cubicBezTo>
                    <a:cubicBezTo>
                      <a:pt x="2991309" y="675189"/>
                      <a:pt x="2927919" y="693630"/>
                      <a:pt x="2864817" y="712070"/>
                    </a:cubicBezTo>
                    <a:cubicBezTo>
                      <a:pt x="2861071" y="712935"/>
                      <a:pt x="2856749" y="713223"/>
                      <a:pt x="2853579" y="713799"/>
                    </a:cubicBezTo>
                    <a:cubicBezTo>
                      <a:pt x="2841477" y="713511"/>
                      <a:pt x="2832833" y="709477"/>
                      <a:pt x="2829664" y="698240"/>
                    </a:cubicBezTo>
                    <a:cubicBezTo>
                      <a:pt x="2826494" y="687002"/>
                      <a:pt x="2830816" y="678935"/>
                      <a:pt x="2840901" y="673748"/>
                    </a:cubicBezTo>
                    <a:cubicBezTo>
                      <a:pt x="2842342" y="673172"/>
                      <a:pt x="2843783" y="672307"/>
                      <a:pt x="2844935" y="671443"/>
                    </a:cubicBezTo>
                    <a:cubicBezTo>
                      <a:pt x="2867410" y="657612"/>
                      <a:pt x="2868850" y="654155"/>
                      <a:pt x="2861359" y="629087"/>
                    </a:cubicBezTo>
                    <a:cubicBezTo>
                      <a:pt x="2825918" y="508357"/>
                      <a:pt x="2790477" y="387628"/>
                      <a:pt x="2755036" y="266898"/>
                    </a:cubicBezTo>
                    <a:cubicBezTo>
                      <a:pt x="2754172" y="263441"/>
                      <a:pt x="2753019" y="259983"/>
                      <a:pt x="2751867" y="256813"/>
                    </a:cubicBezTo>
                    <a:cubicBezTo>
                      <a:pt x="2742934" y="231457"/>
                      <a:pt x="2740341" y="229728"/>
                      <a:pt x="2713545" y="231745"/>
                    </a:cubicBezTo>
                    <a:cubicBezTo>
                      <a:pt x="2696256" y="232898"/>
                      <a:pt x="2689917" y="229440"/>
                      <a:pt x="2686748" y="217050"/>
                    </a:cubicBezTo>
                    <a:cubicBezTo>
                      <a:pt x="2683866" y="205237"/>
                      <a:pt x="2689629" y="194576"/>
                      <a:pt x="2704612" y="188813"/>
                    </a:cubicBezTo>
                    <a:cubicBezTo>
                      <a:pt x="2739189" y="175847"/>
                      <a:pt x="2774342" y="163745"/>
                      <a:pt x="2809206" y="151355"/>
                    </a:cubicBezTo>
                    <a:cubicBezTo>
                      <a:pt x="2828800" y="144440"/>
                      <a:pt x="2848969" y="137813"/>
                      <a:pt x="2868274" y="130609"/>
                    </a:cubicBezTo>
                    <a:cubicBezTo>
                      <a:pt x="2872020" y="129168"/>
                      <a:pt x="2874613" y="128592"/>
                      <a:pt x="2876558" y="129421"/>
                    </a:cubicBezTo>
                    <a:close/>
                    <a:moveTo>
                      <a:pt x="3220090" y="16975"/>
                    </a:moveTo>
                    <a:cubicBezTo>
                      <a:pt x="3222323" y="17947"/>
                      <a:pt x="3223692" y="20396"/>
                      <a:pt x="3224124" y="25151"/>
                    </a:cubicBezTo>
                    <a:cubicBezTo>
                      <a:pt x="3224700" y="29473"/>
                      <a:pt x="3226429" y="33507"/>
                      <a:pt x="3227870" y="37541"/>
                    </a:cubicBezTo>
                    <a:cubicBezTo>
                      <a:pt x="3232192" y="48778"/>
                      <a:pt x="3235073" y="58863"/>
                      <a:pt x="3221242" y="67219"/>
                    </a:cubicBezTo>
                    <a:cubicBezTo>
                      <a:pt x="3213174" y="72117"/>
                      <a:pt x="3212022" y="82490"/>
                      <a:pt x="3214615" y="91999"/>
                    </a:cubicBezTo>
                    <a:cubicBezTo>
                      <a:pt x="3230463" y="146169"/>
                      <a:pt x="3246022" y="200338"/>
                      <a:pt x="3262446" y="254220"/>
                    </a:cubicBezTo>
                    <a:cubicBezTo>
                      <a:pt x="3271090" y="283034"/>
                      <a:pt x="3294429" y="288797"/>
                      <a:pt x="3316904" y="268627"/>
                    </a:cubicBezTo>
                    <a:cubicBezTo>
                      <a:pt x="3319497" y="266322"/>
                      <a:pt x="3321514" y="263152"/>
                      <a:pt x="3325548" y="258542"/>
                    </a:cubicBezTo>
                    <a:cubicBezTo>
                      <a:pt x="3329870" y="273237"/>
                      <a:pt x="3333616" y="285339"/>
                      <a:pt x="3337362" y="297153"/>
                    </a:cubicBezTo>
                    <a:cubicBezTo>
                      <a:pt x="3338226" y="300322"/>
                      <a:pt x="3337650" y="303203"/>
                      <a:pt x="3335057" y="305797"/>
                    </a:cubicBezTo>
                    <a:cubicBezTo>
                      <a:pt x="3268497" y="374085"/>
                      <a:pt x="3169378" y="372068"/>
                      <a:pt x="3114055" y="302915"/>
                    </a:cubicBezTo>
                    <a:cubicBezTo>
                      <a:pt x="3086682" y="268915"/>
                      <a:pt x="3077750" y="228576"/>
                      <a:pt x="3079190" y="186220"/>
                    </a:cubicBezTo>
                    <a:cubicBezTo>
                      <a:pt x="3082072" y="105541"/>
                      <a:pt x="3133360" y="40710"/>
                      <a:pt x="3210869" y="17659"/>
                    </a:cubicBezTo>
                    <a:cubicBezTo>
                      <a:pt x="3214759" y="16506"/>
                      <a:pt x="3217857" y="16002"/>
                      <a:pt x="3220090" y="16975"/>
                    </a:cubicBezTo>
                    <a:close/>
                    <a:moveTo>
                      <a:pt x="3325513" y="2604"/>
                    </a:moveTo>
                    <a:cubicBezTo>
                      <a:pt x="3345719" y="6133"/>
                      <a:pt x="3365312" y="13193"/>
                      <a:pt x="3384329" y="23422"/>
                    </a:cubicBezTo>
                    <a:cubicBezTo>
                      <a:pt x="3440227" y="53388"/>
                      <a:pt x="3477973" y="100066"/>
                      <a:pt x="3506499" y="155389"/>
                    </a:cubicBezTo>
                    <a:cubicBezTo>
                      <a:pt x="3535889" y="212152"/>
                      <a:pt x="3549720" y="272372"/>
                      <a:pt x="3550584" y="341525"/>
                    </a:cubicBezTo>
                    <a:cubicBezTo>
                      <a:pt x="3549720" y="396272"/>
                      <a:pt x="3537042" y="453323"/>
                      <a:pt x="3499296" y="502594"/>
                    </a:cubicBezTo>
                    <a:cubicBezTo>
                      <a:pt x="3479702" y="528239"/>
                      <a:pt x="3454922" y="547256"/>
                      <a:pt x="3424668" y="559357"/>
                    </a:cubicBezTo>
                    <a:cubicBezTo>
                      <a:pt x="3418329" y="561951"/>
                      <a:pt x="3414583" y="561662"/>
                      <a:pt x="3413431" y="553883"/>
                    </a:cubicBezTo>
                    <a:cubicBezTo>
                      <a:pt x="3413142" y="550425"/>
                      <a:pt x="3411702" y="546967"/>
                      <a:pt x="3410549" y="543510"/>
                    </a:cubicBezTo>
                    <a:cubicBezTo>
                      <a:pt x="3405363" y="529967"/>
                      <a:pt x="3402482" y="519018"/>
                      <a:pt x="3418041" y="508069"/>
                    </a:cubicBezTo>
                    <a:cubicBezTo>
                      <a:pt x="3432736" y="497696"/>
                      <a:pt x="3433312" y="478679"/>
                      <a:pt x="3428990" y="462255"/>
                    </a:cubicBezTo>
                    <a:cubicBezTo>
                      <a:pt x="3415736" y="413560"/>
                      <a:pt x="3401617" y="365153"/>
                      <a:pt x="3387498" y="316746"/>
                    </a:cubicBezTo>
                    <a:cubicBezTo>
                      <a:pt x="3366464" y="244135"/>
                      <a:pt x="3344854" y="171524"/>
                      <a:pt x="3323532" y="98626"/>
                    </a:cubicBezTo>
                    <a:cubicBezTo>
                      <a:pt x="3320939" y="89405"/>
                      <a:pt x="3317769" y="80473"/>
                      <a:pt x="3313159" y="72405"/>
                    </a:cubicBezTo>
                    <a:cubicBezTo>
                      <a:pt x="3304227" y="56269"/>
                      <a:pt x="3290684" y="47049"/>
                      <a:pt x="3271955" y="47049"/>
                    </a:cubicBezTo>
                    <a:cubicBezTo>
                      <a:pt x="3266480" y="47049"/>
                      <a:pt x="3264464" y="45608"/>
                      <a:pt x="3263311" y="40422"/>
                    </a:cubicBezTo>
                    <a:cubicBezTo>
                      <a:pt x="3261294" y="32066"/>
                      <a:pt x="3259277" y="23422"/>
                      <a:pt x="3255820" y="15354"/>
                    </a:cubicBezTo>
                    <a:cubicBezTo>
                      <a:pt x="3252362" y="6998"/>
                      <a:pt x="3254955" y="4405"/>
                      <a:pt x="3263023" y="2964"/>
                    </a:cubicBezTo>
                    <a:cubicBezTo>
                      <a:pt x="3284490" y="-926"/>
                      <a:pt x="3305308" y="-926"/>
                      <a:pt x="3325513" y="2604"/>
                    </a:cubicBezTo>
                    <a:close/>
                  </a:path>
                </a:pathLst>
              </a:custGeom>
              <a:solidFill>
                <a:srgbClr val="C00000"/>
              </a:solidFill>
              <a:ln w="28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350" dirty="0"/>
              </a:p>
            </p:txBody>
          </p:sp>
        </p:grpSp>
        <p:sp>
          <p:nvSpPr>
            <p:cNvPr id="117" name="TextBox 18">
              <a:extLst>
                <a:ext uri="{FF2B5EF4-FFF2-40B4-BE49-F238E27FC236}">
                  <a16:creationId xmlns:a16="http://schemas.microsoft.com/office/drawing/2014/main" id="{1F171982-1D07-4CAE-A92A-1B5E5FFAA174}"/>
                </a:ext>
              </a:extLst>
            </p:cNvPr>
            <p:cNvSpPr txBox="1"/>
            <p:nvPr/>
          </p:nvSpPr>
          <p:spPr>
            <a:xfrm>
              <a:off x="1719464" y="5253494"/>
              <a:ext cx="2116462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fr-FR" sz="1050" dirty="0"/>
                <a:t>Baisse de la demande Mondiale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fr-FR" sz="1050" dirty="0"/>
                <a:t>Rupture des chaines logistique</a:t>
              </a:r>
            </a:p>
          </p:txBody>
        </p:sp>
      </p:grpSp>
      <p:sp>
        <p:nvSpPr>
          <p:cNvPr id="120" name="Rectangle 119"/>
          <p:cNvSpPr/>
          <p:nvPr/>
        </p:nvSpPr>
        <p:spPr>
          <a:xfrm>
            <a:off x="25616" y="574651"/>
            <a:ext cx="209182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600" b="1" u="sng" dirty="0">
                <a:latin typeface="Gill Sans"/>
              </a:rPr>
              <a:t>Contexte National</a:t>
            </a:r>
            <a:endParaRPr lang="ar-MA" sz="1600" u="sng" dirty="0">
              <a:latin typeface="Arial" pitchFamily="34" charset="0"/>
            </a:endParaRPr>
          </a:p>
        </p:txBody>
      </p:sp>
      <p:grpSp>
        <p:nvGrpSpPr>
          <p:cNvPr id="121" name="Groupe 120">
            <a:extLst>
              <a:ext uri="{FF2B5EF4-FFF2-40B4-BE49-F238E27FC236}">
                <a16:creationId xmlns:a16="http://schemas.microsoft.com/office/drawing/2014/main" id="{B41217DC-43C3-44CE-8938-2AF7E3BC45E3}"/>
              </a:ext>
            </a:extLst>
          </p:cNvPr>
          <p:cNvGrpSpPr/>
          <p:nvPr/>
        </p:nvGrpSpPr>
        <p:grpSpPr>
          <a:xfrm>
            <a:off x="7574638" y="3896113"/>
            <a:ext cx="1125753" cy="969868"/>
            <a:chOff x="9535763" y="256388"/>
            <a:chExt cx="3143720" cy="3738381"/>
          </a:xfrm>
        </p:grpSpPr>
        <p:sp>
          <p:nvSpPr>
            <p:cNvPr id="122" name="Freeform: Shape 51">
              <a:extLst>
                <a:ext uri="{FF2B5EF4-FFF2-40B4-BE49-F238E27FC236}">
                  <a16:creationId xmlns:a16="http://schemas.microsoft.com/office/drawing/2014/main" id="{22514CF1-0D20-47CB-BEAF-2C2FC30FF464}"/>
                </a:ext>
              </a:extLst>
            </p:cNvPr>
            <p:cNvSpPr/>
            <p:nvPr/>
          </p:nvSpPr>
          <p:spPr>
            <a:xfrm>
              <a:off x="10426502" y="256388"/>
              <a:ext cx="2252981" cy="3738380"/>
            </a:xfrm>
            <a:custGeom>
              <a:avLst/>
              <a:gdLst>
                <a:gd name="connsiteX0" fmla="*/ 1643061 w 2067308"/>
                <a:gd name="connsiteY0" fmla="*/ 0 h 4011616"/>
                <a:gd name="connsiteX1" fmla="*/ 2067308 w 2067308"/>
                <a:gd name="connsiteY1" fmla="*/ 514773 h 4011616"/>
                <a:gd name="connsiteX2" fmla="*/ 1771757 w 2067308"/>
                <a:gd name="connsiteY2" fmla="*/ 514773 h 4011616"/>
                <a:gd name="connsiteX3" fmla="*/ 1006648 w 2067308"/>
                <a:gd name="connsiteY3" fmla="*/ 2792848 h 4011616"/>
                <a:gd name="connsiteX4" fmla="*/ 1006406 w 2067308"/>
                <a:gd name="connsiteY4" fmla="*/ 2792848 h 4011616"/>
                <a:gd name="connsiteX5" fmla="*/ 597073 w 2067308"/>
                <a:gd name="connsiteY5" fmla="*/ 4011616 h 4011616"/>
                <a:gd name="connsiteX6" fmla="*/ 0 w 2067308"/>
                <a:gd name="connsiteY6" fmla="*/ 4011616 h 4011616"/>
                <a:gd name="connsiteX7" fmla="*/ 818665 w 2067308"/>
                <a:gd name="connsiteY7" fmla="*/ 1574080 h 4011616"/>
                <a:gd name="connsiteX8" fmla="*/ 818908 w 2067308"/>
                <a:gd name="connsiteY8" fmla="*/ 1574080 h 4011616"/>
                <a:gd name="connsiteX9" fmla="*/ 1174684 w 2067308"/>
                <a:gd name="connsiteY9" fmla="*/ 514773 h 4011616"/>
                <a:gd name="connsiteX10" fmla="*/ 920788 w 2067308"/>
                <a:gd name="connsiteY10" fmla="*/ 514773 h 4011616"/>
                <a:gd name="connsiteX0" fmla="*/ 1643061 w 2067308"/>
                <a:gd name="connsiteY0" fmla="*/ 0 h 4011616"/>
                <a:gd name="connsiteX1" fmla="*/ 2067308 w 2067308"/>
                <a:gd name="connsiteY1" fmla="*/ 514773 h 4011616"/>
                <a:gd name="connsiteX2" fmla="*/ 1771757 w 2067308"/>
                <a:gd name="connsiteY2" fmla="*/ 514773 h 4011616"/>
                <a:gd name="connsiteX3" fmla="*/ 1006648 w 2067308"/>
                <a:gd name="connsiteY3" fmla="*/ 2792848 h 4011616"/>
                <a:gd name="connsiteX4" fmla="*/ 597073 w 2067308"/>
                <a:gd name="connsiteY4" fmla="*/ 4011616 h 4011616"/>
                <a:gd name="connsiteX5" fmla="*/ 0 w 2067308"/>
                <a:gd name="connsiteY5" fmla="*/ 4011616 h 4011616"/>
                <a:gd name="connsiteX6" fmla="*/ 818665 w 2067308"/>
                <a:gd name="connsiteY6" fmla="*/ 1574080 h 4011616"/>
                <a:gd name="connsiteX7" fmla="*/ 818908 w 2067308"/>
                <a:gd name="connsiteY7" fmla="*/ 1574080 h 4011616"/>
                <a:gd name="connsiteX8" fmla="*/ 1174684 w 2067308"/>
                <a:gd name="connsiteY8" fmla="*/ 514773 h 4011616"/>
                <a:gd name="connsiteX9" fmla="*/ 920788 w 2067308"/>
                <a:gd name="connsiteY9" fmla="*/ 514773 h 4011616"/>
                <a:gd name="connsiteX10" fmla="*/ 1643061 w 2067308"/>
                <a:gd name="connsiteY10" fmla="*/ 0 h 4011616"/>
                <a:gd name="connsiteX0" fmla="*/ 1643061 w 2067308"/>
                <a:gd name="connsiteY0" fmla="*/ 0 h 4011616"/>
                <a:gd name="connsiteX1" fmla="*/ 2067308 w 2067308"/>
                <a:gd name="connsiteY1" fmla="*/ 514773 h 4011616"/>
                <a:gd name="connsiteX2" fmla="*/ 1771757 w 2067308"/>
                <a:gd name="connsiteY2" fmla="*/ 514773 h 4011616"/>
                <a:gd name="connsiteX3" fmla="*/ 597073 w 2067308"/>
                <a:gd name="connsiteY3" fmla="*/ 4011616 h 4011616"/>
                <a:gd name="connsiteX4" fmla="*/ 0 w 2067308"/>
                <a:gd name="connsiteY4" fmla="*/ 4011616 h 4011616"/>
                <a:gd name="connsiteX5" fmla="*/ 818665 w 2067308"/>
                <a:gd name="connsiteY5" fmla="*/ 1574080 h 4011616"/>
                <a:gd name="connsiteX6" fmla="*/ 818908 w 2067308"/>
                <a:gd name="connsiteY6" fmla="*/ 1574080 h 4011616"/>
                <a:gd name="connsiteX7" fmla="*/ 1174684 w 2067308"/>
                <a:gd name="connsiteY7" fmla="*/ 514773 h 4011616"/>
                <a:gd name="connsiteX8" fmla="*/ 920788 w 2067308"/>
                <a:gd name="connsiteY8" fmla="*/ 514773 h 4011616"/>
                <a:gd name="connsiteX9" fmla="*/ 1643061 w 2067308"/>
                <a:gd name="connsiteY9" fmla="*/ 0 h 4011616"/>
                <a:gd name="connsiteX0" fmla="*/ 1643061 w 2067308"/>
                <a:gd name="connsiteY0" fmla="*/ 0 h 4011616"/>
                <a:gd name="connsiteX1" fmla="*/ 2067308 w 2067308"/>
                <a:gd name="connsiteY1" fmla="*/ 514773 h 4011616"/>
                <a:gd name="connsiteX2" fmla="*/ 1771757 w 2067308"/>
                <a:gd name="connsiteY2" fmla="*/ 514773 h 4011616"/>
                <a:gd name="connsiteX3" fmla="*/ 597073 w 2067308"/>
                <a:gd name="connsiteY3" fmla="*/ 4011616 h 4011616"/>
                <a:gd name="connsiteX4" fmla="*/ 0 w 2067308"/>
                <a:gd name="connsiteY4" fmla="*/ 4011616 h 4011616"/>
                <a:gd name="connsiteX5" fmla="*/ 818665 w 2067308"/>
                <a:gd name="connsiteY5" fmla="*/ 1574080 h 4011616"/>
                <a:gd name="connsiteX6" fmla="*/ 1174684 w 2067308"/>
                <a:gd name="connsiteY6" fmla="*/ 514773 h 4011616"/>
                <a:gd name="connsiteX7" fmla="*/ 920788 w 2067308"/>
                <a:gd name="connsiteY7" fmla="*/ 514773 h 4011616"/>
                <a:gd name="connsiteX8" fmla="*/ 1643061 w 2067308"/>
                <a:gd name="connsiteY8" fmla="*/ 0 h 4011616"/>
                <a:gd name="connsiteX0" fmla="*/ 1643061 w 2067308"/>
                <a:gd name="connsiteY0" fmla="*/ 0 h 4011616"/>
                <a:gd name="connsiteX1" fmla="*/ 2067308 w 2067308"/>
                <a:gd name="connsiteY1" fmla="*/ 514773 h 4011616"/>
                <a:gd name="connsiteX2" fmla="*/ 1771757 w 2067308"/>
                <a:gd name="connsiteY2" fmla="*/ 514773 h 4011616"/>
                <a:gd name="connsiteX3" fmla="*/ 597073 w 2067308"/>
                <a:gd name="connsiteY3" fmla="*/ 4011616 h 4011616"/>
                <a:gd name="connsiteX4" fmla="*/ 0 w 2067308"/>
                <a:gd name="connsiteY4" fmla="*/ 4011616 h 4011616"/>
                <a:gd name="connsiteX5" fmla="*/ 1174684 w 2067308"/>
                <a:gd name="connsiteY5" fmla="*/ 514773 h 4011616"/>
                <a:gd name="connsiteX6" fmla="*/ 920788 w 2067308"/>
                <a:gd name="connsiteY6" fmla="*/ 514773 h 4011616"/>
                <a:gd name="connsiteX7" fmla="*/ 1643061 w 2067308"/>
                <a:gd name="connsiteY7" fmla="*/ 0 h 4011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67308" h="4011616">
                  <a:moveTo>
                    <a:pt x="1643061" y="0"/>
                  </a:moveTo>
                  <a:lnTo>
                    <a:pt x="2067308" y="514773"/>
                  </a:lnTo>
                  <a:lnTo>
                    <a:pt x="1771757" y="514773"/>
                  </a:lnTo>
                  <a:lnTo>
                    <a:pt x="597073" y="4011616"/>
                  </a:lnTo>
                  <a:lnTo>
                    <a:pt x="0" y="4011616"/>
                  </a:lnTo>
                  <a:lnTo>
                    <a:pt x="1174684" y="514773"/>
                  </a:lnTo>
                  <a:lnTo>
                    <a:pt x="920788" y="514773"/>
                  </a:lnTo>
                  <a:lnTo>
                    <a:pt x="1643061" y="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<a:prstTxWarp prst="textNoShape">
                <a:avLst/>
              </a:prstTxWarp>
              <a:noAutofit/>
              <a:scene3d>
                <a:camera prst="isometricOffAxis1Left"/>
                <a:lightRig rig="threePt" dir="t"/>
              </a:scene3d>
            </a:bodyPr>
            <a:lstStyle/>
            <a:p>
              <a:pPr algn="ctr"/>
              <a:endParaRPr lang="en-US" sz="1013" dirty="0"/>
            </a:p>
          </p:txBody>
        </p:sp>
        <p:sp>
          <p:nvSpPr>
            <p:cNvPr id="123" name="Freeform: Shape 33">
              <a:extLst>
                <a:ext uri="{FF2B5EF4-FFF2-40B4-BE49-F238E27FC236}">
                  <a16:creationId xmlns:a16="http://schemas.microsoft.com/office/drawing/2014/main" id="{048065BA-791D-4E1D-83B7-28E6388C1775}"/>
                </a:ext>
              </a:extLst>
            </p:cNvPr>
            <p:cNvSpPr/>
            <p:nvPr/>
          </p:nvSpPr>
          <p:spPr>
            <a:xfrm flipH="1">
              <a:off x="9535763" y="1723256"/>
              <a:ext cx="1542895" cy="2271513"/>
            </a:xfrm>
            <a:custGeom>
              <a:avLst/>
              <a:gdLst>
                <a:gd name="connsiteX0" fmla="*/ 1415741 w 1415741"/>
                <a:gd name="connsiteY0" fmla="*/ 0 h 2437536"/>
                <a:gd name="connsiteX1" fmla="*/ 818666 w 1415741"/>
                <a:gd name="connsiteY1" fmla="*/ 0 h 2437536"/>
                <a:gd name="connsiteX2" fmla="*/ 0 w 1415741"/>
                <a:gd name="connsiteY2" fmla="*/ 2437536 h 2437536"/>
                <a:gd name="connsiteX3" fmla="*/ 597075 w 1415741"/>
                <a:gd name="connsiteY3" fmla="*/ 2437536 h 2437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15741" h="2437536">
                  <a:moveTo>
                    <a:pt x="1415741" y="0"/>
                  </a:moveTo>
                  <a:lnTo>
                    <a:pt x="818666" y="0"/>
                  </a:lnTo>
                  <a:lnTo>
                    <a:pt x="0" y="2437536"/>
                  </a:lnTo>
                  <a:lnTo>
                    <a:pt x="597075" y="2437536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13" dirty="0"/>
            </a:p>
          </p:txBody>
        </p:sp>
      </p:grpSp>
      <p:sp>
        <p:nvSpPr>
          <p:cNvPr id="124" name="ZoneTexte 123">
            <a:extLst>
              <a:ext uri="{FF2B5EF4-FFF2-40B4-BE49-F238E27FC236}">
                <a16:creationId xmlns:a16="http://schemas.microsoft.com/office/drawing/2014/main" id="{B6D40CA9-5B84-4E3B-BD5C-6916FC585FC7}"/>
              </a:ext>
            </a:extLst>
          </p:cNvPr>
          <p:cNvSpPr txBox="1"/>
          <p:nvPr/>
        </p:nvSpPr>
        <p:spPr>
          <a:xfrm>
            <a:off x="7549636" y="4335169"/>
            <a:ext cx="1144277" cy="41549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1050" b="1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LANCE ECONOMIQUE</a:t>
            </a:r>
          </a:p>
        </p:txBody>
      </p:sp>
      <p:graphicFrame>
        <p:nvGraphicFramePr>
          <p:cNvPr id="125" name="Diagramme 124">
            <a:extLst>
              <a:ext uri="{FF2B5EF4-FFF2-40B4-BE49-F238E27FC236}">
                <a16:creationId xmlns:a16="http://schemas.microsoft.com/office/drawing/2014/main" id="{23CD76D3-2F61-4DBE-BBC1-9663055256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08240577"/>
              </p:ext>
            </p:extLst>
          </p:nvPr>
        </p:nvGraphicFramePr>
        <p:xfrm>
          <a:off x="1377606" y="3920669"/>
          <a:ext cx="7131593" cy="28446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6" name="Rectangle 125"/>
          <p:cNvSpPr/>
          <p:nvPr/>
        </p:nvSpPr>
        <p:spPr>
          <a:xfrm>
            <a:off x="29539" y="3652300"/>
            <a:ext cx="16286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600" b="1" u="sng" dirty="0">
                <a:latin typeface="Gill Sans"/>
              </a:rPr>
              <a:t>Chronologie</a:t>
            </a:r>
            <a:endParaRPr lang="ar-MA" sz="1600" u="sng" dirty="0">
              <a:latin typeface="Arial" pitchFamily="34" charset="0"/>
            </a:endParaRPr>
          </a:p>
        </p:txBody>
      </p:sp>
      <p:sp>
        <p:nvSpPr>
          <p:cNvPr id="127" name="TextBox 18">
            <a:extLst>
              <a:ext uri="{FF2B5EF4-FFF2-40B4-BE49-F238E27FC236}">
                <a16:creationId xmlns:a16="http://schemas.microsoft.com/office/drawing/2014/main" id="{1F171982-1D07-4CAE-A92A-1B5E5FFAA174}"/>
              </a:ext>
            </a:extLst>
          </p:cNvPr>
          <p:cNvSpPr txBox="1"/>
          <p:nvPr/>
        </p:nvSpPr>
        <p:spPr>
          <a:xfrm>
            <a:off x="1584955" y="217046"/>
            <a:ext cx="75334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/>
              <a:t>Une récession mondiale, marquée par la rupture des chaines logistiques et la baisse de la demande mondiale, a </a:t>
            </a:r>
            <a:r>
              <a:rPr lang="fr-FR" sz="1050" dirty="0" smtClean="0"/>
              <a:t>induit  </a:t>
            </a:r>
            <a:r>
              <a:rPr lang="fr-FR" sz="1050" dirty="0"/>
              <a:t>une baisse des exportations et par la suite la rupture de la chaine de valeur et l’arrêt des entreprises qui sont des TPE à 90 %</a:t>
            </a:r>
          </a:p>
        </p:txBody>
      </p:sp>
    </p:spTree>
    <p:extLst>
      <p:ext uri="{BB962C8B-B14F-4D97-AF65-F5344CB8AC3E}">
        <p14:creationId xmlns:p14="http://schemas.microsoft.com/office/powerpoint/2010/main" val="2881839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49B923A4-6442-41E8-96CC-2E186F009E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84" name="Diapositive think-cell" r:id="rId17" imgW="396" imgH="396" progId="TCLayout.ActiveDocument.1">
                  <p:embed/>
                </p:oleObj>
              </mc:Choice>
              <mc:Fallback>
                <p:oleObj name="Diapositive think-cell" r:id="rId17" imgW="396" imgH="396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49B923A4-6442-41E8-96CC-2E186F009E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9B21E34-4A1D-4119-B741-32085137F25E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CAC2A2"/>
          </a:solidFill>
          <a:ln>
            <a:noFill/>
          </a:ln>
          <a:effectLst>
            <a:outerShdw dist="53882" dir="2700000" algn="ctr" rotWithShape="0">
              <a:schemeClr val="tx1">
                <a:alpha val="40000"/>
              </a:schemeClr>
            </a:outerShdw>
          </a:effec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MA" sz="9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45" name="Flèche : pentagone 244">
            <a:extLst>
              <a:ext uri="{FF2B5EF4-FFF2-40B4-BE49-F238E27FC236}">
                <a16:creationId xmlns:a16="http://schemas.microsoft.com/office/drawing/2014/main" id="{D37E1036-8A8A-4748-A5BC-6D7124387D43}"/>
              </a:ext>
            </a:extLst>
          </p:cNvPr>
          <p:cNvSpPr/>
          <p:nvPr/>
        </p:nvSpPr>
        <p:spPr bwMode="gray">
          <a:xfrm>
            <a:off x="127265" y="670875"/>
            <a:ext cx="6104257" cy="5952261"/>
          </a:xfrm>
          <a:prstGeom prst="homePlate">
            <a:avLst>
              <a:gd name="adj" fmla="val 8146"/>
            </a:avLst>
          </a:prstGeom>
          <a:solidFill>
            <a:srgbClr val="FFFFFF"/>
          </a:solidFill>
          <a:ln w="9525">
            <a:solidFill>
              <a:srgbClr val="F3F1E9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t"/>
          <a:lstStyle/>
          <a:p>
            <a:r>
              <a:rPr lang="fr-MA" sz="1200" b="1" dirty="0">
                <a:solidFill>
                  <a:srgbClr val="002960"/>
                </a:solidFill>
                <a:latin typeface="Gill Sans"/>
              </a:rPr>
              <a:t>Screenshot de la répartition régionale du nombre de cas cumulés de COVID par 10.000 habitants au 15 octobre 2020 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5A8489B-C094-4E63-A671-91D0CDBC8D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MA" dirty="0"/>
              <a:t>Une situation épidémiologique globalement maîtrisée dans les régions </a:t>
            </a:r>
          </a:p>
        </p:txBody>
      </p:sp>
      <p:sp>
        <p:nvSpPr>
          <p:cNvPr id="6" name="Forme libre 111">
            <a:extLst>
              <a:ext uri="{FF2B5EF4-FFF2-40B4-BE49-F238E27FC236}">
                <a16:creationId xmlns:a16="http://schemas.microsoft.com/office/drawing/2014/main" id="{28A2F607-BAFA-403E-A870-51297A81DB59}"/>
              </a:ext>
            </a:extLst>
          </p:cNvPr>
          <p:cNvSpPr/>
          <p:nvPr/>
        </p:nvSpPr>
        <p:spPr>
          <a:xfrm>
            <a:off x="3448050" y="1242939"/>
            <a:ext cx="615950" cy="527129"/>
          </a:xfrm>
          <a:custGeom>
            <a:avLst/>
            <a:gdLst>
              <a:gd name="connsiteX0" fmla="*/ 240506 w 623887"/>
              <a:gd name="connsiteY0" fmla="*/ 7143 h 502443"/>
              <a:gd name="connsiteX1" fmla="*/ 228600 w 623887"/>
              <a:gd name="connsiteY1" fmla="*/ 2381 h 502443"/>
              <a:gd name="connsiteX2" fmla="*/ 221456 w 623887"/>
              <a:gd name="connsiteY2" fmla="*/ 0 h 502443"/>
              <a:gd name="connsiteX3" fmla="*/ 195262 w 623887"/>
              <a:gd name="connsiteY3" fmla="*/ 2381 h 502443"/>
              <a:gd name="connsiteX4" fmla="*/ 188118 w 623887"/>
              <a:gd name="connsiteY4" fmla="*/ 4762 h 502443"/>
              <a:gd name="connsiteX5" fmla="*/ 185737 w 623887"/>
              <a:gd name="connsiteY5" fmla="*/ 11906 h 502443"/>
              <a:gd name="connsiteX6" fmla="*/ 180975 w 623887"/>
              <a:gd name="connsiteY6" fmla="*/ 19050 h 502443"/>
              <a:gd name="connsiteX7" fmla="*/ 173831 w 623887"/>
              <a:gd name="connsiteY7" fmla="*/ 23812 h 502443"/>
              <a:gd name="connsiteX8" fmla="*/ 166687 w 623887"/>
              <a:gd name="connsiteY8" fmla="*/ 30956 h 502443"/>
              <a:gd name="connsiteX9" fmla="*/ 133350 w 623887"/>
              <a:gd name="connsiteY9" fmla="*/ 33337 h 502443"/>
              <a:gd name="connsiteX10" fmla="*/ 119062 w 623887"/>
              <a:gd name="connsiteY10" fmla="*/ 42862 h 502443"/>
              <a:gd name="connsiteX11" fmla="*/ 111918 w 623887"/>
              <a:gd name="connsiteY11" fmla="*/ 47625 h 502443"/>
              <a:gd name="connsiteX12" fmla="*/ 90487 w 623887"/>
              <a:gd name="connsiteY12" fmla="*/ 45243 h 502443"/>
              <a:gd name="connsiteX13" fmla="*/ 83343 w 623887"/>
              <a:gd name="connsiteY13" fmla="*/ 42862 h 502443"/>
              <a:gd name="connsiteX14" fmla="*/ 73818 w 623887"/>
              <a:gd name="connsiteY14" fmla="*/ 57150 h 502443"/>
              <a:gd name="connsiteX15" fmla="*/ 69056 w 623887"/>
              <a:gd name="connsiteY15" fmla="*/ 64293 h 502443"/>
              <a:gd name="connsiteX16" fmla="*/ 59531 w 623887"/>
              <a:gd name="connsiteY16" fmla="*/ 80962 h 502443"/>
              <a:gd name="connsiteX17" fmla="*/ 54768 w 623887"/>
              <a:gd name="connsiteY17" fmla="*/ 95250 h 502443"/>
              <a:gd name="connsiteX18" fmla="*/ 50006 w 623887"/>
              <a:gd name="connsiteY18" fmla="*/ 102393 h 502443"/>
              <a:gd name="connsiteX19" fmla="*/ 42862 w 623887"/>
              <a:gd name="connsiteY19" fmla="*/ 126206 h 502443"/>
              <a:gd name="connsiteX20" fmla="*/ 38100 w 623887"/>
              <a:gd name="connsiteY20" fmla="*/ 133350 h 502443"/>
              <a:gd name="connsiteX21" fmla="*/ 35718 w 623887"/>
              <a:gd name="connsiteY21" fmla="*/ 142875 h 502443"/>
              <a:gd name="connsiteX22" fmla="*/ 33337 w 623887"/>
              <a:gd name="connsiteY22" fmla="*/ 157162 h 502443"/>
              <a:gd name="connsiteX23" fmla="*/ 28575 w 623887"/>
              <a:gd name="connsiteY23" fmla="*/ 171450 h 502443"/>
              <a:gd name="connsiteX24" fmla="*/ 26193 w 623887"/>
              <a:gd name="connsiteY24" fmla="*/ 183356 h 502443"/>
              <a:gd name="connsiteX25" fmla="*/ 23812 w 623887"/>
              <a:gd name="connsiteY25" fmla="*/ 192881 h 502443"/>
              <a:gd name="connsiteX26" fmla="*/ 21431 w 623887"/>
              <a:gd name="connsiteY26" fmla="*/ 209550 h 502443"/>
              <a:gd name="connsiteX27" fmla="*/ 19050 w 623887"/>
              <a:gd name="connsiteY27" fmla="*/ 223837 h 502443"/>
              <a:gd name="connsiteX28" fmla="*/ 14287 w 623887"/>
              <a:gd name="connsiteY28" fmla="*/ 259556 h 502443"/>
              <a:gd name="connsiteX29" fmla="*/ 7143 w 623887"/>
              <a:gd name="connsiteY29" fmla="*/ 295275 h 502443"/>
              <a:gd name="connsiteX30" fmla="*/ 4762 w 623887"/>
              <a:gd name="connsiteY30" fmla="*/ 304800 h 502443"/>
              <a:gd name="connsiteX31" fmla="*/ 0 w 623887"/>
              <a:gd name="connsiteY31" fmla="*/ 319087 h 502443"/>
              <a:gd name="connsiteX32" fmla="*/ 7143 w 623887"/>
              <a:gd name="connsiteY32" fmla="*/ 323850 h 502443"/>
              <a:gd name="connsiteX33" fmla="*/ 45243 w 623887"/>
              <a:gd name="connsiteY33" fmla="*/ 328612 h 502443"/>
              <a:gd name="connsiteX34" fmla="*/ 59531 w 623887"/>
              <a:gd name="connsiteY34" fmla="*/ 338137 h 502443"/>
              <a:gd name="connsiteX35" fmla="*/ 66675 w 623887"/>
              <a:gd name="connsiteY35" fmla="*/ 345281 h 502443"/>
              <a:gd name="connsiteX36" fmla="*/ 73818 w 623887"/>
              <a:gd name="connsiteY36" fmla="*/ 347662 h 502443"/>
              <a:gd name="connsiteX37" fmla="*/ 111918 w 623887"/>
              <a:gd name="connsiteY37" fmla="*/ 350043 h 502443"/>
              <a:gd name="connsiteX38" fmla="*/ 114300 w 623887"/>
              <a:gd name="connsiteY38" fmla="*/ 364331 h 502443"/>
              <a:gd name="connsiteX39" fmla="*/ 119062 w 623887"/>
              <a:gd name="connsiteY39" fmla="*/ 411956 h 502443"/>
              <a:gd name="connsiteX40" fmla="*/ 123825 w 623887"/>
              <a:gd name="connsiteY40" fmla="*/ 428625 h 502443"/>
              <a:gd name="connsiteX41" fmla="*/ 130968 w 623887"/>
              <a:gd name="connsiteY41" fmla="*/ 433387 h 502443"/>
              <a:gd name="connsiteX42" fmla="*/ 138112 w 623887"/>
              <a:gd name="connsiteY42" fmla="*/ 431006 h 502443"/>
              <a:gd name="connsiteX43" fmla="*/ 142875 w 623887"/>
              <a:gd name="connsiteY43" fmla="*/ 423862 h 502443"/>
              <a:gd name="connsiteX44" fmla="*/ 150018 w 623887"/>
              <a:gd name="connsiteY44" fmla="*/ 419100 h 502443"/>
              <a:gd name="connsiteX45" fmla="*/ 161925 w 623887"/>
              <a:gd name="connsiteY45" fmla="*/ 431006 h 502443"/>
              <a:gd name="connsiteX46" fmla="*/ 169068 w 623887"/>
              <a:gd name="connsiteY46" fmla="*/ 438150 h 502443"/>
              <a:gd name="connsiteX47" fmla="*/ 173831 w 623887"/>
              <a:gd name="connsiteY47" fmla="*/ 445293 h 502443"/>
              <a:gd name="connsiteX48" fmla="*/ 188118 w 623887"/>
              <a:gd name="connsiteY48" fmla="*/ 454818 h 502443"/>
              <a:gd name="connsiteX49" fmla="*/ 195262 w 623887"/>
              <a:gd name="connsiteY49" fmla="*/ 459581 h 502443"/>
              <a:gd name="connsiteX50" fmla="*/ 202406 w 623887"/>
              <a:gd name="connsiteY50" fmla="*/ 464343 h 502443"/>
              <a:gd name="connsiteX51" fmla="*/ 207168 w 623887"/>
              <a:gd name="connsiteY51" fmla="*/ 471487 h 502443"/>
              <a:gd name="connsiteX52" fmla="*/ 209550 w 623887"/>
              <a:gd name="connsiteY52" fmla="*/ 488156 h 502443"/>
              <a:gd name="connsiteX53" fmla="*/ 223837 w 623887"/>
              <a:gd name="connsiteY53" fmla="*/ 497681 h 502443"/>
              <a:gd name="connsiteX54" fmla="*/ 238125 w 623887"/>
              <a:gd name="connsiteY54" fmla="*/ 502443 h 502443"/>
              <a:gd name="connsiteX55" fmla="*/ 245268 w 623887"/>
              <a:gd name="connsiteY55" fmla="*/ 500062 h 502443"/>
              <a:gd name="connsiteX56" fmla="*/ 259556 w 623887"/>
              <a:gd name="connsiteY56" fmla="*/ 488156 h 502443"/>
              <a:gd name="connsiteX57" fmla="*/ 266700 w 623887"/>
              <a:gd name="connsiteY57" fmla="*/ 483393 h 502443"/>
              <a:gd name="connsiteX58" fmla="*/ 271462 w 623887"/>
              <a:gd name="connsiteY58" fmla="*/ 469106 h 502443"/>
              <a:gd name="connsiteX59" fmla="*/ 266700 w 623887"/>
              <a:gd name="connsiteY59" fmla="*/ 435768 h 502443"/>
              <a:gd name="connsiteX60" fmla="*/ 269081 w 623887"/>
              <a:gd name="connsiteY60" fmla="*/ 397668 h 502443"/>
              <a:gd name="connsiteX61" fmla="*/ 283368 w 623887"/>
              <a:gd name="connsiteY61" fmla="*/ 392906 h 502443"/>
              <a:gd name="connsiteX62" fmla="*/ 302418 w 623887"/>
              <a:gd name="connsiteY62" fmla="*/ 395287 h 502443"/>
              <a:gd name="connsiteX63" fmla="*/ 309562 w 623887"/>
              <a:gd name="connsiteY63" fmla="*/ 397668 h 502443"/>
              <a:gd name="connsiteX64" fmla="*/ 338137 w 623887"/>
              <a:gd name="connsiteY64" fmla="*/ 395287 h 502443"/>
              <a:gd name="connsiteX65" fmla="*/ 361950 w 623887"/>
              <a:gd name="connsiteY65" fmla="*/ 395287 h 502443"/>
              <a:gd name="connsiteX66" fmla="*/ 364331 w 623887"/>
              <a:gd name="connsiteY66" fmla="*/ 402431 h 502443"/>
              <a:gd name="connsiteX67" fmla="*/ 381000 w 623887"/>
              <a:gd name="connsiteY67" fmla="*/ 421481 h 502443"/>
              <a:gd name="connsiteX68" fmla="*/ 409575 w 623887"/>
              <a:gd name="connsiteY68" fmla="*/ 428625 h 502443"/>
              <a:gd name="connsiteX69" fmla="*/ 433387 w 623887"/>
              <a:gd name="connsiteY69" fmla="*/ 433387 h 502443"/>
              <a:gd name="connsiteX70" fmla="*/ 445293 w 623887"/>
              <a:gd name="connsiteY70" fmla="*/ 435768 h 502443"/>
              <a:gd name="connsiteX71" fmla="*/ 454818 w 623887"/>
              <a:gd name="connsiteY71" fmla="*/ 438150 h 502443"/>
              <a:gd name="connsiteX72" fmla="*/ 471487 w 623887"/>
              <a:gd name="connsiteY72" fmla="*/ 435768 h 502443"/>
              <a:gd name="connsiteX73" fmla="*/ 485775 w 623887"/>
              <a:gd name="connsiteY73" fmla="*/ 426243 h 502443"/>
              <a:gd name="connsiteX74" fmla="*/ 502443 w 623887"/>
              <a:gd name="connsiteY74" fmla="*/ 404812 h 502443"/>
              <a:gd name="connsiteX75" fmla="*/ 511968 w 623887"/>
              <a:gd name="connsiteY75" fmla="*/ 390525 h 502443"/>
              <a:gd name="connsiteX76" fmla="*/ 514350 w 623887"/>
              <a:gd name="connsiteY76" fmla="*/ 397668 h 502443"/>
              <a:gd name="connsiteX77" fmla="*/ 526256 w 623887"/>
              <a:gd name="connsiteY77" fmla="*/ 411956 h 502443"/>
              <a:gd name="connsiteX78" fmla="*/ 547687 w 623887"/>
              <a:gd name="connsiteY78" fmla="*/ 409575 h 502443"/>
              <a:gd name="connsiteX79" fmla="*/ 554831 w 623887"/>
              <a:gd name="connsiteY79" fmla="*/ 388143 h 502443"/>
              <a:gd name="connsiteX80" fmla="*/ 559593 w 623887"/>
              <a:gd name="connsiteY80" fmla="*/ 381000 h 502443"/>
              <a:gd name="connsiteX81" fmla="*/ 581025 w 623887"/>
              <a:gd name="connsiteY81" fmla="*/ 378618 h 502443"/>
              <a:gd name="connsiteX82" fmla="*/ 609600 w 623887"/>
              <a:gd name="connsiteY82" fmla="*/ 364331 h 502443"/>
              <a:gd name="connsiteX83" fmla="*/ 616743 w 623887"/>
              <a:gd name="connsiteY83" fmla="*/ 359568 h 502443"/>
              <a:gd name="connsiteX84" fmla="*/ 621506 w 623887"/>
              <a:gd name="connsiteY84" fmla="*/ 352425 h 502443"/>
              <a:gd name="connsiteX85" fmla="*/ 623887 w 623887"/>
              <a:gd name="connsiteY85" fmla="*/ 342900 h 502443"/>
              <a:gd name="connsiteX86" fmla="*/ 621506 w 623887"/>
              <a:gd name="connsiteY86" fmla="*/ 266700 h 502443"/>
              <a:gd name="connsiteX87" fmla="*/ 609600 w 623887"/>
              <a:gd name="connsiteY87" fmla="*/ 242887 h 502443"/>
              <a:gd name="connsiteX88" fmla="*/ 600075 w 623887"/>
              <a:gd name="connsiteY88" fmla="*/ 228600 h 502443"/>
              <a:gd name="connsiteX89" fmla="*/ 561975 w 623887"/>
              <a:gd name="connsiteY89" fmla="*/ 238125 h 502443"/>
              <a:gd name="connsiteX90" fmla="*/ 550068 w 623887"/>
              <a:gd name="connsiteY90" fmla="*/ 240506 h 502443"/>
              <a:gd name="connsiteX91" fmla="*/ 526256 w 623887"/>
              <a:gd name="connsiteY91" fmla="*/ 247650 h 502443"/>
              <a:gd name="connsiteX92" fmla="*/ 516731 w 623887"/>
              <a:gd name="connsiteY92" fmla="*/ 250031 h 502443"/>
              <a:gd name="connsiteX93" fmla="*/ 509587 w 623887"/>
              <a:gd name="connsiteY93" fmla="*/ 252412 h 502443"/>
              <a:gd name="connsiteX94" fmla="*/ 497681 w 623887"/>
              <a:gd name="connsiteY94" fmla="*/ 254793 h 502443"/>
              <a:gd name="connsiteX95" fmla="*/ 483393 w 623887"/>
              <a:gd name="connsiteY95" fmla="*/ 259556 h 502443"/>
              <a:gd name="connsiteX96" fmla="*/ 457200 w 623887"/>
              <a:gd name="connsiteY96" fmla="*/ 257175 h 502443"/>
              <a:gd name="connsiteX97" fmla="*/ 450056 w 623887"/>
              <a:gd name="connsiteY97" fmla="*/ 254793 h 502443"/>
              <a:gd name="connsiteX98" fmla="*/ 440531 w 623887"/>
              <a:gd name="connsiteY98" fmla="*/ 252412 h 502443"/>
              <a:gd name="connsiteX99" fmla="*/ 423862 w 623887"/>
              <a:gd name="connsiteY99" fmla="*/ 245268 h 502443"/>
              <a:gd name="connsiteX100" fmla="*/ 402431 w 623887"/>
              <a:gd name="connsiteY100" fmla="*/ 238125 h 502443"/>
              <a:gd name="connsiteX101" fmla="*/ 390525 w 623887"/>
              <a:gd name="connsiteY101" fmla="*/ 235743 h 502443"/>
              <a:gd name="connsiteX102" fmla="*/ 381000 w 623887"/>
              <a:gd name="connsiteY102" fmla="*/ 233362 h 502443"/>
              <a:gd name="connsiteX103" fmla="*/ 359568 w 623887"/>
              <a:gd name="connsiteY103" fmla="*/ 226218 h 502443"/>
              <a:gd name="connsiteX104" fmla="*/ 352425 w 623887"/>
              <a:gd name="connsiteY104" fmla="*/ 221456 h 502443"/>
              <a:gd name="connsiteX105" fmla="*/ 345281 w 623887"/>
              <a:gd name="connsiteY105" fmla="*/ 219075 h 502443"/>
              <a:gd name="connsiteX106" fmla="*/ 330993 w 623887"/>
              <a:gd name="connsiteY106" fmla="*/ 209550 h 502443"/>
              <a:gd name="connsiteX107" fmla="*/ 323850 w 623887"/>
              <a:gd name="connsiteY107" fmla="*/ 202406 h 502443"/>
              <a:gd name="connsiteX108" fmla="*/ 316706 w 623887"/>
              <a:gd name="connsiteY108" fmla="*/ 197643 h 502443"/>
              <a:gd name="connsiteX109" fmla="*/ 311943 w 623887"/>
              <a:gd name="connsiteY109" fmla="*/ 190500 h 502443"/>
              <a:gd name="connsiteX110" fmla="*/ 304800 w 623887"/>
              <a:gd name="connsiteY110" fmla="*/ 188118 h 502443"/>
              <a:gd name="connsiteX111" fmla="*/ 297656 w 623887"/>
              <a:gd name="connsiteY111" fmla="*/ 183356 h 502443"/>
              <a:gd name="connsiteX112" fmla="*/ 292893 w 623887"/>
              <a:gd name="connsiteY112" fmla="*/ 176212 h 502443"/>
              <a:gd name="connsiteX113" fmla="*/ 285750 w 623887"/>
              <a:gd name="connsiteY113" fmla="*/ 173831 h 502443"/>
              <a:gd name="connsiteX114" fmla="*/ 276225 w 623887"/>
              <a:gd name="connsiteY114" fmla="*/ 159543 h 502443"/>
              <a:gd name="connsiteX115" fmla="*/ 271462 w 623887"/>
              <a:gd name="connsiteY115" fmla="*/ 152400 h 502443"/>
              <a:gd name="connsiteX116" fmla="*/ 269081 w 623887"/>
              <a:gd name="connsiteY116" fmla="*/ 145256 h 502443"/>
              <a:gd name="connsiteX117" fmla="*/ 257175 w 623887"/>
              <a:gd name="connsiteY117" fmla="*/ 130968 h 502443"/>
              <a:gd name="connsiteX118" fmla="*/ 247650 w 623887"/>
              <a:gd name="connsiteY118" fmla="*/ 114300 h 502443"/>
              <a:gd name="connsiteX119" fmla="*/ 242887 w 623887"/>
              <a:gd name="connsiteY119" fmla="*/ 100012 h 502443"/>
              <a:gd name="connsiteX120" fmla="*/ 233362 w 623887"/>
              <a:gd name="connsiteY120" fmla="*/ 78581 h 502443"/>
              <a:gd name="connsiteX121" fmla="*/ 230981 w 623887"/>
              <a:gd name="connsiteY121" fmla="*/ 71437 h 502443"/>
              <a:gd name="connsiteX122" fmla="*/ 228600 w 623887"/>
              <a:gd name="connsiteY122" fmla="*/ 64293 h 502443"/>
              <a:gd name="connsiteX123" fmla="*/ 230981 w 623887"/>
              <a:gd name="connsiteY123" fmla="*/ 30956 h 502443"/>
              <a:gd name="connsiteX124" fmla="*/ 235743 w 623887"/>
              <a:gd name="connsiteY124" fmla="*/ 16668 h 502443"/>
              <a:gd name="connsiteX125" fmla="*/ 240506 w 623887"/>
              <a:gd name="connsiteY125" fmla="*/ 7143 h 502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</a:cxnLst>
            <a:rect l="l" t="t" r="r" b="b"/>
            <a:pathLst>
              <a:path w="623887" h="502443">
                <a:moveTo>
                  <a:pt x="240506" y="7143"/>
                </a:moveTo>
                <a:cubicBezTo>
                  <a:pt x="239316" y="4762"/>
                  <a:pt x="232602" y="3882"/>
                  <a:pt x="228600" y="2381"/>
                </a:cubicBezTo>
                <a:cubicBezTo>
                  <a:pt x="226250" y="1500"/>
                  <a:pt x="223966" y="0"/>
                  <a:pt x="221456" y="0"/>
                </a:cubicBezTo>
                <a:cubicBezTo>
                  <a:pt x="212689" y="0"/>
                  <a:pt x="203993" y="1587"/>
                  <a:pt x="195262" y="2381"/>
                </a:cubicBezTo>
                <a:cubicBezTo>
                  <a:pt x="192881" y="3175"/>
                  <a:pt x="189893" y="2987"/>
                  <a:pt x="188118" y="4762"/>
                </a:cubicBezTo>
                <a:cubicBezTo>
                  <a:pt x="186343" y="6537"/>
                  <a:pt x="186859" y="9661"/>
                  <a:pt x="185737" y="11906"/>
                </a:cubicBezTo>
                <a:cubicBezTo>
                  <a:pt x="184457" y="14466"/>
                  <a:pt x="182999" y="17026"/>
                  <a:pt x="180975" y="19050"/>
                </a:cubicBezTo>
                <a:cubicBezTo>
                  <a:pt x="178951" y="21074"/>
                  <a:pt x="176030" y="21980"/>
                  <a:pt x="173831" y="23812"/>
                </a:cubicBezTo>
                <a:cubicBezTo>
                  <a:pt x="171244" y="25968"/>
                  <a:pt x="169965" y="30185"/>
                  <a:pt x="166687" y="30956"/>
                </a:cubicBezTo>
                <a:cubicBezTo>
                  <a:pt x="155843" y="33508"/>
                  <a:pt x="144462" y="32543"/>
                  <a:pt x="133350" y="33337"/>
                </a:cubicBezTo>
                <a:lnTo>
                  <a:pt x="119062" y="42862"/>
                </a:lnTo>
                <a:lnTo>
                  <a:pt x="111918" y="47625"/>
                </a:lnTo>
                <a:cubicBezTo>
                  <a:pt x="104774" y="46831"/>
                  <a:pt x="97577" y="46425"/>
                  <a:pt x="90487" y="45243"/>
                </a:cubicBezTo>
                <a:cubicBezTo>
                  <a:pt x="88011" y="44830"/>
                  <a:pt x="85386" y="41403"/>
                  <a:pt x="83343" y="42862"/>
                </a:cubicBezTo>
                <a:cubicBezTo>
                  <a:pt x="78685" y="46189"/>
                  <a:pt x="76993" y="52387"/>
                  <a:pt x="73818" y="57150"/>
                </a:cubicBezTo>
                <a:lnTo>
                  <a:pt x="69056" y="64293"/>
                </a:lnTo>
                <a:cubicBezTo>
                  <a:pt x="62517" y="90452"/>
                  <a:pt x="72428" y="57749"/>
                  <a:pt x="59531" y="80962"/>
                </a:cubicBezTo>
                <a:cubicBezTo>
                  <a:pt x="57093" y="85351"/>
                  <a:pt x="57553" y="91073"/>
                  <a:pt x="54768" y="95250"/>
                </a:cubicBezTo>
                <a:lnTo>
                  <a:pt x="50006" y="102393"/>
                </a:lnTo>
                <a:cubicBezTo>
                  <a:pt x="46408" y="116788"/>
                  <a:pt x="48660" y="108813"/>
                  <a:pt x="42862" y="126206"/>
                </a:cubicBezTo>
                <a:cubicBezTo>
                  <a:pt x="41957" y="128921"/>
                  <a:pt x="39687" y="130969"/>
                  <a:pt x="38100" y="133350"/>
                </a:cubicBezTo>
                <a:cubicBezTo>
                  <a:pt x="37306" y="136525"/>
                  <a:pt x="36360" y="139666"/>
                  <a:pt x="35718" y="142875"/>
                </a:cubicBezTo>
                <a:cubicBezTo>
                  <a:pt x="34771" y="147609"/>
                  <a:pt x="34508" y="152478"/>
                  <a:pt x="33337" y="157162"/>
                </a:cubicBezTo>
                <a:cubicBezTo>
                  <a:pt x="32120" y="162032"/>
                  <a:pt x="29560" y="166527"/>
                  <a:pt x="28575" y="171450"/>
                </a:cubicBezTo>
                <a:cubicBezTo>
                  <a:pt x="27781" y="175419"/>
                  <a:pt x="27071" y="179405"/>
                  <a:pt x="26193" y="183356"/>
                </a:cubicBezTo>
                <a:cubicBezTo>
                  <a:pt x="25483" y="186551"/>
                  <a:pt x="24397" y="189661"/>
                  <a:pt x="23812" y="192881"/>
                </a:cubicBezTo>
                <a:cubicBezTo>
                  <a:pt x="22808" y="198403"/>
                  <a:pt x="22284" y="204003"/>
                  <a:pt x="21431" y="209550"/>
                </a:cubicBezTo>
                <a:cubicBezTo>
                  <a:pt x="20697" y="214322"/>
                  <a:pt x="19733" y="219058"/>
                  <a:pt x="19050" y="223837"/>
                </a:cubicBezTo>
                <a:cubicBezTo>
                  <a:pt x="15107" y="251434"/>
                  <a:pt x="18331" y="233940"/>
                  <a:pt x="14287" y="259556"/>
                </a:cubicBezTo>
                <a:cubicBezTo>
                  <a:pt x="6028" y="311869"/>
                  <a:pt x="13381" y="273443"/>
                  <a:pt x="7143" y="295275"/>
                </a:cubicBezTo>
                <a:cubicBezTo>
                  <a:pt x="6244" y="298422"/>
                  <a:pt x="5702" y="301665"/>
                  <a:pt x="4762" y="304800"/>
                </a:cubicBezTo>
                <a:cubicBezTo>
                  <a:pt x="3320" y="309608"/>
                  <a:pt x="0" y="319087"/>
                  <a:pt x="0" y="319087"/>
                </a:cubicBezTo>
                <a:cubicBezTo>
                  <a:pt x="2381" y="320675"/>
                  <a:pt x="4330" y="323323"/>
                  <a:pt x="7143" y="323850"/>
                </a:cubicBezTo>
                <a:cubicBezTo>
                  <a:pt x="65978" y="334882"/>
                  <a:pt x="22128" y="320907"/>
                  <a:pt x="45243" y="328612"/>
                </a:cubicBezTo>
                <a:lnTo>
                  <a:pt x="59531" y="338137"/>
                </a:lnTo>
                <a:cubicBezTo>
                  <a:pt x="62333" y="340005"/>
                  <a:pt x="63873" y="343413"/>
                  <a:pt x="66675" y="345281"/>
                </a:cubicBezTo>
                <a:cubicBezTo>
                  <a:pt x="68763" y="346673"/>
                  <a:pt x="71322" y="347399"/>
                  <a:pt x="73818" y="347662"/>
                </a:cubicBezTo>
                <a:cubicBezTo>
                  <a:pt x="86473" y="348994"/>
                  <a:pt x="99218" y="349249"/>
                  <a:pt x="111918" y="350043"/>
                </a:cubicBezTo>
                <a:cubicBezTo>
                  <a:pt x="112712" y="354806"/>
                  <a:pt x="113842" y="359524"/>
                  <a:pt x="114300" y="364331"/>
                </a:cubicBezTo>
                <a:cubicBezTo>
                  <a:pt x="117779" y="400860"/>
                  <a:pt x="114060" y="389444"/>
                  <a:pt x="119062" y="411956"/>
                </a:cubicBezTo>
                <a:cubicBezTo>
                  <a:pt x="119194" y="412552"/>
                  <a:pt x="122599" y="427093"/>
                  <a:pt x="123825" y="428625"/>
                </a:cubicBezTo>
                <a:cubicBezTo>
                  <a:pt x="125613" y="430860"/>
                  <a:pt x="128587" y="431800"/>
                  <a:pt x="130968" y="433387"/>
                </a:cubicBezTo>
                <a:cubicBezTo>
                  <a:pt x="133349" y="432593"/>
                  <a:pt x="136152" y="432574"/>
                  <a:pt x="138112" y="431006"/>
                </a:cubicBezTo>
                <a:cubicBezTo>
                  <a:pt x="140347" y="429218"/>
                  <a:pt x="140851" y="425886"/>
                  <a:pt x="142875" y="423862"/>
                </a:cubicBezTo>
                <a:cubicBezTo>
                  <a:pt x="144898" y="421839"/>
                  <a:pt x="147637" y="420687"/>
                  <a:pt x="150018" y="419100"/>
                </a:cubicBezTo>
                <a:cubicBezTo>
                  <a:pt x="163112" y="427828"/>
                  <a:pt x="152005" y="419102"/>
                  <a:pt x="161925" y="431006"/>
                </a:cubicBezTo>
                <a:cubicBezTo>
                  <a:pt x="164081" y="433593"/>
                  <a:pt x="166912" y="435563"/>
                  <a:pt x="169068" y="438150"/>
                </a:cubicBezTo>
                <a:cubicBezTo>
                  <a:pt x="170900" y="440348"/>
                  <a:pt x="171677" y="443409"/>
                  <a:pt x="173831" y="445293"/>
                </a:cubicBezTo>
                <a:cubicBezTo>
                  <a:pt x="178139" y="449062"/>
                  <a:pt x="183356" y="451643"/>
                  <a:pt x="188118" y="454818"/>
                </a:cubicBezTo>
                <a:lnTo>
                  <a:pt x="195262" y="459581"/>
                </a:lnTo>
                <a:lnTo>
                  <a:pt x="202406" y="464343"/>
                </a:lnTo>
                <a:cubicBezTo>
                  <a:pt x="203993" y="466724"/>
                  <a:pt x="206346" y="468746"/>
                  <a:pt x="207168" y="471487"/>
                </a:cubicBezTo>
                <a:cubicBezTo>
                  <a:pt x="208781" y="476863"/>
                  <a:pt x="206537" y="483421"/>
                  <a:pt x="209550" y="488156"/>
                </a:cubicBezTo>
                <a:cubicBezTo>
                  <a:pt x="212623" y="492985"/>
                  <a:pt x="219075" y="494506"/>
                  <a:pt x="223837" y="497681"/>
                </a:cubicBezTo>
                <a:cubicBezTo>
                  <a:pt x="228014" y="500466"/>
                  <a:pt x="238125" y="502443"/>
                  <a:pt x="238125" y="502443"/>
                </a:cubicBezTo>
                <a:cubicBezTo>
                  <a:pt x="240506" y="501649"/>
                  <a:pt x="243023" y="501184"/>
                  <a:pt x="245268" y="500062"/>
                </a:cubicBezTo>
                <a:cubicBezTo>
                  <a:pt x="254138" y="495627"/>
                  <a:pt x="251655" y="494740"/>
                  <a:pt x="259556" y="488156"/>
                </a:cubicBezTo>
                <a:cubicBezTo>
                  <a:pt x="261755" y="486324"/>
                  <a:pt x="264319" y="484981"/>
                  <a:pt x="266700" y="483393"/>
                </a:cubicBezTo>
                <a:lnTo>
                  <a:pt x="271462" y="469106"/>
                </a:lnTo>
                <a:cubicBezTo>
                  <a:pt x="274940" y="458672"/>
                  <a:pt x="270111" y="446002"/>
                  <a:pt x="266700" y="435768"/>
                </a:cubicBezTo>
                <a:cubicBezTo>
                  <a:pt x="267494" y="423068"/>
                  <a:pt x="264469" y="409528"/>
                  <a:pt x="269081" y="397668"/>
                </a:cubicBezTo>
                <a:cubicBezTo>
                  <a:pt x="270900" y="392989"/>
                  <a:pt x="283368" y="392906"/>
                  <a:pt x="283368" y="392906"/>
                </a:cubicBezTo>
                <a:cubicBezTo>
                  <a:pt x="289718" y="393700"/>
                  <a:pt x="296122" y="394142"/>
                  <a:pt x="302418" y="395287"/>
                </a:cubicBezTo>
                <a:cubicBezTo>
                  <a:pt x="304888" y="395736"/>
                  <a:pt x="307052" y="397668"/>
                  <a:pt x="309562" y="397668"/>
                </a:cubicBezTo>
                <a:cubicBezTo>
                  <a:pt x="319120" y="397668"/>
                  <a:pt x="328612" y="396081"/>
                  <a:pt x="338137" y="395287"/>
                </a:cubicBezTo>
                <a:cubicBezTo>
                  <a:pt x="346495" y="393198"/>
                  <a:pt x="353066" y="390210"/>
                  <a:pt x="361950" y="395287"/>
                </a:cubicBezTo>
                <a:cubicBezTo>
                  <a:pt x="364129" y="396532"/>
                  <a:pt x="363112" y="400237"/>
                  <a:pt x="364331" y="402431"/>
                </a:cubicBezTo>
                <a:cubicBezTo>
                  <a:pt x="369080" y="410979"/>
                  <a:pt x="372276" y="417604"/>
                  <a:pt x="381000" y="421481"/>
                </a:cubicBezTo>
                <a:cubicBezTo>
                  <a:pt x="393325" y="426959"/>
                  <a:pt x="396628" y="426197"/>
                  <a:pt x="409575" y="428625"/>
                </a:cubicBezTo>
                <a:cubicBezTo>
                  <a:pt x="417531" y="430117"/>
                  <a:pt x="425450" y="431800"/>
                  <a:pt x="433387" y="433387"/>
                </a:cubicBezTo>
                <a:cubicBezTo>
                  <a:pt x="437356" y="434181"/>
                  <a:pt x="441367" y="434786"/>
                  <a:pt x="445293" y="435768"/>
                </a:cubicBezTo>
                <a:lnTo>
                  <a:pt x="454818" y="438150"/>
                </a:lnTo>
                <a:cubicBezTo>
                  <a:pt x="460374" y="437356"/>
                  <a:pt x="466248" y="437783"/>
                  <a:pt x="471487" y="435768"/>
                </a:cubicBezTo>
                <a:cubicBezTo>
                  <a:pt x="476829" y="433713"/>
                  <a:pt x="485775" y="426243"/>
                  <a:pt x="485775" y="426243"/>
                </a:cubicBezTo>
                <a:cubicBezTo>
                  <a:pt x="497168" y="409154"/>
                  <a:pt x="491253" y="416004"/>
                  <a:pt x="502443" y="404812"/>
                </a:cubicBezTo>
                <a:cubicBezTo>
                  <a:pt x="503673" y="401122"/>
                  <a:pt x="506024" y="390525"/>
                  <a:pt x="511968" y="390525"/>
                </a:cubicBezTo>
                <a:cubicBezTo>
                  <a:pt x="514478" y="390525"/>
                  <a:pt x="513227" y="395423"/>
                  <a:pt x="514350" y="397668"/>
                </a:cubicBezTo>
                <a:cubicBezTo>
                  <a:pt x="517667" y="404301"/>
                  <a:pt x="520987" y="406687"/>
                  <a:pt x="526256" y="411956"/>
                </a:cubicBezTo>
                <a:cubicBezTo>
                  <a:pt x="533400" y="411162"/>
                  <a:pt x="540932" y="412031"/>
                  <a:pt x="547687" y="409575"/>
                </a:cubicBezTo>
                <a:cubicBezTo>
                  <a:pt x="553845" y="407336"/>
                  <a:pt x="554145" y="390203"/>
                  <a:pt x="554831" y="388143"/>
                </a:cubicBezTo>
                <a:cubicBezTo>
                  <a:pt x="555736" y="385428"/>
                  <a:pt x="556904" y="381978"/>
                  <a:pt x="559593" y="381000"/>
                </a:cubicBezTo>
                <a:cubicBezTo>
                  <a:pt x="566348" y="378544"/>
                  <a:pt x="573881" y="379412"/>
                  <a:pt x="581025" y="378618"/>
                </a:cubicBezTo>
                <a:cubicBezTo>
                  <a:pt x="600740" y="372047"/>
                  <a:pt x="591138" y="376639"/>
                  <a:pt x="609600" y="364331"/>
                </a:cubicBezTo>
                <a:lnTo>
                  <a:pt x="616743" y="359568"/>
                </a:lnTo>
                <a:cubicBezTo>
                  <a:pt x="618331" y="357187"/>
                  <a:pt x="620379" y="355055"/>
                  <a:pt x="621506" y="352425"/>
                </a:cubicBezTo>
                <a:cubicBezTo>
                  <a:pt x="622795" y="349417"/>
                  <a:pt x="623887" y="346173"/>
                  <a:pt x="623887" y="342900"/>
                </a:cubicBezTo>
                <a:cubicBezTo>
                  <a:pt x="623887" y="317488"/>
                  <a:pt x="623506" y="292034"/>
                  <a:pt x="621506" y="266700"/>
                </a:cubicBezTo>
                <a:cubicBezTo>
                  <a:pt x="620556" y="254665"/>
                  <a:pt x="615749" y="251671"/>
                  <a:pt x="609600" y="242887"/>
                </a:cubicBezTo>
                <a:cubicBezTo>
                  <a:pt x="606318" y="238198"/>
                  <a:pt x="600075" y="228600"/>
                  <a:pt x="600075" y="228600"/>
                </a:cubicBezTo>
                <a:cubicBezTo>
                  <a:pt x="571339" y="234346"/>
                  <a:pt x="583941" y="230802"/>
                  <a:pt x="561975" y="238125"/>
                </a:cubicBezTo>
                <a:cubicBezTo>
                  <a:pt x="558135" y="239405"/>
                  <a:pt x="554019" y="239628"/>
                  <a:pt x="550068" y="240506"/>
                </a:cubicBezTo>
                <a:cubicBezTo>
                  <a:pt x="539270" y="242905"/>
                  <a:pt x="538130" y="243691"/>
                  <a:pt x="526256" y="247650"/>
                </a:cubicBezTo>
                <a:cubicBezTo>
                  <a:pt x="523151" y="248685"/>
                  <a:pt x="519878" y="249132"/>
                  <a:pt x="516731" y="250031"/>
                </a:cubicBezTo>
                <a:cubicBezTo>
                  <a:pt x="514317" y="250721"/>
                  <a:pt x="512022" y="251803"/>
                  <a:pt x="509587" y="252412"/>
                </a:cubicBezTo>
                <a:cubicBezTo>
                  <a:pt x="505661" y="253394"/>
                  <a:pt x="501586" y="253728"/>
                  <a:pt x="497681" y="254793"/>
                </a:cubicBezTo>
                <a:cubicBezTo>
                  <a:pt x="492838" y="256114"/>
                  <a:pt x="483393" y="259556"/>
                  <a:pt x="483393" y="259556"/>
                </a:cubicBezTo>
                <a:cubicBezTo>
                  <a:pt x="474662" y="258762"/>
                  <a:pt x="465879" y="258415"/>
                  <a:pt x="457200" y="257175"/>
                </a:cubicBezTo>
                <a:cubicBezTo>
                  <a:pt x="454715" y="256820"/>
                  <a:pt x="452470" y="255483"/>
                  <a:pt x="450056" y="254793"/>
                </a:cubicBezTo>
                <a:cubicBezTo>
                  <a:pt x="446909" y="253894"/>
                  <a:pt x="443706" y="253206"/>
                  <a:pt x="440531" y="252412"/>
                </a:cubicBezTo>
                <a:cubicBezTo>
                  <a:pt x="429198" y="244858"/>
                  <a:pt x="437839" y="249461"/>
                  <a:pt x="423862" y="245268"/>
                </a:cubicBezTo>
                <a:cubicBezTo>
                  <a:pt x="416650" y="243104"/>
                  <a:pt x="409575" y="240506"/>
                  <a:pt x="402431" y="238125"/>
                </a:cubicBezTo>
                <a:cubicBezTo>
                  <a:pt x="398591" y="236845"/>
                  <a:pt x="394476" y="236621"/>
                  <a:pt x="390525" y="235743"/>
                </a:cubicBezTo>
                <a:cubicBezTo>
                  <a:pt x="387330" y="235033"/>
                  <a:pt x="384135" y="234302"/>
                  <a:pt x="381000" y="233362"/>
                </a:cubicBezTo>
                <a:cubicBezTo>
                  <a:pt x="380930" y="233341"/>
                  <a:pt x="363174" y="227420"/>
                  <a:pt x="359568" y="226218"/>
                </a:cubicBezTo>
                <a:cubicBezTo>
                  <a:pt x="356853" y="225313"/>
                  <a:pt x="354985" y="222736"/>
                  <a:pt x="352425" y="221456"/>
                </a:cubicBezTo>
                <a:cubicBezTo>
                  <a:pt x="350180" y="220334"/>
                  <a:pt x="347662" y="219869"/>
                  <a:pt x="345281" y="219075"/>
                </a:cubicBezTo>
                <a:lnTo>
                  <a:pt x="330993" y="209550"/>
                </a:lnTo>
                <a:cubicBezTo>
                  <a:pt x="328191" y="207682"/>
                  <a:pt x="326437" y="204562"/>
                  <a:pt x="323850" y="202406"/>
                </a:cubicBezTo>
                <a:cubicBezTo>
                  <a:pt x="321651" y="200574"/>
                  <a:pt x="319087" y="199231"/>
                  <a:pt x="316706" y="197643"/>
                </a:cubicBezTo>
                <a:cubicBezTo>
                  <a:pt x="315118" y="195262"/>
                  <a:pt x="314178" y="192288"/>
                  <a:pt x="311943" y="190500"/>
                </a:cubicBezTo>
                <a:cubicBezTo>
                  <a:pt x="309983" y="188932"/>
                  <a:pt x="307045" y="189241"/>
                  <a:pt x="304800" y="188118"/>
                </a:cubicBezTo>
                <a:cubicBezTo>
                  <a:pt x="302240" y="186838"/>
                  <a:pt x="300037" y="184943"/>
                  <a:pt x="297656" y="183356"/>
                </a:cubicBezTo>
                <a:cubicBezTo>
                  <a:pt x="296068" y="180975"/>
                  <a:pt x="295128" y="178000"/>
                  <a:pt x="292893" y="176212"/>
                </a:cubicBezTo>
                <a:cubicBezTo>
                  <a:pt x="290933" y="174644"/>
                  <a:pt x="287525" y="175606"/>
                  <a:pt x="285750" y="173831"/>
                </a:cubicBezTo>
                <a:cubicBezTo>
                  <a:pt x="281703" y="169783"/>
                  <a:pt x="279400" y="164306"/>
                  <a:pt x="276225" y="159543"/>
                </a:cubicBezTo>
                <a:lnTo>
                  <a:pt x="271462" y="152400"/>
                </a:lnTo>
                <a:cubicBezTo>
                  <a:pt x="270668" y="150019"/>
                  <a:pt x="270473" y="147345"/>
                  <a:pt x="269081" y="145256"/>
                </a:cubicBezTo>
                <a:cubicBezTo>
                  <a:pt x="258540" y="129445"/>
                  <a:pt x="264972" y="146560"/>
                  <a:pt x="257175" y="130968"/>
                </a:cubicBezTo>
                <a:cubicBezTo>
                  <a:pt x="248085" y="112790"/>
                  <a:pt x="264920" y="137329"/>
                  <a:pt x="247650" y="114300"/>
                </a:cubicBezTo>
                <a:cubicBezTo>
                  <a:pt x="246062" y="109537"/>
                  <a:pt x="245672" y="104189"/>
                  <a:pt x="242887" y="100012"/>
                </a:cubicBezTo>
                <a:cubicBezTo>
                  <a:pt x="235341" y="88692"/>
                  <a:pt x="239029" y="95581"/>
                  <a:pt x="233362" y="78581"/>
                </a:cubicBezTo>
                <a:lnTo>
                  <a:pt x="230981" y="71437"/>
                </a:lnTo>
                <a:lnTo>
                  <a:pt x="228600" y="64293"/>
                </a:lnTo>
                <a:cubicBezTo>
                  <a:pt x="229394" y="53181"/>
                  <a:pt x="229329" y="41973"/>
                  <a:pt x="230981" y="30956"/>
                </a:cubicBezTo>
                <a:cubicBezTo>
                  <a:pt x="231726" y="25991"/>
                  <a:pt x="234155" y="21431"/>
                  <a:pt x="235743" y="16668"/>
                </a:cubicBezTo>
                <a:cubicBezTo>
                  <a:pt x="238376" y="8769"/>
                  <a:pt x="241696" y="9524"/>
                  <a:pt x="240506" y="7143"/>
                </a:cubicBezTo>
                <a:close/>
              </a:path>
            </a:pathLst>
          </a:custGeom>
          <a:solidFill>
            <a:srgbClr val="FDECDF"/>
          </a:solidFill>
          <a:ln w="190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 dirty="0">
              <a:solidFill>
                <a:srgbClr val="182F41"/>
              </a:solidFill>
            </a:endParaRPr>
          </a:p>
        </p:txBody>
      </p:sp>
      <p:sp>
        <p:nvSpPr>
          <p:cNvPr id="7" name="Forme libre 112">
            <a:extLst>
              <a:ext uri="{FF2B5EF4-FFF2-40B4-BE49-F238E27FC236}">
                <a16:creationId xmlns:a16="http://schemas.microsoft.com/office/drawing/2014/main" id="{BC20CF8C-0803-4C8B-B46D-0CB3F9F25989}"/>
              </a:ext>
            </a:extLst>
          </p:cNvPr>
          <p:cNvSpPr/>
          <p:nvPr/>
        </p:nvSpPr>
        <p:spPr>
          <a:xfrm>
            <a:off x="3997325" y="1420555"/>
            <a:ext cx="817563" cy="1366714"/>
          </a:xfrm>
          <a:custGeom>
            <a:avLst/>
            <a:gdLst>
              <a:gd name="connsiteX0" fmla="*/ 65762 w 826718"/>
              <a:gd name="connsiteY0" fmla="*/ 84550 h 1302706"/>
              <a:gd name="connsiteX1" fmla="*/ 81419 w 826718"/>
              <a:gd name="connsiteY1" fmla="*/ 72024 h 1302706"/>
              <a:gd name="connsiteX2" fmla="*/ 87682 w 826718"/>
              <a:gd name="connsiteY2" fmla="*/ 62630 h 1302706"/>
              <a:gd name="connsiteX3" fmla="*/ 106471 w 826718"/>
              <a:gd name="connsiteY3" fmla="*/ 56367 h 1302706"/>
              <a:gd name="connsiteX4" fmla="*/ 125260 w 826718"/>
              <a:gd name="connsiteY4" fmla="*/ 65761 h 1302706"/>
              <a:gd name="connsiteX5" fmla="*/ 131523 w 826718"/>
              <a:gd name="connsiteY5" fmla="*/ 75156 h 1302706"/>
              <a:gd name="connsiteX6" fmla="*/ 150312 w 826718"/>
              <a:gd name="connsiteY6" fmla="*/ 81419 h 1302706"/>
              <a:gd name="connsiteX7" fmla="*/ 159707 w 826718"/>
              <a:gd name="connsiteY7" fmla="*/ 84550 h 1302706"/>
              <a:gd name="connsiteX8" fmla="*/ 212943 w 826718"/>
              <a:gd name="connsiteY8" fmla="*/ 81419 h 1302706"/>
              <a:gd name="connsiteX9" fmla="*/ 231732 w 826718"/>
              <a:gd name="connsiteY9" fmla="*/ 62630 h 1302706"/>
              <a:gd name="connsiteX10" fmla="*/ 250521 w 826718"/>
              <a:gd name="connsiteY10" fmla="*/ 53235 h 1302706"/>
              <a:gd name="connsiteX11" fmla="*/ 259915 w 826718"/>
              <a:gd name="connsiteY11" fmla="*/ 43841 h 1302706"/>
              <a:gd name="connsiteX12" fmla="*/ 266178 w 826718"/>
              <a:gd name="connsiteY12" fmla="*/ 18789 h 1302706"/>
              <a:gd name="connsiteX13" fmla="*/ 272441 w 826718"/>
              <a:gd name="connsiteY13" fmla="*/ 0 h 1302706"/>
              <a:gd name="connsiteX14" fmla="*/ 281836 w 826718"/>
              <a:gd name="connsiteY14" fmla="*/ 28183 h 1302706"/>
              <a:gd name="connsiteX15" fmla="*/ 291230 w 826718"/>
              <a:gd name="connsiteY15" fmla="*/ 59498 h 1302706"/>
              <a:gd name="connsiteX16" fmla="*/ 297493 w 826718"/>
              <a:gd name="connsiteY16" fmla="*/ 68893 h 1302706"/>
              <a:gd name="connsiteX17" fmla="*/ 300625 w 826718"/>
              <a:gd name="connsiteY17" fmla="*/ 81419 h 1302706"/>
              <a:gd name="connsiteX18" fmla="*/ 313151 w 826718"/>
              <a:gd name="connsiteY18" fmla="*/ 106471 h 1302706"/>
              <a:gd name="connsiteX19" fmla="*/ 322545 w 826718"/>
              <a:gd name="connsiteY19" fmla="*/ 109602 h 1302706"/>
              <a:gd name="connsiteX20" fmla="*/ 335071 w 826718"/>
              <a:gd name="connsiteY20" fmla="*/ 106471 h 1302706"/>
              <a:gd name="connsiteX21" fmla="*/ 331940 w 826718"/>
              <a:gd name="connsiteY21" fmla="*/ 97076 h 1302706"/>
              <a:gd name="connsiteX22" fmla="*/ 341334 w 826718"/>
              <a:gd name="connsiteY22" fmla="*/ 103339 h 1302706"/>
              <a:gd name="connsiteX23" fmla="*/ 385176 w 826718"/>
              <a:gd name="connsiteY23" fmla="*/ 112734 h 1302706"/>
              <a:gd name="connsiteX24" fmla="*/ 403965 w 826718"/>
              <a:gd name="connsiteY24" fmla="*/ 109602 h 1302706"/>
              <a:gd name="connsiteX25" fmla="*/ 432148 w 826718"/>
              <a:gd name="connsiteY25" fmla="*/ 87682 h 1302706"/>
              <a:gd name="connsiteX26" fmla="*/ 438411 w 826718"/>
              <a:gd name="connsiteY26" fmla="*/ 97076 h 1302706"/>
              <a:gd name="connsiteX27" fmla="*/ 463463 w 826718"/>
              <a:gd name="connsiteY27" fmla="*/ 103339 h 1302706"/>
              <a:gd name="connsiteX28" fmla="*/ 482252 w 826718"/>
              <a:gd name="connsiteY28" fmla="*/ 109602 h 1302706"/>
              <a:gd name="connsiteX29" fmla="*/ 485384 w 826718"/>
              <a:gd name="connsiteY29" fmla="*/ 137786 h 1302706"/>
              <a:gd name="connsiteX30" fmla="*/ 501041 w 826718"/>
              <a:gd name="connsiteY30" fmla="*/ 150312 h 1302706"/>
              <a:gd name="connsiteX31" fmla="*/ 519830 w 826718"/>
              <a:gd name="connsiteY31" fmla="*/ 159706 h 1302706"/>
              <a:gd name="connsiteX32" fmla="*/ 529225 w 826718"/>
              <a:gd name="connsiteY32" fmla="*/ 165969 h 1302706"/>
              <a:gd name="connsiteX33" fmla="*/ 548014 w 826718"/>
              <a:gd name="connsiteY33" fmla="*/ 169101 h 1302706"/>
              <a:gd name="connsiteX34" fmla="*/ 551145 w 826718"/>
              <a:gd name="connsiteY34" fmla="*/ 181627 h 1302706"/>
              <a:gd name="connsiteX35" fmla="*/ 560540 w 826718"/>
              <a:gd name="connsiteY35" fmla="*/ 187890 h 1302706"/>
              <a:gd name="connsiteX36" fmla="*/ 563671 w 826718"/>
              <a:gd name="connsiteY36" fmla="*/ 197285 h 1302706"/>
              <a:gd name="connsiteX37" fmla="*/ 582460 w 826718"/>
              <a:gd name="connsiteY37" fmla="*/ 212942 h 1302706"/>
              <a:gd name="connsiteX38" fmla="*/ 601249 w 826718"/>
              <a:gd name="connsiteY38" fmla="*/ 219205 h 1302706"/>
              <a:gd name="connsiteX39" fmla="*/ 616907 w 826718"/>
              <a:gd name="connsiteY39" fmla="*/ 234863 h 1302706"/>
              <a:gd name="connsiteX40" fmla="*/ 607512 w 826718"/>
              <a:gd name="connsiteY40" fmla="*/ 241126 h 1302706"/>
              <a:gd name="connsiteX41" fmla="*/ 591855 w 826718"/>
              <a:gd name="connsiteY41" fmla="*/ 259915 h 1302706"/>
              <a:gd name="connsiteX42" fmla="*/ 582460 w 826718"/>
              <a:gd name="connsiteY42" fmla="*/ 266178 h 1302706"/>
              <a:gd name="connsiteX43" fmla="*/ 585592 w 826718"/>
              <a:gd name="connsiteY43" fmla="*/ 281835 h 1302706"/>
              <a:gd name="connsiteX44" fmla="*/ 591855 w 826718"/>
              <a:gd name="connsiteY44" fmla="*/ 291230 h 1302706"/>
              <a:gd name="connsiteX45" fmla="*/ 598118 w 826718"/>
              <a:gd name="connsiteY45" fmla="*/ 310019 h 1302706"/>
              <a:gd name="connsiteX46" fmla="*/ 607512 w 826718"/>
              <a:gd name="connsiteY46" fmla="*/ 313150 h 1302706"/>
              <a:gd name="connsiteX47" fmla="*/ 629433 w 826718"/>
              <a:gd name="connsiteY47" fmla="*/ 319413 h 1302706"/>
              <a:gd name="connsiteX48" fmla="*/ 623170 w 826718"/>
              <a:gd name="connsiteY48" fmla="*/ 328808 h 1302706"/>
              <a:gd name="connsiteX49" fmla="*/ 613776 w 826718"/>
              <a:gd name="connsiteY49" fmla="*/ 335071 h 1302706"/>
              <a:gd name="connsiteX50" fmla="*/ 610644 w 826718"/>
              <a:gd name="connsiteY50" fmla="*/ 344465 h 1302706"/>
              <a:gd name="connsiteX51" fmla="*/ 604381 w 826718"/>
              <a:gd name="connsiteY51" fmla="*/ 353860 h 1302706"/>
              <a:gd name="connsiteX52" fmla="*/ 607512 w 826718"/>
              <a:gd name="connsiteY52" fmla="*/ 363254 h 1302706"/>
              <a:gd name="connsiteX53" fmla="*/ 613776 w 826718"/>
              <a:gd name="connsiteY53" fmla="*/ 369517 h 1302706"/>
              <a:gd name="connsiteX54" fmla="*/ 620039 w 826718"/>
              <a:gd name="connsiteY54" fmla="*/ 378912 h 1302706"/>
              <a:gd name="connsiteX55" fmla="*/ 629433 w 826718"/>
              <a:gd name="connsiteY55" fmla="*/ 447805 h 1302706"/>
              <a:gd name="connsiteX56" fmla="*/ 635696 w 826718"/>
              <a:gd name="connsiteY56" fmla="*/ 472857 h 1302706"/>
              <a:gd name="connsiteX57" fmla="*/ 632565 w 826718"/>
              <a:gd name="connsiteY57" fmla="*/ 519830 h 1302706"/>
              <a:gd name="connsiteX58" fmla="*/ 626302 w 826718"/>
              <a:gd name="connsiteY58" fmla="*/ 541750 h 1302706"/>
              <a:gd name="connsiteX59" fmla="*/ 629433 w 826718"/>
              <a:gd name="connsiteY59" fmla="*/ 560539 h 1302706"/>
              <a:gd name="connsiteX60" fmla="*/ 632565 w 826718"/>
              <a:gd name="connsiteY60" fmla="*/ 573065 h 1302706"/>
              <a:gd name="connsiteX61" fmla="*/ 629433 w 826718"/>
              <a:gd name="connsiteY61" fmla="*/ 604380 h 1302706"/>
              <a:gd name="connsiteX62" fmla="*/ 632565 w 826718"/>
              <a:gd name="connsiteY62" fmla="*/ 626301 h 1302706"/>
              <a:gd name="connsiteX63" fmla="*/ 645091 w 826718"/>
              <a:gd name="connsiteY63" fmla="*/ 645090 h 1302706"/>
              <a:gd name="connsiteX64" fmla="*/ 651354 w 826718"/>
              <a:gd name="connsiteY64" fmla="*/ 667011 h 1302706"/>
              <a:gd name="connsiteX65" fmla="*/ 645091 w 826718"/>
              <a:gd name="connsiteY65" fmla="*/ 729641 h 1302706"/>
              <a:gd name="connsiteX66" fmla="*/ 648222 w 826718"/>
              <a:gd name="connsiteY66" fmla="*/ 751561 h 1302706"/>
              <a:gd name="connsiteX67" fmla="*/ 657617 w 826718"/>
              <a:gd name="connsiteY67" fmla="*/ 760956 h 1302706"/>
              <a:gd name="connsiteX68" fmla="*/ 663880 w 826718"/>
              <a:gd name="connsiteY68" fmla="*/ 770350 h 1302706"/>
              <a:gd name="connsiteX69" fmla="*/ 673274 w 826718"/>
              <a:gd name="connsiteY69" fmla="*/ 789139 h 1302706"/>
              <a:gd name="connsiteX70" fmla="*/ 685800 w 826718"/>
              <a:gd name="connsiteY70" fmla="*/ 817323 h 1302706"/>
              <a:gd name="connsiteX71" fmla="*/ 695195 w 826718"/>
              <a:gd name="connsiteY71" fmla="*/ 823586 h 1302706"/>
              <a:gd name="connsiteX72" fmla="*/ 692063 w 826718"/>
              <a:gd name="connsiteY72" fmla="*/ 854901 h 1302706"/>
              <a:gd name="connsiteX73" fmla="*/ 685800 w 826718"/>
              <a:gd name="connsiteY73" fmla="*/ 864295 h 1302706"/>
              <a:gd name="connsiteX74" fmla="*/ 682669 w 826718"/>
              <a:gd name="connsiteY74" fmla="*/ 873690 h 1302706"/>
              <a:gd name="connsiteX75" fmla="*/ 692063 w 826718"/>
              <a:gd name="connsiteY75" fmla="*/ 895611 h 1302706"/>
              <a:gd name="connsiteX76" fmla="*/ 695195 w 826718"/>
              <a:gd name="connsiteY76" fmla="*/ 905005 h 1302706"/>
              <a:gd name="connsiteX77" fmla="*/ 717115 w 826718"/>
              <a:gd name="connsiteY77" fmla="*/ 930057 h 1302706"/>
              <a:gd name="connsiteX78" fmla="*/ 754693 w 826718"/>
              <a:gd name="connsiteY78" fmla="*/ 933189 h 1302706"/>
              <a:gd name="connsiteX79" fmla="*/ 786008 w 826718"/>
              <a:gd name="connsiteY79" fmla="*/ 955109 h 1302706"/>
              <a:gd name="connsiteX80" fmla="*/ 795403 w 826718"/>
              <a:gd name="connsiteY80" fmla="*/ 964504 h 1302706"/>
              <a:gd name="connsiteX81" fmla="*/ 804797 w 826718"/>
              <a:gd name="connsiteY81" fmla="*/ 970767 h 1302706"/>
              <a:gd name="connsiteX82" fmla="*/ 811060 w 826718"/>
              <a:gd name="connsiteY82" fmla="*/ 980161 h 1302706"/>
              <a:gd name="connsiteX83" fmla="*/ 826718 w 826718"/>
              <a:gd name="connsiteY83" fmla="*/ 998950 h 1302706"/>
              <a:gd name="connsiteX84" fmla="*/ 811060 w 826718"/>
              <a:gd name="connsiteY84" fmla="*/ 1017739 h 1302706"/>
              <a:gd name="connsiteX85" fmla="*/ 804797 w 826718"/>
              <a:gd name="connsiteY85" fmla="*/ 1027134 h 1302706"/>
              <a:gd name="connsiteX86" fmla="*/ 798534 w 826718"/>
              <a:gd name="connsiteY86" fmla="*/ 1049054 h 1302706"/>
              <a:gd name="connsiteX87" fmla="*/ 792271 w 826718"/>
              <a:gd name="connsiteY87" fmla="*/ 1067843 h 1302706"/>
              <a:gd name="connsiteX88" fmla="*/ 786008 w 826718"/>
              <a:gd name="connsiteY88" fmla="*/ 1077238 h 1302706"/>
              <a:gd name="connsiteX89" fmla="*/ 795403 w 826718"/>
              <a:gd name="connsiteY89" fmla="*/ 1130474 h 1302706"/>
              <a:gd name="connsiteX90" fmla="*/ 801666 w 826718"/>
              <a:gd name="connsiteY90" fmla="*/ 1139868 h 1302706"/>
              <a:gd name="connsiteX91" fmla="*/ 804797 w 826718"/>
              <a:gd name="connsiteY91" fmla="*/ 1152394 h 1302706"/>
              <a:gd name="connsiteX92" fmla="*/ 795403 w 826718"/>
              <a:gd name="connsiteY92" fmla="*/ 1161789 h 1302706"/>
              <a:gd name="connsiteX93" fmla="*/ 776614 w 826718"/>
              <a:gd name="connsiteY93" fmla="*/ 1171183 h 1302706"/>
              <a:gd name="connsiteX94" fmla="*/ 701458 w 826718"/>
              <a:gd name="connsiteY94" fmla="*/ 1161789 h 1302706"/>
              <a:gd name="connsiteX95" fmla="*/ 679537 w 826718"/>
              <a:gd name="connsiteY95" fmla="*/ 1155526 h 1302706"/>
              <a:gd name="connsiteX96" fmla="*/ 604381 w 826718"/>
              <a:gd name="connsiteY96" fmla="*/ 1152394 h 1302706"/>
              <a:gd name="connsiteX97" fmla="*/ 538619 w 826718"/>
              <a:gd name="connsiteY97" fmla="*/ 1149263 h 1302706"/>
              <a:gd name="connsiteX98" fmla="*/ 535488 w 826718"/>
              <a:gd name="connsiteY98" fmla="*/ 1161789 h 1302706"/>
              <a:gd name="connsiteX99" fmla="*/ 529225 w 826718"/>
              <a:gd name="connsiteY99" fmla="*/ 1180578 h 1302706"/>
              <a:gd name="connsiteX100" fmla="*/ 516699 w 826718"/>
              <a:gd name="connsiteY100" fmla="*/ 1177446 h 1302706"/>
              <a:gd name="connsiteX101" fmla="*/ 507304 w 826718"/>
              <a:gd name="connsiteY101" fmla="*/ 1174315 h 1302706"/>
              <a:gd name="connsiteX102" fmla="*/ 497910 w 826718"/>
              <a:gd name="connsiteY102" fmla="*/ 1177446 h 1302706"/>
              <a:gd name="connsiteX103" fmla="*/ 494778 w 826718"/>
              <a:gd name="connsiteY103" fmla="*/ 1186841 h 1302706"/>
              <a:gd name="connsiteX104" fmla="*/ 491647 w 826718"/>
              <a:gd name="connsiteY104" fmla="*/ 1174315 h 1302706"/>
              <a:gd name="connsiteX105" fmla="*/ 485384 w 826718"/>
              <a:gd name="connsiteY105" fmla="*/ 1164920 h 1302706"/>
              <a:gd name="connsiteX106" fmla="*/ 482252 w 826718"/>
              <a:gd name="connsiteY106" fmla="*/ 1155526 h 1302706"/>
              <a:gd name="connsiteX107" fmla="*/ 472858 w 826718"/>
              <a:gd name="connsiteY107" fmla="*/ 1149263 h 1302706"/>
              <a:gd name="connsiteX108" fmla="*/ 463463 w 826718"/>
              <a:gd name="connsiteY108" fmla="*/ 1139868 h 1302706"/>
              <a:gd name="connsiteX109" fmla="*/ 441543 w 826718"/>
              <a:gd name="connsiteY109" fmla="*/ 1143000 h 1302706"/>
              <a:gd name="connsiteX110" fmla="*/ 422754 w 826718"/>
              <a:gd name="connsiteY110" fmla="*/ 1155526 h 1302706"/>
              <a:gd name="connsiteX111" fmla="*/ 407096 w 826718"/>
              <a:gd name="connsiteY111" fmla="*/ 1174315 h 1302706"/>
              <a:gd name="connsiteX112" fmla="*/ 385176 w 826718"/>
              <a:gd name="connsiteY112" fmla="*/ 1171183 h 1302706"/>
              <a:gd name="connsiteX113" fmla="*/ 375781 w 826718"/>
              <a:gd name="connsiteY113" fmla="*/ 1168052 h 1302706"/>
              <a:gd name="connsiteX114" fmla="*/ 356992 w 826718"/>
              <a:gd name="connsiteY114" fmla="*/ 1171183 h 1302706"/>
              <a:gd name="connsiteX115" fmla="*/ 347597 w 826718"/>
              <a:gd name="connsiteY115" fmla="*/ 1177446 h 1302706"/>
              <a:gd name="connsiteX116" fmla="*/ 331940 w 826718"/>
              <a:gd name="connsiteY116" fmla="*/ 1196235 h 1302706"/>
              <a:gd name="connsiteX117" fmla="*/ 335071 w 826718"/>
              <a:gd name="connsiteY117" fmla="*/ 1224419 h 1302706"/>
              <a:gd name="connsiteX118" fmla="*/ 335071 w 826718"/>
              <a:gd name="connsiteY118" fmla="*/ 1280786 h 1302706"/>
              <a:gd name="connsiteX119" fmla="*/ 316282 w 826718"/>
              <a:gd name="connsiteY119" fmla="*/ 1287049 h 1302706"/>
              <a:gd name="connsiteX120" fmla="*/ 297493 w 826718"/>
              <a:gd name="connsiteY120" fmla="*/ 1293312 h 1302706"/>
              <a:gd name="connsiteX121" fmla="*/ 272441 w 826718"/>
              <a:gd name="connsiteY121" fmla="*/ 1296443 h 1302706"/>
              <a:gd name="connsiteX122" fmla="*/ 256784 w 826718"/>
              <a:gd name="connsiteY122" fmla="*/ 1299575 h 1302706"/>
              <a:gd name="connsiteX123" fmla="*/ 237995 w 826718"/>
              <a:gd name="connsiteY123" fmla="*/ 1302706 h 1302706"/>
              <a:gd name="connsiteX124" fmla="*/ 225469 w 826718"/>
              <a:gd name="connsiteY124" fmla="*/ 1299575 h 1302706"/>
              <a:gd name="connsiteX125" fmla="*/ 237995 w 826718"/>
              <a:gd name="connsiteY125" fmla="*/ 1280786 h 1302706"/>
              <a:gd name="connsiteX126" fmla="*/ 256784 w 826718"/>
              <a:gd name="connsiteY126" fmla="*/ 1268260 h 1302706"/>
              <a:gd name="connsiteX127" fmla="*/ 266178 w 826718"/>
              <a:gd name="connsiteY127" fmla="*/ 1261997 h 1302706"/>
              <a:gd name="connsiteX128" fmla="*/ 250521 w 826718"/>
              <a:gd name="connsiteY128" fmla="*/ 1246339 h 1302706"/>
              <a:gd name="connsiteX129" fmla="*/ 237995 w 826718"/>
              <a:gd name="connsiteY129" fmla="*/ 1218156 h 1302706"/>
              <a:gd name="connsiteX130" fmla="*/ 231732 w 826718"/>
              <a:gd name="connsiteY130" fmla="*/ 1199367 h 1302706"/>
              <a:gd name="connsiteX131" fmla="*/ 228600 w 826718"/>
              <a:gd name="connsiteY131" fmla="*/ 1189972 h 1302706"/>
              <a:gd name="connsiteX132" fmla="*/ 231732 w 826718"/>
              <a:gd name="connsiteY132" fmla="*/ 1164920 h 1302706"/>
              <a:gd name="connsiteX133" fmla="*/ 247389 w 826718"/>
              <a:gd name="connsiteY133" fmla="*/ 1146131 h 1302706"/>
              <a:gd name="connsiteX134" fmla="*/ 237995 w 826718"/>
              <a:gd name="connsiteY134" fmla="*/ 1139868 h 1302706"/>
              <a:gd name="connsiteX135" fmla="*/ 212943 w 826718"/>
              <a:gd name="connsiteY135" fmla="*/ 1146131 h 1302706"/>
              <a:gd name="connsiteX136" fmla="*/ 194154 w 826718"/>
              <a:gd name="connsiteY136" fmla="*/ 1155526 h 1302706"/>
              <a:gd name="connsiteX137" fmla="*/ 178496 w 826718"/>
              <a:gd name="connsiteY137" fmla="*/ 1152394 h 1302706"/>
              <a:gd name="connsiteX138" fmla="*/ 150312 w 826718"/>
              <a:gd name="connsiteY138" fmla="*/ 1136737 h 1302706"/>
              <a:gd name="connsiteX139" fmla="*/ 140918 w 826718"/>
              <a:gd name="connsiteY139" fmla="*/ 1139868 h 1302706"/>
              <a:gd name="connsiteX140" fmla="*/ 134655 w 826718"/>
              <a:gd name="connsiteY140" fmla="*/ 1149263 h 1302706"/>
              <a:gd name="connsiteX141" fmla="*/ 125260 w 826718"/>
              <a:gd name="connsiteY141" fmla="*/ 1155526 h 1302706"/>
              <a:gd name="connsiteX142" fmla="*/ 118997 w 826718"/>
              <a:gd name="connsiteY142" fmla="*/ 1146131 h 1302706"/>
              <a:gd name="connsiteX143" fmla="*/ 106471 w 826718"/>
              <a:gd name="connsiteY143" fmla="*/ 1127342 h 1302706"/>
              <a:gd name="connsiteX144" fmla="*/ 84551 w 826718"/>
              <a:gd name="connsiteY144" fmla="*/ 1124211 h 1302706"/>
              <a:gd name="connsiteX145" fmla="*/ 78288 w 826718"/>
              <a:gd name="connsiteY145" fmla="*/ 1105422 h 1302706"/>
              <a:gd name="connsiteX146" fmla="*/ 75156 w 826718"/>
              <a:gd name="connsiteY146" fmla="*/ 1074106 h 1302706"/>
              <a:gd name="connsiteX147" fmla="*/ 65762 w 826718"/>
              <a:gd name="connsiteY147" fmla="*/ 1067843 h 1302706"/>
              <a:gd name="connsiteX148" fmla="*/ 56367 w 826718"/>
              <a:gd name="connsiteY148" fmla="*/ 1058449 h 1302706"/>
              <a:gd name="connsiteX149" fmla="*/ 37578 w 826718"/>
              <a:gd name="connsiteY149" fmla="*/ 1030265 h 1302706"/>
              <a:gd name="connsiteX150" fmla="*/ 31315 w 826718"/>
              <a:gd name="connsiteY150" fmla="*/ 1020871 h 1302706"/>
              <a:gd name="connsiteX151" fmla="*/ 34447 w 826718"/>
              <a:gd name="connsiteY151" fmla="*/ 998950 h 1302706"/>
              <a:gd name="connsiteX152" fmla="*/ 28184 w 826718"/>
              <a:gd name="connsiteY152" fmla="*/ 980161 h 1302706"/>
              <a:gd name="connsiteX153" fmla="*/ 31315 w 826718"/>
              <a:gd name="connsiteY153" fmla="*/ 970767 h 1302706"/>
              <a:gd name="connsiteX154" fmla="*/ 40710 w 826718"/>
              <a:gd name="connsiteY154" fmla="*/ 964504 h 1302706"/>
              <a:gd name="connsiteX155" fmla="*/ 46973 w 826718"/>
              <a:gd name="connsiteY155" fmla="*/ 955109 h 1302706"/>
              <a:gd name="connsiteX156" fmla="*/ 56367 w 826718"/>
              <a:gd name="connsiteY156" fmla="*/ 926926 h 1302706"/>
              <a:gd name="connsiteX157" fmla="*/ 62630 w 826718"/>
              <a:gd name="connsiteY157" fmla="*/ 917531 h 1302706"/>
              <a:gd name="connsiteX158" fmla="*/ 65762 w 826718"/>
              <a:gd name="connsiteY158" fmla="*/ 908137 h 1302706"/>
              <a:gd name="connsiteX159" fmla="*/ 68893 w 826718"/>
              <a:gd name="connsiteY159" fmla="*/ 895611 h 1302706"/>
              <a:gd name="connsiteX160" fmla="*/ 81419 w 826718"/>
              <a:gd name="connsiteY160" fmla="*/ 876822 h 1302706"/>
              <a:gd name="connsiteX161" fmla="*/ 84551 w 826718"/>
              <a:gd name="connsiteY161" fmla="*/ 867427 h 1302706"/>
              <a:gd name="connsiteX162" fmla="*/ 93945 w 826718"/>
              <a:gd name="connsiteY162" fmla="*/ 861164 h 1302706"/>
              <a:gd name="connsiteX163" fmla="*/ 103340 w 826718"/>
              <a:gd name="connsiteY163" fmla="*/ 842375 h 1302706"/>
              <a:gd name="connsiteX164" fmla="*/ 112734 w 826718"/>
              <a:gd name="connsiteY164" fmla="*/ 836112 h 1302706"/>
              <a:gd name="connsiteX165" fmla="*/ 115866 w 826718"/>
              <a:gd name="connsiteY165" fmla="*/ 826717 h 1302706"/>
              <a:gd name="connsiteX166" fmla="*/ 144049 w 826718"/>
              <a:gd name="connsiteY166" fmla="*/ 811060 h 1302706"/>
              <a:gd name="connsiteX167" fmla="*/ 165970 w 826718"/>
              <a:gd name="connsiteY167" fmla="*/ 817323 h 1302706"/>
              <a:gd name="connsiteX168" fmla="*/ 175365 w 826718"/>
              <a:gd name="connsiteY168" fmla="*/ 823586 h 1302706"/>
              <a:gd name="connsiteX169" fmla="*/ 222337 w 826718"/>
              <a:gd name="connsiteY169" fmla="*/ 820454 h 1302706"/>
              <a:gd name="connsiteX170" fmla="*/ 241126 w 826718"/>
              <a:gd name="connsiteY170" fmla="*/ 814191 h 1302706"/>
              <a:gd name="connsiteX171" fmla="*/ 259915 w 826718"/>
              <a:gd name="connsiteY171" fmla="*/ 807928 h 1302706"/>
              <a:gd name="connsiteX172" fmla="*/ 284967 w 826718"/>
              <a:gd name="connsiteY172" fmla="*/ 801665 h 1302706"/>
              <a:gd name="connsiteX173" fmla="*/ 294362 w 826718"/>
              <a:gd name="connsiteY173" fmla="*/ 795402 h 1302706"/>
              <a:gd name="connsiteX174" fmla="*/ 297493 w 826718"/>
              <a:gd name="connsiteY174" fmla="*/ 782876 h 1302706"/>
              <a:gd name="connsiteX175" fmla="*/ 306888 w 826718"/>
              <a:gd name="connsiteY175" fmla="*/ 779745 h 1302706"/>
              <a:gd name="connsiteX176" fmla="*/ 322545 w 826718"/>
              <a:gd name="connsiteY176" fmla="*/ 776613 h 1302706"/>
              <a:gd name="connsiteX177" fmla="*/ 313151 w 826718"/>
              <a:gd name="connsiteY177" fmla="*/ 745298 h 1302706"/>
              <a:gd name="connsiteX178" fmla="*/ 303756 w 826718"/>
              <a:gd name="connsiteY178" fmla="*/ 739035 h 1302706"/>
              <a:gd name="connsiteX179" fmla="*/ 294362 w 826718"/>
              <a:gd name="connsiteY179" fmla="*/ 720246 h 1302706"/>
              <a:gd name="connsiteX180" fmla="*/ 278704 w 826718"/>
              <a:gd name="connsiteY180" fmla="*/ 692063 h 1302706"/>
              <a:gd name="connsiteX181" fmla="*/ 250521 w 826718"/>
              <a:gd name="connsiteY181" fmla="*/ 670142 h 1302706"/>
              <a:gd name="connsiteX182" fmla="*/ 241126 w 826718"/>
              <a:gd name="connsiteY182" fmla="*/ 663879 h 1302706"/>
              <a:gd name="connsiteX183" fmla="*/ 219206 w 826718"/>
              <a:gd name="connsiteY183" fmla="*/ 657616 h 1302706"/>
              <a:gd name="connsiteX184" fmla="*/ 222337 w 826718"/>
              <a:gd name="connsiteY184" fmla="*/ 648222 h 1302706"/>
              <a:gd name="connsiteX185" fmla="*/ 237995 w 826718"/>
              <a:gd name="connsiteY185" fmla="*/ 635695 h 1302706"/>
              <a:gd name="connsiteX186" fmla="*/ 247389 w 826718"/>
              <a:gd name="connsiteY186" fmla="*/ 626301 h 1302706"/>
              <a:gd name="connsiteX187" fmla="*/ 256784 w 826718"/>
              <a:gd name="connsiteY187" fmla="*/ 613775 h 1302706"/>
              <a:gd name="connsiteX188" fmla="*/ 263047 w 826718"/>
              <a:gd name="connsiteY188" fmla="*/ 604380 h 1302706"/>
              <a:gd name="connsiteX189" fmla="*/ 272441 w 826718"/>
              <a:gd name="connsiteY189" fmla="*/ 598117 h 1302706"/>
              <a:gd name="connsiteX190" fmla="*/ 272441 w 826718"/>
              <a:gd name="connsiteY190" fmla="*/ 576197 h 1302706"/>
              <a:gd name="connsiteX191" fmla="*/ 263047 w 826718"/>
              <a:gd name="connsiteY191" fmla="*/ 573065 h 1302706"/>
              <a:gd name="connsiteX192" fmla="*/ 222337 w 826718"/>
              <a:gd name="connsiteY192" fmla="*/ 563671 h 1302706"/>
              <a:gd name="connsiteX193" fmla="*/ 212943 w 826718"/>
              <a:gd name="connsiteY193" fmla="*/ 557408 h 1302706"/>
              <a:gd name="connsiteX194" fmla="*/ 194154 w 826718"/>
              <a:gd name="connsiteY194" fmla="*/ 551145 h 1302706"/>
              <a:gd name="connsiteX195" fmla="*/ 187891 w 826718"/>
              <a:gd name="connsiteY195" fmla="*/ 541750 h 1302706"/>
              <a:gd name="connsiteX196" fmla="*/ 169102 w 826718"/>
              <a:gd name="connsiteY196" fmla="*/ 535487 h 1302706"/>
              <a:gd name="connsiteX197" fmla="*/ 140918 w 826718"/>
              <a:gd name="connsiteY197" fmla="*/ 538619 h 1302706"/>
              <a:gd name="connsiteX198" fmla="*/ 137786 w 826718"/>
              <a:gd name="connsiteY198" fmla="*/ 548013 h 1302706"/>
              <a:gd name="connsiteX199" fmla="*/ 115866 w 826718"/>
              <a:gd name="connsiteY199" fmla="*/ 573065 h 1302706"/>
              <a:gd name="connsiteX200" fmla="*/ 97077 w 826718"/>
              <a:gd name="connsiteY200" fmla="*/ 588723 h 1302706"/>
              <a:gd name="connsiteX201" fmla="*/ 90814 w 826718"/>
              <a:gd name="connsiteY201" fmla="*/ 598117 h 1302706"/>
              <a:gd name="connsiteX202" fmla="*/ 81419 w 826718"/>
              <a:gd name="connsiteY202" fmla="*/ 604380 h 1302706"/>
              <a:gd name="connsiteX203" fmla="*/ 75156 w 826718"/>
              <a:gd name="connsiteY203" fmla="*/ 613775 h 1302706"/>
              <a:gd name="connsiteX204" fmla="*/ 68893 w 826718"/>
              <a:gd name="connsiteY204" fmla="*/ 638827 h 1302706"/>
              <a:gd name="connsiteX205" fmla="*/ 72025 w 826718"/>
              <a:gd name="connsiteY205" fmla="*/ 648222 h 1302706"/>
              <a:gd name="connsiteX206" fmla="*/ 90814 w 826718"/>
              <a:gd name="connsiteY206" fmla="*/ 660748 h 1302706"/>
              <a:gd name="connsiteX207" fmla="*/ 72025 w 826718"/>
              <a:gd name="connsiteY207" fmla="*/ 679537 h 1302706"/>
              <a:gd name="connsiteX208" fmla="*/ 62630 w 826718"/>
              <a:gd name="connsiteY208" fmla="*/ 676405 h 1302706"/>
              <a:gd name="connsiteX209" fmla="*/ 50104 w 826718"/>
              <a:gd name="connsiteY209" fmla="*/ 660748 h 1302706"/>
              <a:gd name="connsiteX210" fmla="*/ 46973 w 826718"/>
              <a:gd name="connsiteY210" fmla="*/ 670142 h 1302706"/>
              <a:gd name="connsiteX211" fmla="*/ 40710 w 826718"/>
              <a:gd name="connsiteY211" fmla="*/ 679537 h 1302706"/>
              <a:gd name="connsiteX212" fmla="*/ 18789 w 826718"/>
              <a:gd name="connsiteY212" fmla="*/ 667011 h 1302706"/>
              <a:gd name="connsiteX213" fmla="*/ 0 w 826718"/>
              <a:gd name="connsiteY213" fmla="*/ 654485 h 1302706"/>
              <a:gd name="connsiteX214" fmla="*/ 3132 w 826718"/>
              <a:gd name="connsiteY214" fmla="*/ 620038 h 1302706"/>
              <a:gd name="connsiteX215" fmla="*/ 21921 w 826718"/>
              <a:gd name="connsiteY215" fmla="*/ 607512 h 1302706"/>
              <a:gd name="connsiteX216" fmla="*/ 31315 w 826718"/>
              <a:gd name="connsiteY216" fmla="*/ 588723 h 1302706"/>
              <a:gd name="connsiteX217" fmla="*/ 28184 w 826718"/>
              <a:gd name="connsiteY217" fmla="*/ 573065 h 1302706"/>
              <a:gd name="connsiteX218" fmla="*/ 31315 w 826718"/>
              <a:gd name="connsiteY218" fmla="*/ 554276 h 1302706"/>
              <a:gd name="connsiteX219" fmla="*/ 43841 w 826718"/>
              <a:gd name="connsiteY219" fmla="*/ 535487 h 1302706"/>
              <a:gd name="connsiteX220" fmla="*/ 53236 w 826718"/>
              <a:gd name="connsiteY220" fmla="*/ 501041 h 1302706"/>
              <a:gd name="connsiteX221" fmla="*/ 56367 w 826718"/>
              <a:gd name="connsiteY221" fmla="*/ 491646 h 1302706"/>
              <a:gd name="connsiteX222" fmla="*/ 59499 w 826718"/>
              <a:gd name="connsiteY222" fmla="*/ 479120 h 1302706"/>
              <a:gd name="connsiteX223" fmla="*/ 50104 w 826718"/>
              <a:gd name="connsiteY223" fmla="*/ 422753 h 1302706"/>
              <a:gd name="connsiteX224" fmla="*/ 40710 w 826718"/>
              <a:gd name="connsiteY224" fmla="*/ 413358 h 1302706"/>
              <a:gd name="connsiteX225" fmla="*/ 40710 w 826718"/>
              <a:gd name="connsiteY225" fmla="*/ 394569 h 1302706"/>
              <a:gd name="connsiteX226" fmla="*/ 50104 w 826718"/>
              <a:gd name="connsiteY226" fmla="*/ 391438 h 1302706"/>
              <a:gd name="connsiteX227" fmla="*/ 59499 w 826718"/>
              <a:gd name="connsiteY227" fmla="*/ 353860 h 1302706"/>
              <a:gd name="connsiteX228" fmla="*/ 62630 w 826718"/>
              <a:gd name="connsiteY228" fmla="*/ 344465 h 1302706"/>
              <a:gd name="connsiteX229" fmla="*/ 75156 w 826718"/>
              <a:gd name="connsiteY229" fmla="*/ 341334 h 1302706"/>
              <a:gd name="connsiteX230" fmla="*/ 87682 w 826718"/>
              <a:gd name="connsiteY230" fmla="*/ 281835 h 1302706"/>
              <a:gd name="connsiteX231" fmla="*/ 106471 w 826718"/>
              <a:gd name="connsiteY231" fmla="*/ 275572 h 1302706"/>
              <a:gd name="connsiteX232" fmla="*/ 112734 w 826718"/>
              <a:gd name="connsiteY232" fmla="*/ 266178 h 1302706"/>
              <a:gd name="connsiteX233" fmla="*/ 115866 w 826718"/>
              <a:gd name="connsiteY233" fmla="*/ 244257 h 1302706"/>
              <a:gd name="connsiteX234" fmla="*/ 122129 w 826718"/>
              <a:gd name="connsiteY234" fmla="*/ 219205 h 1302706"/>
              <a:gd name="connsiteX235" fmla="*/ 118997 w 826718"/>
              <a:gd name="connsiteY235" fmla="*/ 209811 h 1302706"/>
              <a:gd name="connsiteX236" fmla="*/ 100208 w 826718"/>
              <a:gd name="connsiteY236" fmla="*/ 203548 h 1302706"/>
              <a:gd name="connsiteX237" fmla="*/ 90814 w 826718"/>
              <a:gd name="connsiteY237" fmla="*/ 197285 h 1302706"/>
              <a:gd name="connsiteX238" fmla="*/ 81419 w 826718"/>
              <a:gd name="connsiteY238" fmla="*/ 194153 h 1302706"/>
              <a:gd name="connsiteX239" fmla="*/ 78288 w 826718"/>
              <a:gd name="connsiteY239" fmla="*/ 184758 h 1302706"/>
              <a:gd name="connsiteX240" fmla="*/ 75156 w 826718"/>
              <a:gd name="connsiteY240" fmla="*/ 169101 h 1302706"/>
              <a:gd name="connsiteX241" fmla="*/ 72025 w 826718"/>
              <a:gd name="connsiteY241" fmla="*/ 159706 h 1302706"/>
              <a:gd name="connsiteX242" fmla="*/ 68893 w 826718"/>
              <a:gd name="connsiteY242" fmla="*/ 140917 h 1302706"/>
              <a:gd name="connsiteX243" fmla="*/ 65762 w 826718"/>
              <a:gd name="connsiteY243" fmla="*/ 84550 h 1302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</a:cxnLst>
            <a:rect l="l" t="t" r="r" b="b"/>
            <a:pathLst>
              <a:path w="826718" h="1302706">
                <a:moveTo>
                  <a:pt x="65762" y="84550"/>
                </a:moveTo>
                <a:cubicBezTo>
                  <a:pt x="67850" y="73068"/>
                  <a:pt x="76693" y="76750"/>
                  <a:pt x="81419" y="72024"/>
                </a:cubicBezTo>
                <a:cubicBezTo>
                  <a:pt x="84080" y="69363"/>
                  <a:pt x="84491" y="64625"/>
                  <a:pt x="87682" y="62630"/>
                </a:cubicBezTo>
                <a:cubicBezTo>
                  <a:pt x="93280" y="59131"/>
                  <a:pt x="106471" y="56367"/>
                  <a:pt x="106471" y="56367"/>
                </a:cubicBezTo>
                <a:cubicBezTo>
                  <a:pt x="114113" y="58914"/>
                  <a:pt x="119189" y="59690"/>
                  <a:pt x="125260" y="65761"/>
                </a:cubicBezTo>
                <a:cubicBezTo>
                  <a:pt x="127921" y="68422"/>
                  <a:pt x="128331" y="73161"/>
                  <a:pt x="131523" y="75156"/>
                </a:cubicBezTo>
                <a:cubicBezTo>
                  <a:pt x="137121" y="78655"/>
                  <a:pt x="144049" y="79331"/>
                  <a:pt x="150312" y="81419"/>
                </a:cubicBezTo>
                <a:lnTo>
                  <a:pt x="159707" y="84550"/>
                </a:lnTo>
                <a:lnTo>
                  <a:pt x="212943" y="81419"/>
                </a:lnTo>
                <a:cubicBezTo>
                  <a:pt x="221416" y="78840"/>
                  <a:pt x="224362" y="67543"/>
                  <a:pt x="231732" y="62630"/>
                </a:cubicBezTo>
                <a:cubicBezTo>
                  <a:pt x="243873" y="54536"/>
                  <a:pt x="237556" y="57557"/>
                  <a:pt x="250521" y="53235"/>
                </a:cubicBezTo>
                <a:cubicBezTo>
                  <a:pt x="253652" y="50104"/>
                  <a:pt x="257459" y="47526"/>
                  <a:pt x="259915" y="43841"/>
                </a:cubicBezTo>
                <a:cubicBezTo>
                  <a:pt x="262840" y="39453"/>
                  <a:pt x="265447" y="21469"/>
                  <a:pt x="266178" y="18789"/>
                </a:cubicBezTo>
                <a:cubicBezTo>
                  <a:pt x="267915" y="12420"/>
                  <a:pt x="272441" y="0"/>
                  <a:pt x="272441" y="0"/>
                </a:cubicBezTo>
                <a:cubicBezTo>
                  <a:pt x="282861" y="15629"/>
                  <a:pt x="277015" y="4076"/>
                  <a:pt x="281836" y="28183"/>
                </a:cubicBezTo>
                <a:cubicBezTo>
                  <a:pt x="283087" y="34437"/>
                  <a:pt x="288946" y="56072"/>
                  <a:pt x="291230" y="59498"/>
                </a:cubicBezTo>
                <a:lnTo>
                  <a:pt x="297493" y="68893"/>
                </a:lnTo>
                <a:cubicBezTo>
                  <a:pt x="298537" y="73068"/>
                  <a:pt x="299691" y="77218"/>
                  <a:pt x="300625" y="81419"/>
                </a:cubicBezTo>
                <a:cubicBezTo>
                  <a:pt x="303772" y="95579"/>
                  <a:pt x="300702" y="98172"/>
                  <a:pt x="313151" y="106471"/>
                </a:cubicBezTo>
                <a:cubicBezTo>
                  <a:pt x="315897" y="108302"/>
                  <a:pt x="319414" y="108558"/>
                  <a:pt x="322545" y="109602"/>
                </a:cubicBezTo>
                <a:cubicBezTo>
                  <a:pt x="326720" y="108558"/>
                  <a:pt x="332489" y="109914"/>
                  <a:pt x="335071" y="106471"/>
                </a:cubicBezTo>
                <a:cubicBezTo>
                  <a:pt x="337052" y="103830"/>
                  <a:pt x="329193" y="95245"/>
                  <a:pt x="331940" y="97076"/>
                </a:cubicBezTo>
                <a:cubicBezTo>
                  <a:pt x="335071" y="99164"/>
                  <a:pt x="337895" y="101810"/>
                  <a:pt x="341334" y="103339"/>
                </a:cubicBezTo>
                <a:cubicBezTo>
                  <a:pt x="358794" y="111099"/>
                  <a:pt x="365445" y="110267"/>
                  <a:pt x="385176" y="112734"/>
                </a:cubicBezTo>
                <a:cubicBezTo>
                  <a:pt x="391439" y="111690"/>
                  <a:pt x="398104" y="112044"/>
                  <a:pt x="403965" y="109602"/>
                </a:cubicBezTo>
                <a:cubicBezTo>
                  <a:pt x="416807" y="104251"/>
                  <a:pt x="423098" y="96732"/>
                  <a:pt x="432148" y="87682"/>
                </a:cubicBezTo>
                <a:cubicBezTo>
                  <a:pt x="434236" y="90813"/>
                  <a:pt x="435472" y="94725"/>
                  <a:pt x="438411" y="97076"/>
                </a:cubicBezTo>
                <a:cubicBezTo>
                  <a:pt x="441689" y="99699"/>
                  <a:pt x="462572" y="103096"/>
                  <a:pt x="463463" y="103339"/>
                </a:cubicBezTo>
                <a:cubicBezTo>
                  <a:pt x="469832" y="105076"/>
                  <a:pt x="482252" y="109602"/>
                  <a:pt x="482252" y="109602"/>
                </a:cubicBezTo>
                <a:cubicBezTo>
                  <a:pt x="483296" y="118997"/>
                  <a:pt x="483091" y="128616"/>
                  <a:pt x="485384" y="137786"/>
                </a:cubicBezTo>
                <a:cubicBezTo>
                  <a:pt x="488400" y="149850"/>
                  <a:pt x="492530" y="146056"/>
                  <a:pt x="501041" y="150312"/>
                </a:cubicBezTo>
                <a:cubicBezTo>
                  <a:pt x="525315" y="162450"/>
                  <a:pt x="496226" y="151839"/>
                  <a:pt x="519830" y="159706"/>
                </a:cubicBezTo>
                <a:cubicBezTo>
                  <a:pt x="522962" y="161794"/>
                  <a:pt x="525654" y="164779"/>
                  <a:pt x="529225" y="165969"/>
                </a:cubicBezTo>
                <a:cubicBezTo>
                  <a:pt x="535249" y="167977"/>
                  <a:pt x="542847" y="165410"/>
                  <a:pt x="548014" y="169101"/>
                </a:cubicBezTo>
                <a:cubicBezTo>
                  <a:pt x="551516" y="171603"/>
                  <a:pt x="548758" y="178046"/>
                  <a:pt x="551145" y="181627"/>
                </a:cubicBezTo>
                <a:cubicBezTo>
                  <a:pt x="553233" y="184759"/>
                  <a:pt x="557408" y="185802"/>
                  <a:pt x="560540" y="187890"/>
                </a:cubicBezTo>
                <a:cubicBezTo>
                  <a:pt x="561584" y="191022"/>
                  <a:pt x="561840" y="194538"/>
                  <a:pt x="563671" y="197285"/>
                </a:cubicBezTo>
                <a:cubicBezTo>
                  <a:pt x="566775" y="201941"/>
                  <a:pt x="576989" y="210511"/>
                  <a:pt x="582460" y="212942"/>
                </a:cubicBezTo>
                <a:cubicBezTo>
                  <a:pt x="588493" y="215623"/>
                  <a:pt x="601249" y="219205"/>
                  <a:pt x="601249" y="219205"/>
                </a:cubicBezTo>
                <a:cubicBezTo>
                  <a:pt x="604197" y="221170"/>
                  <a:pt x="618135" y="228722"/>
                  <a:pt x="616907" y="234863"/>
                </a:cubicBezTo>
                <a:cubicBezTo>
                  <a:pt x="616169" y="238554"/>
                  <a:pt x="610644" y="239038"/>
                  <a:pt x="607512" y="241126"/>
                </a:cubicBezTo>
                <a:cubicBezTo>
                  <a:pt x="601355" y="250361"/>
                  <a:pt x="600894" y="252382"/>
                  <a:pt x="591855" y="259915"/>
                </a:cubicBezTo>
                <a:cubicBezTo>
                  <a:pt x="588964" y="262325"/>
                  <a:pt x="585592" y="264090"/>
                  <a:pt x="582460" y="266178"/>
                </a:cubicBezTo>
                <a:cubicBezTo>
                  <a:pt x="583504" y="271397"/>
                  <a:pt x="583723" y="276852"/>
                  <a:pt x="585592" y="281835"/>
                </a:cubicBezTo>
                <a:cubicBezTo>
                  <a:pt x="586914" y="285359"/>
                  <a:pt x="590326" y="287791"/>
                  <a:pt x="591855" y="291230"/>
                </a:cubicBezTo>
                <a:cubicBezTo>
                  <a:pt x="594536" y="297263"/>
                  <a:pt x="596030" y="303756"/>
                  <a:pt x="598118" y="310019"/>
                </a:cubicBezTo>
                <a:cubicBezTo>
                  <a:pt x="599162" y="313150"/>
                  <a:pt x="604338" y="312243"/>
                  <a:pt x="607512" y="313150"/>
                </a:cubicBezTo>
                <a:cubicBezTo>
                  <a:pt x="635036" y="321014"/>
                  <a:pt x="606910" y="311906"/>
                  <a:pt x="629433" y="319413"/>
                </a:cubicBezTo>
                <a:cubicBezTo>
                  <a:pt x="627345" y="322545"/>
                  <a:pt x="625831" y="326147"/>
                  <a:pt x="623170" y="328808"/>
                </a:cubicBezTo>
                <a:cubicBezTo>
                  <a:pt x="620509" y="331469"/>
                  <a:pt x="616127" y="332132"/>
                  <a:pt x="613776" y="335071"/>
                </a:cubicBezTo>
                <a:cubicBezTo>
                  <a:pt x="611714" y="337648"/>
                  <a:pt x="612120" y="341513"/>
                  <a:pt x="610644" y="344465"/>
                </a:cubicBezTo>
                <a:cubicBezTo>
                  <a:pt x="608961" y="347831"/>
                  <a:pt x="606469" y="350728"/>
                  <a:pt x="604381" y="353860"/>
                </a:cubicBezTo>
                <a:cubicBezTo>
                  <a:pt x="605425" y="356991"/>
                  <a:pt x="605814" y="360424"/>
                  <a:pt x="607512" y="363254"/>
                </a:cubicBezTo>
                <a:cubicBezTo>
                  <a:pt x="609031" y="365786"/>
                  <a:pt x="611931" y="367211"/>
                  <a:pt x="613776" y="369517"/>
                </a:cubicBezTo>
                <a:cubicBezTo>
                  <a:pt x="616127" y="372456"/>
                  <a:pt x="617951" y="375780"/>
                  <a:pt x="620039" y="378912"/>
                </a:cubicBezTo>
                <a:cubicBezTo>
                  <a:pt x="626022" y="474654"/>
                  <a:pt x="616916" y="397735"/>
                  <a:pt x="629433" y="447805"/>
                </a:cubicBezTo>
                <a:lnTo>
                  <a:pt x="635696" y="472857"/>
                </a:lnTo>
                <a:cubicBezTo>
                  <a:pt x="634652" y="488515"/>
                  <a:pt x="634208" y="504224"/>
                  <a:pt x="632565" y="519830"/>
                </a:cubicBezTo>
                <a:cubicBezTo>
                  <a:pt x="631961" y="525572"/>
                  <a:pt x="628241" y="535931"/>
                  <a:pt x="626302" y="541750"/>
                </a:cubicBezTo>
                <a:cubicBezTo>
                  <a:pt x="627346" y="548013"/>
                  <a:pt x="628188" y="554313"/>
                  <a:pt x="629433" y="560539"/>
                </a:cubicBezTo>
                <a:cubicBezTo>
                  <a:pt x="630277" y="564759"/>
                  <a:pt x="632565" y="568761"/>
                  <a:pt x="632565" y="573065"/>
                </a:cubicBezTo>
                <a:cubicBezTo>
                  <a:pt x="632565" y="583555"/>
                  <a:pt x="630477" y="593942"/>
                  <a:pt x="629433" y="604380"/>
                </a:cubicBezTo>
                <a:cubicBezTo>
                  <a:pt x="630477" y="611687"/>
                  <a:pt x="629915" y="619412"/>
                  <a:pt x="632565" y="626301"/>
                </a:cubicBezTo>
                <a:cubicBezTo>
                  <a:pt x="635267" y="633326"/>
                  <a:pt x="645091" y="645090"/>
                  <a:pt x="645091" y="645090"/>
                </a:cubicBezTo>
                <a:cubicBezTo>
                  <a:pt x="646566" y="649517"/>
                  <a:pt x="651354" y="663083"/>
                  <a:pt x="651354" y="667011"/>
                </a:cubicBezTo>
                <a:cubicBezTo>
                  <a:pt x="651354" y="707806"/>
                  <a:pt x="651405" y="704379"/>
                  <a:pt x="645091" y="729641"/>
                </a:cubicBezTo>
                <a:cubicBezTo>
                  <a:pt x="646135" y="736948"/>
                  <a:pt x="645481" y="744708"/>
                  <a:pt x="648222" y="751561"/>
                </a:cubicBezTo>
                <a:cubicBezTo>
                  <a:pt x="649867" y="755673"/>
                  <a:pt x="654782" y="757554"/>
                  <a:pt x="657617" y="760956"/>
                </a:cubicBezTo>
                <a:cubicBezTo>
                  <a:pt x="660026" y="763847"/>
                  <a:pt x="661792" y="767219"/>
                  <a:pt x="663880" y="770350"/>
                </a:cubicBezTo>
                <a:cubicBezTo>
                  <a:pt x="675294" y="804600"/>
                  <a:pt x="657093" y="752732"/>
                  <a:pt x="673274" y="789139"/>
                </a:cubicBezTo>
                <a:cubicBezTo>
                  <a:pt x="678235" y="800300"/>
                  <a:pt x="677296" y="808819"/>
                  <a:pt x="685800" y="817323"/>
                </a:cubicBezTo>
                <a:cubicBezTo>
                  <a:pt x="688461" y="819984"/>
                  <a:pt x="692063" y="821498"/>
                  <a:pt x="695195" y="823586"/>
                </a:cubicBezTo>
                <a:cubicBezTo>
                  <a:pt x="694151" y="834024"/>
                  <a:pt x="694422" y="844679"/>
                  <a:pt x="692063" y="854901"/>
                </a:cubicBezTo>
                <a:cubicBezTo>
                  <a:pt x="691217" y="858568"/>
                  <a:pt x="687483" y="860929"/>
                  <a:pt x="685800" y="864295"/>
                </a:cubicBezTo>
                <a:cubicBezTo>
                  <a:pt x="684324" y="867248"/>
                  <a:pt x="683713" y="870558"/>
                  <a:pt x="682669" y="873690"/>
                </a:cubicBezTo>
                <a:cubicBezTo>
                  <a:pt x="689184" y="899753"/>
                  <a:pt x="681252" y="873990"/>
                  <a:pt x="692063" y="895611"/>
                </a:cubicBezTo>
                <a:cubicBezTo>
                  <a:pt x="693539" y="898563"/>
                  <a:pt x="693592" y="902120"/>
                  <a:pt x="695195" y="905005"/>
                </a:cubicBezTo>
                <a:cubicBezTo>
                  <a:pt x="697935" y="909936"/>
                  <a:pt x="707395" y="928113"/>
                  <a:pt x="717115" y="930057"/>
                </a:cubicBezTo>
                <a:cubicBezTo>
                  <a:pt x="729440" y="932522"/>
                  <a:pt x="742167" y="932145"/>
                  <a:pt x="754693" y="933189"/>
                </a:cubicBezTo>
                <a:cubicBezTo>
                  <a:pt x="773241" y="947099"/>
                  <a:pt x="762876" y="939688"/>
                  <a:pt x="786008" y="955109"/>
                </a:cubicBezTo>
                <a:cubicBezTo>
                  <a:pt x="789693" y="957566"/>
                  <a:pt x="792001" y="961669"/>
                  <a:pt x="795403" y="964504"/>
                </a:cubicBezTo>
                <a:cubicBezTo>
                  <a:pt x="798294" y="966913"/>
                  <a:pt x="801666" y="968679"/>
                  <a:pt x="804797" y="970767"/>
                </a:cubicBezTo>
                <a:cubicBezTo>
                  <a:pt x="806885" y="973898"/>
                  <a:pt x="808651" y="977270"/>
                  <a:pt x="811060" y="980161"/>
                </a:cubicBezTo>
                <a:cubicBezTo>
                  <a:pt x="831153" y="1004272"/>
                  <a:pt x="811169" y="975627"/>
                  <a:pt x="826718" y="998950"/>
                </a:cubicBezTo>
                <a:cubicBezTo>
                  <a:pt x="811168" y="1022276"/>
                  <a:pt x="831154" y="993627"/>
                  <a:pt x="811060" y="1017739"/>
                </a:cubicBezTo>
                <a:cubicBezTo>
                  <a:pt x="808650" y="1020630"/>
                  <a:pt x="806885" y="1024002"/>
                  <a:pt x="804797" y="1027134"/>
                </a:cubicBezTo>
                <a:cubicBezTo>
                  <a:pt x="794268" y="1058723"/>
                  <a:pt x="810338" y="1009709"/>
                  <a:pt x="798534" y="1049054"/>
                </a:cubicBezTo>
                <a:cubicBezTo>
                  <a:pt x="796637" y="1055377"/>
                  <a:pt x="795933" y="1062350"/>
                  <a:pt x="792271" y="1067843"/>
                </a:cubicBezTo>
                <a:lnTo>
                  <a:pt x="786008" y="1077238"/>
                </a:lnTo>
                <a:cubicBezTo>
                  <a:pt x="787005" y="1088201"/>
                  <a:pt x="787059" y="1117959"/>
                  <a:pt x="795403" y="1130474"/>
                </a:cubicBezTo>
                <a:lnTo>
                  <a:pt x="801666" y="1139868"/>
                </a:lnTo>
                <a:cubicBezTo>
                  <a:pt x="802710" y="1144043"/>
                  <a:pt x="805979" y="1148256"/>
                  <a:pt x="804797" y="1152394"/>
                </a:cubicBezTo>
                <a:cubicBezTo>
                  <a:pt x="803580" y="1156652"/>
                  <a:pt x="798805" y="1158954"/>
                  <a:pt x="795403" y="1161789"/>
                </a:cubicBezTo>
                <a:cubicBezTo>
                  <a:pt x="787310" y="1168534"/>
                  <a:pt x="786029" y="1168045"/>
                  <a:pt x="776614" y="1171183"/>
                </a:cubicBezTo>
                <a:cubicBezTo>
                  <a:pt x="739973" y="1158969"/>
                  <a:pt x="764417" y="1165286"/>
                  <a:pt x="701458" y="1161789"/>
                </a:cubicBezTo>
                <a:cubicBezTo>
                  <a:pt x="696203" y="1160037"/>
                  <a:pt x="684545" y="1155884"/>
                  <a:pt x="679537" y="1155526"/>
                </a:cubicBezTo>
                <a:cubicBezTo>
                  <a:pt x="654527" y="1153740"/>
                  <a:pt x="629433" y="1153438"/>
                  <a:pt x="604381" y="1152394"/>
                </a:cubicBezTo>
                <a:cubicBezTo>
                  <a:pt x="570705" y="1141169"/>
                  <a:pt x="592179" y="1145692"/>
                  <a:pt x="538619" y="1149263"/>
                </a:cubicBezTo>
                <a:cubicBezTo>
                  <a:pt x="537575" y="1153438"/>
                  <a:pt x="536725" y="1157667"/>
                  <a:pt x="535488" y="1161789"/>
                </a:cubicBezTo>
                <a:cubicBezTo>
                  <a:pt x="533591" y="1168112"/>
                  <a:pt x="529225" y="1180578"/>
                  <a:pt x="529225" y="1180578"/>
                </a:cubicBezTo>
                <a:cubicBezTo>
                  <a:pt x="525050" y="1179534"/>
                  <a:pt x="520837" y="1178628"/>
                  <a:pt x="516699" y="1177446"/>
                </a:cubicBezTo>
                <a:cubicBezTo>
                  <a:pt x="513525" y="1176539"/>
                  <a:pt x="510605" y="1174315"/>
                  <a:pt x="507304" y="1174315"/>
                </a:cubicBezTo>
                <a:cubicBezTo>
                  <a:pt x="504003" y="1174315"/>
                  <a:pt x="501041" y="1176402"/>
                  <a:pt x="497910" y="1177446"/>
                </a:cubicBezTo>
                <a:cubicBezTo>
                  <a:pt x="496866" y="1180578"/>
                  <a:pt x="497731" y="1188317"/>
                  <a:pt x="494778" y="1186841"/>
                </a:cubicBezTo>
                <a:cubicBezTo>
                  <a:pt x="490928" y="1184917"/>
                  <a:pt x="493342" y="1178271"/>
                  <a:pt x="491647" y="1174315"/>
                </a:cubicBezTo>
                <a:cubicBezTo>
                  <a:pt x="490164" y="1170856"/>
                  <a:pt x="487067" y="1168286"/>
                  <a:pt x="485384" y="1164920"/>
                </a:cubicBezTo>
                <a:cubicBezTo>
                  <a:pt x="483908" y="1161968"/>
                  <a:pt x="484314" y="1158103"/>
                  <a:pt x="482252" y="1155526"/>
                </a:cubicBezTo>
                <a:cubicBezTo>
                  <a:pt x="479901" y="1152587"/>
                  <a:pt x="475749" y="1151672"/>
                  <a:pt x="472858" y="1149263"/>
                </a:cubicBezTo>
                <a:cubicBezTo>
                  <a:pt x="469456" y="1146428"/>
                  <a:pt x="466595" y="1143000"/>
                  <a:pt x="463463" y="1139868"/>
                </a:cubicBezTo>
                <a:cubicBezTo>
                  <a:pt x="456156" y="1140912"/>
                  <a:pt x="448432" y="1140350"/>
                  <a:pt x="441543" y="1143000"/>
                </a:cubicBezTo>
                <a:cubicBezTo>
                  <a:pt x="434518" y="1145702"/>
                  <a:pt x="422754" y="1155526"/>
                  <a:pt x="422754" y="1155526"/>
                </a:cubicBezTo>
                <a:cubicBezTo>
                  <a:pt x="420339" y="1159148"/>
                  <a:pt x="411733" y="1173388"/>
                  <a:pt x="407096" y="1174315"/>
                </a:cubicBezTo>
                <a:cubicBezTo>
                  <a:pt x="399858" y="1175763"/>
                  <a:pt x="392483" y="1172227"/>
                  <a:pt x="385176" y="1171183"/>
                </a:cubicBezTo>
                <a:cubicBezTo>
                  <a:pt x="382044" y="1170139"/>
                  <a:pt x="379082" y="1168052"/>
                  <a:pt x="375781" y="1168052"/>
                </a:cubicBezTo>
                <a:cubicBezTo>
                  <a:pt x="369432" y="1168052"/>
                  <a:pt x="363016" y="1169175"/>
                  <a:pt x="356992" y="1171183"/>
                </a:cubicBezTo>
                <a:cubicBezTo>
                  <a:pt x="353421" y="1172373"/>
                  <a:pt x="350488" y="1175036"/>
                  <a:pt x="347597" y="1177446"/>
                </a:cubicBezTo>
                <a:cubicBezTo>
                  <a:pt x="338558" y="1184979"/>
                  <a:pt x="338097" y="1187000"/>
                  <a:pt x="331940" y="1196235"/>
                </a:cubicBezTo>
                <a:cubicBezTo>
                  <a:pt x="339247" y="1218156"/>
                  <a:pt x="340291" y="1208761"/>
                  <a:pt x="335071" y="1224419"/>
                </a:cubicBezTo>
                <a:cubicBezTo>
                  <a:pt x="335863" y="1232338"/>
                  <a:pt x="342053" y="1270811"/>
                  <a:pt x="335071" y="1280786"/>
                </a:cubicBezTo>
                <a:cubicBezTo>
                  <a:pt x="331285" y="1286194"/>
                  <a:pt x="322545" y="1284961"/>
                  <a:pt x="316282" y="1287049"/>
                </a:cubicBezTo>
                <a:lnTo>
                  <a:pt x="297493" y="1293312"/>
                </a:lnTo>
                <a:cubicBezTo>
                  <a:pt x="289509" y="1295974"/>
                  <a:pt x="280759" y="1295163"/>
                  <a:pt x="272441" y="1296443"/>
                </a:cubicBezTo>
                <a:cubicBezTo>
                  <a:pt x="267180" y="1297252"/>
                  <a:pt x="262021" y="1298623"/>
                  <a:pt x="256784" y="1299575"/>
                </a:cubicBezTo>
                <a:cubicBezTo>
                  <a:pt x="250537" y="1300711"/>
                  <a:pt x="244258" y="1301662"/>
                  <a:pt x="237995" y="1302706"/>
                </a:cubicBezTo>
                <a:cubicBezTo>
                  <a:pt x="233820" y="1301662"/>
                  <a:pt x="227394" y="1303424"/>
                  <a:pt x="225469" y="1299575"/>
                </a:cubicBezTo>
                <a:cubicBezTo>
                  <a:pt x="217910" y="1284458"/>
                  <a:pt x="230581" y="1283257"/>
                  <a:pt x="237995" y="1280786"/>
                </a:cubicBezTo>
                <a:lnTo>
                  <a:pt x="256784" y="1268260"/>
                </a:lnTo>
                <a:lnTo>
                  <a:pt x="266178" y="1261997"/>
                </a:lnTo>
                <a:cubicBezTo>
                  <a:pt x="249479" y="1236947"/>
                  <a:pt x="271395" y="1267213"/>
                  <a:pt x="250521" y="1246339"/>
                </a:cubicBezTo>
                <a:cubicBezTo>
                  <a:pt x="243077" y="1238895"/>
                  <a:pt x="241096" y="1227460"/>
                  <a:pt x="237995" y="1218156"/>
                </a:cubicBezTo>
                <a:lnTo>
                  <a:pt x="231732" y="1199367"/>
                </a:lnTo>
                <a:lnTo>
                  <a:pt x="228600" y="1189972"/>
                </a:lnTo>
                <a:cubicBezTo>
                  <a:pt x="229644" y="1181621"/>
                  <a:pt x="229518" y="1173039"/>
                  <a:pt x="231732" y="1164920"/>
                </a:cubicBezTo>
                <a:cubicBezTo>
                  <a:pt x="233367" y="1158927"/>
                  <a:pt x="243671" y="1149849"/>
                  <a:pt x="247389" y="1146131"/>
                </a:cubicBezTo>
                <a:cubicBezTo>
                  <a:pt x="244258" y="1144043"/>
                  <a:pt x="241729" y="1140335"/>
                  <a:pt x="237995" y="1139868"/>
                </a:cubicBezTo>
                <a:cubicBezTo>
                  <a:pt x="232500" y="1139181"/>
                  <a:pt x="219077" y="1144086"/>
                  <a:pt x="212943" y="1146131"/>
                </a:cubicBezTo>
                <a:cubicBezTo>
                  <a:pt x="208195" y="1149296"/>
                  <a:pt x="200635" y="1155526"/>
                  <a:pt x="194154" y="1155526"/>
                </a:cubicBezTo>
                <a:cubicBezTo>
                  <a:pt x="188831" y="1155526"/>
                  <a:pt x="183715" y="1153438"/>
                  <a:pt x="178496" y="1152394"/>
                </a:cubicBezTo>
                <a:cubicBezTo>
                  <a:pt x="156960" y="1138037"/>
                  <a:pt x="166848" y="1142248"/>
                  <a:pt x="150312" y="1136737"/>
                </a:cubicBezTo>
                <a:cubicBezTo>
                  <a:pt x="147181" y="1137781"/>
                  <a:pt x="143495" y="1137806"/>
                  <a:pt x="140918" y="1139868"/>
                </a:cubicBezTo>
                <a:cubicBezTo>
                  <a:pt x="137979" y="1142219"/>
                  <a:pt x="137316" y="1146602"/>
                  <a:pt x="134655" y="1149263"/>
                </a:cubicBezTo>
                <a:cubicBezTo>
                  <a:pt x="131994" y="1151924"/>
                  <a:pt x="128392" y="1153438"/>
                  <a:pt x="125260" y="1155526"/>
                </a:cubicBezTo>
                <a:cubicBezTo>
                  <a:pt x="123172" y="1152394"/>
                  <a:pt x="120680" y="1149497"/>
                  <a:pt x="118997" y="1146131"/>
                </a:cubicBezTo>
                <a:cubicBezTo>
                  <a:pt x="114911" y="1137958"/>
                  <a:pt x="117603" y="1131795"/>
                  <a:pt x="106471" y="1127342"/>
                </a:cubicBezTo>
                <a:cubicBezTo>
                  <a:pt x="99618" y="1124601"/>
                  <a:pt x="91858" y="1125255"/>
                  <a:pt x="84551" y="1124211"/>
                </a:cubicBezTo>
                <a:lnTo>
                  <a:pt x="78288" y="1105422"/>
                </a:lnTo>
                <a:cubicBezTo>
                  <a:pt x="74971" y="1095470"/>
                  <a:pt x="78473" y="1084058"/>
                  <a:pt x="75156" y="1074106"/>
                </a:cubicBezTo>
                <a:cubicBezTo>
                  <a:pt x="73966" y="1070536"/>
                  <a:pt x="68653" y="1070252"/>
                  <a:pt x="65762" y="1067843"/>
                </a:cubicBezTo>
                <a:cubicBezTo>
                  <a:pt x="62360" y="1065008"/>
                  <a:pt x="59086" y="1061945"/>
                  <a:pt x="56367" y="1058449"/>
                </a:cubicBezTo>
                <a:cubicBezTo>
                  <a:pt x="56359" y="1058439"/>
                  <a:pt x="40713" y="1034967"/>
                  <a:pt x="37578" y="1030265"/>
                </a:cubicBezTo>
                <a:lnTo>
                  <a:pt x="31315" y="1020871"/>
                </a:lnTo>
                <a:cubicBezTo>
                  <a:pt x="39477" y="1008627"/>
                  <a:pt x="39049" y="1014290"/>
                  <a:pt x="34447" y="998950"/>
                </a:cubicBezTo>
                <a:cubicBezTo>
                  <a:pt x="32550" y="992627"/>
                  <a:pt x="28184" y="980161"/>
                  <a:pt x="28184" y="980161"/>
                </a:cubicBezTo>
                <a:cubicBezTo>
                  <a:pt x="29228" y="977030"/>
                  <a:pt x="29253" y="973344"/>
                  <a:pt x="31315" y="970767"/>
                </a:cubicBezTo>
                <a:cubicBezTo>
                  <a:pt x="33666" y="967828"/>
                  <a:pt x="38049" y="967165"/>
                  <a:pt x="40710" y="964504"/>
                </a:cubicBezTo>
                <a:cubicBezTo>
                  <a:pt x="43371" y="961843"/>
                  <a:pt x="44885" y="958241"/>
                  <a:pt x="46973" y="955109"/>
                </a:cubicBezTo>
                <a:lnTo>
                  <a:pt x="56367" y="926926"/>
                </a:lnTo>
                <a:cubicBezTo>
                  <a:pt x="57557" y="923355"/>
                  <a:pt x="60947" y="920897"/>
                  <a:pt x="62630" y="917531"/>
                </a:cubicBezTo>
                <a:cubicBezTo>
                  <a:pt x="64106" y="914579"/>
                  <a:pt x="64855" y="911311"/>
                  <a:pt x="65762" y="908137"/>
                </a:cubicBezTo>
                <a:cubicBezTo>
                  <a:pt x="66944" y="903999"/>
                  <a:pt x="66968" y="899460"/>
                  <a:pt x="68893" y="895611"/>
                </a:cubicBezTo>
                <a:cubicBezTo>
                  <a:pt x="72259" y="888878"/>
                  <a:pt x="79038" y="883963"/>
                  <a:pt x="81419" y="876822"/>
                </a:cubicBezTo>
                <a:cubicBezTo>
                  <a:pt x="82463" y="873690"/>
                  <a:pt x="82489" y="870005"/>
                  <a:pt x="84551" y="867427"/>
                </a:cubicBezTo>
                <a:cubicBezTo>
                  <a:pt x="86902" y="864488"/>
                  <a:pt x="90814" y="863252"/>
                  <a:pt x="93945" y="861164"/>
                </a:cubicBezTo>
                <a:cubicBezTo>
                  <a:pt x="96492" y="853523"/>
                  <a:pt x="97269" y="848446"/>
                  <a:pt x="103340" y="842375"/>
                </a:cubicBezTo>
                <a:cubicBezTo>
                  <a:pt x="106001" y="839714"/>
                  <a:pt x="109603" y="838200"/>
                  <a:pt x="112734" y="836112"/>
                </a:cubicBezTo>
                <a:cubicBezTo>
                  <a:pt x="113778" y="832980"/>
                  <a:pt x="113532" y="829051"/>
                  <a:pt x="115866" y="826717"/>
                </a:cubicBezTo>
                <a:cubicBezTo>
                  <a:pt x="126634" y="815949"/>
                  <a:pt x="132235" y="814997"/>
                  <a:pt x="144049" y="811060"/>
                </a:cubicBezTo>
                <a:cubicBezTo>
                  <a:pt x="148070" y="812065"/>
                  <a:pt x="161472" y="815074"/>
                  <a:pt x="165970" y="817323"/>
                </a:cubicBezTo>
                <a:cubicBezTo>
                  <a:pt x="169336" y="819006"/>
                  <a:pt x="172233" y="821498"/>
                  <a:pt x="175365" y="823586"/>
                </a:cubicBezTo>
                <a:cubicBezTo>
                  <a:pt x="191022" y="822542"/>
                  <a:pt x="206803" y="822673"/>
                  <a:pt x="222337" y="820454"/>
                </a:cubicBezTo>
                <a:cubicBezTo>
                  <a:pt x="228872" y="819520"/>
                  <a:pt x="234863" y="816279"/>
                  <a:pt x="241126" y="814191"/>
                </a:cubicBezTo>
                <a:lnTo>
                  <a:pt x="259915" y="807928"/>
                </a:lnTo>
                <a:cubicBezTo>
                  <a:pt x="270651" y="804348"/>
                  <a:pt x="275583" y="806357"/>
                  <a:pt x="284967" y="801665"/>
                </a:cubicBezTo>
                <a:cubicBezTo>
                  <a:pt x="288333" y="799982"/>
                  <a:pt x="291230" y="797490"/>
                  <a:pt x="294362" y="795402"/>
                </a:cubicBezTo>
                <a:cubicBezTo>
                  <a:pt x="295406" y="791227"/>
                  <a:pt x="294804" y="786237"/>
                  <a:pt x="297493" y="782876"/>
                </a:cubicBezTo>
                <a:cubicBezTo>
                  <a:pt x="299555" y="780298"/>
                  <a:pt x="303686" y="780546"/>
                  <a:pt x="306888" y="779745"/>
                </a:cubicBezTo>
                <a:cubicBezTo>
                  <a:pt x="312051" y="778454"/>
                  <a:pt x="317326" y="777657"/>
                  <a:pt x="322545" y="776613"/>
                </a:cubicBezTo>
                <a:cubicBezTo>
                  <a:pt x="320574" y="762816"/>
                  <a:pt x="322645" y="754792"/>
                  <a:pt x="313151" y="745298"/>
                </a:cubicBezTo>
                <a:cubicBezTo>
                  <a:pt x="310490" y="742637"/>
                  <a:pt x="306888" y="741123"/>
                  <a:pt x="303756" y="739035"/>
                </a:cubicBezTo>
                <a:cubicBezTo>
                  <a:pt x="295889" y="715431"/>
                  <a:pt x="306500" y="744520"/>
                  <a:pt x="294362" y="720246"/>
                </a:cubicBezTo>
                <a:cubicBezTo>
                  <a:pt x="286486" y="704495"/>
                  <a:pt x="298450" y="711811"/>
                  <a:pt x="278704" y="692063"/>
                </a:cubicBezTo>
                <a:cubicBezTo>
                  <a:pt x="263988" y="677346"/>
                  <a:pt x="272994" y="685124"/>
                  <a:pt x="250521" y="670142"/>
                </a:cubicBezTo>
                <a:cubicBezTo>
                  <a:pt x="247389" y="668054"/>
                  <a:pt x="244697" y="665069"/>
                  <a:pt x="241126" y="663879"/>
                </a:cubicBezTo>
                <a:cubicBezTo>
                  <a:pt x="227649" y="659387"/>
                  <a:pt x="234934" y="661549"/>
                  <a:pt x="219206" y="657616"/>
                </a:cubicBezTo>
                <a:cubicBezTo>
                  <a:pt x="220250" y="654485"/>
                  <a:pt x="220639" y="651052"/>
                  <a:pt x="222337" y="648222"/>
                </a:cubicBezTo>
                <a:cubicBezTo>
                  <a:pt x="225983" y="642145"/>
                  <a:pt x="232872" y="639964"/>
                  <a:pt x="237995" y="635695"/>
                </a:cubicBezTo>
                <a:cubicBezTo>
                  <a:pt x="241397" y="632860"/>
                  <a:pt x="244507" y="629663"/>
                  <a:pt x="247389" y="626301"/>
                </a:cubicBezTo>
                <a:cubicBezTo>
                  <a:pt x="250786" y="622338"/>
                  <a:pt x="253750" y="618022"/>
                  <a:pt x="256784" y="613775"/>
                </a:cubicBezTo>
                <a:cubicBezTo>
                  <a:pt x="258972" y="610712"/>
                  <a:pt x="260386" y="607041"/>
                  <a:pt x="263047" y="604380"/>
                </a:cubicBezTo>
                <a:cubicBezTo>
                  <a:pt x="265708" y="601719"/>
                  <a:pt x="269310" y="600205"/>
                  <a:pt x="272441" y="598117"/>
                </a:cubicBezTo>
                <a:cubicBezTo>
                  <a:pt x="274983" y="590493"/>
                  <a:pt x="278918" y="584294"/>
                  <a:pt x="272441" y="576197"/>
                </a:cubicBezTo>
                <a:cubicBezTo>
                  <a:pt x="270379" y="573619"/>
                  <a:pt x="266231" y="573934"/>
                  <a:pt x="263047" y="573065"/>
                </a:cubicBezTo>
                <a:cubicBezTo>
                  <a:pt x="242274" y="567399"/>
                  <a:pt x="240597" y="567322"/>
                  <a:pt x="222337" y="563671"/>
                </a:cubicBezTo>
                <a:cubicBezTo>
                  <a:pt x="219206" y="561583"/>
                  <a:pt x="216382" y="558937"/>
                  <a:pt x="212943" y="557408"/>
                </a:cubicBezTo>
                <a:cubicBezTo>
                  <a:pt x="206910" y="554727"/>
                  <a:pt x="194154" y="551145"/>
                  <a:pt x="194154" y="551145"/>
                </a:cubicBezTo>
                <a:cubicBezTo>
                  <a:pt x="192066" y="548013"/>
                  <a:pt x="191083" y="543745"/>
                  <a:pt x="187891" y="541750"/>
                </a:cubicBezTo>
                <a:cubicBezTo>
                  <a:pt x="182293" y="538251"/>
                  <a:pt x="169102" y="535487"/>
                  <a:pt x="169102" y="535487"/>
                </a:cubicBezTo>
                <a:cubicBezTo>
                  <a:pt x="159707" y="536531"/>
                  <a:pt x="149694" y="535109"/>
                  <a:pt x="140918" y="538619"/>
                </a:cubicBezTo>
                <a:cubicBezTo>
                  <a:pt x="137853" y="539845"/>
                  <a:pt x="139389" y="545128"/>
                  <a:pt x="137786" y="548013"/>
                </a:cubicBezTo>
                <a:cubicBezTo>
                  <a:pt x="127040" y="567355"/>
                  <a:pt x="129589" y="563916"/>
                  <a:pt x="115866" y="573065"/>
                </a:cubicBezTo>
                <a:cubicBezTo>
                  <a:pt x="100609" y="595952"/>
                  <a:pt x="120914" y="568860"/>
                  <a:pt x="97077" y="588723"/>
                </a:cubicBezTo>
                <a:cubicBezTo>
                  <a:pt x="94186" y="591132"/>
                  <a:pt x="93475" y="595456"/>
                  <a:pt x="90814" y="598117"/>
                </a:cubicBezTo>
                <a:cubicBezTo>
                  <a:pt x="88153" y="600778"/>
                  <a:pt x="84551" y="602292"/>
                  <a:pt x="81419" y="604380"/>
                </a:cubicBezTo>
                <a:cubicBezTo>
                  <a:pt x="79331" y="607512"/>
                  <a:pt x="76839" y="610409"/>
                  <a:pt x="75156" y="613775"/>
                </a:cubicBezTo>
                <a:cubicBezTo>
                  <a:pt x="71947" y="620193"/>
                  <a:pt x="70083" y="632875"/>
                  <a:pt x="68893" y="638827"/>
                </a:cubicBezTo>
                <a:cubicBezTo>
                  <a:pt x="69937" y="641959"/>
                  <a:pt x="69278" y="646391"/>
                  <a:pt x="72025" y="648222"/>
                </a:cubicBezTo>
                <a:cubicBezTo>
                  <a:pt x="94699" y="663338"/>
                  <a:pt x="83655" y="639272"/>
                  <a:pt x="90814" y="660748"/>
                </a:cubicBezTo>
                <a:cubicBezTo>
                  <a:pt x="85675" y="671025"/>
                  <a:pt x="85514" y="677610"/>
                  <a:pt x="72025" y="679537"/>
                </a:cubicBezTo>
                <a:cubicBezTo>
                  <a:pt x="68757" y="680004"/>
                  <a:pt x="65762" y="677449"/>
                  <a:pt x="62630" y="676405"/>
                </a:cubicBezTo>
                <a:cubicBezTo>
                  <a:pt x="61312" y="672449"/>
                  <a:pt x="58821" y="658569"/>
                  <a:pt x="50104" y="660748"/>
                </a:cubicBezTo>
                <a:cubicBezTo>
                  <a:pt x="46902" y="661548"/>
                  <a:pt x="48449" y="667190"/>
                  <a:pt x="46973" y="670142"/>
                </a:cubicBezTo>
                <a:cubicBezTo>
                  <a:pt x="45290" y="673508"/>
                  <a:pt x="42798" y="676405"/>
                  <a:pt x="40710" y="679537"/>
                </a:cubicBezTo>
                <a:cubicBezTo>
                  <a:pt x="18799" y="674058"/>
                  <a:pt x="36464" y="680757"/>
                  <a:pt x="18789" y="667011"/>
                </a:cubicBezTo>
                <a:cubicBezTo>
                  <a:pt x="12847" y="662390"/>
                  <a:pt x="0" y="654485"/>
                  <a:pt x="0" y="654485"/>
                </a:cubicBezTo>
                <a:cubicBezTo>
                  <a:pt x="1044" y="643003"/>
                  <a:pt x="-1744" y="630486"/>
                  <a:pt x="3132" y="620038"/>
                </a:cubicBezTo>
                <a:cubicBezTo>
                  <a:pt x="6315" y="613217"/>
                  <a:pt x="21921" y="607512"/>
                  <a:pt x="21921" y="607512"/>
                </a:cubicBezTo>
                <a:cubicBezTo>
                  <a:pt x="25088" y="602762"/>
                  <a:pt x="31315" y="595206"/>
                  <a:pt x="31315" y="588723"/>
                </a:cubicBezTo>
                <a:cubicBezTo>
                  <a:pt x="31315" y="583400"/>
                  <a:pt x="29228" y="578284"/>
                  <a:pt x="28184" y="573065"/>
                </a:cubicBezTo>
                <a:cubicBezTo>
                  <a:pt x="29228" y="566802"/>
                  <a:pt x="28873" y="560137"/>
                  <a:pt x="31315" y="554276"/>
                </a:cubicBezTo>
                <a:cubicBezTo>
                  <a:pt x="34210" y="547328"/>
                  <a:pt x="41461" y="542628"/>
                  <a:pt x="43841" y="535487"/>
                </a:cubicBezTo>
                <a:cubicBezTo>
                  <a:pt x="57273" y="495191"/>
                  <a:pt x="44386" y="536440"/>
                  <a:pt x="53236" y="501041"/>
                </a:cubicBezTo>
                <a:cubicBezTo>
                  <a:pt x="54037" y="497839"/>
                  <a:pt x="55460" y="494820"/>
                  <a:pt x="56367" y="491646"/>
                </a:cubicBezTo>
                <a:cubicBezTo>
                  <a:pt x="57549" y="487508"/>
                  <a:pt x="58455" y="483295"/>
                  <a:pt x="59499" y="479120"/>
                </a:cubicBezTo>
                <a:cubicBezTo>
                  <a:pt x="57473" y="448740"/>
                  <a:pt x="64746" y="440325"/>
                  <a:pt x="50104" y="422753"/>
                </a:cubicBezTo>
                <a:cubicBezTo>
                  <a:pt x="47269" y="419351"/>
                  <a:pt x="43841" y="416490"/>
                  <a:pt x="40710" y="413358"/>
                </a:cubicBezTo>
                <a:cubicBezTo>
                  <a:pt x="38622" y="407094"/>
                  <a:pt x="34446" y="400833"/>
                  <a:pt x="40710" y="394569"/>
                </a:cubicBezTo>
                <a:cubicBezTo>
                  <a:pt x="43044" y="392235"/>
                  <a:pt x="46973" y="392482"/>
                  <a:pt x="50104" y="391438"/>
                </a:cubicBezTo>
                <a:cubicBezTo>
                  <a:pt x="62551" y="372766"/>
                  <a:pt x="53587" y="389330"/>
                  <a:pt x="59499" y="353860"/>
                </a:cubicBezTo>
                <a:cubicBezTo>
                  <a:pt x="60042" y="350604"/>
                  <a:pt x="60052" y="346527"/>
                  <a:pt x="62630" y="344465"/>
                </a:cubicBezTo>
                <a:cubicBezTo>
                  <a:pt x="65991" y="341776"/>
                  <a:pt x="70981" y="342378"/>
                  <a:pt x="75156" y="341334"/>
                </a:cubicBezTo>
                <a:cubicBezTo>
                  <a:pt x="104294" y="321910"/>
                  <a:pt x="60941" y="354420"/>
                  <a:pt x="87682" y="281835"/>
                </a:cubicBezTo>
                <a:cubicBezTo>
                  <a:pt x="89964" y="275640"/>
                  <a:pt x="106471" y="275572"/>
                  <a:pt x="106471" y="275572"/>
                </a:cubicBezTo>
                <a:cubicBezTo>
                  <a:pt x="108559" y="272441"/>
                  <a:pt x="111653" y="269783"/>
                  <a:pt x="112734" y="266178"/>
                </a:cubicBezTo>
                <a:cubicBezTo>
                  <a:pt x="114855" y="259108"/>
                  <a:pt x="114653" y="251538"/>
                  <a:pt x="115866" y="244257"/>
                </a:cubicBezTo>
                <a:cubicBezTo>
                  <a:pt x="118386" y="229138"/>
                  <a:pt x="118094" y="231308"/>
                  <a:pt x="122129" y="219205"/>
                </a:cubicBezTo>
                <a:cubicBezTo>
                  <a:pt x="121085" y="216074"/>
                  <a:pt x="121683" y="211729"/>
                  <a:pt x="118997" y="209811"/>
                </a:cubicBezTo>
                <a:cubicBezTo>
                  <a:pt x="113625" y="205974"/>
                  <a:pt x="100208" y="203548"/>
                  <a:pt x="100208" y="203548"/>
                </a:cubicBezTo>
                <a:cubicBezTo>
                  <a:pt x="97077" y="201460"/>
                  <a:pt x="94180" y="198968"/>
                  <a:pt x="90814" y="197285"/>
                </a:cubicBezTo>
                <a:cubicBezTo>
                  <a:pt x="87861" y="195809"/>
                  <a:pt x="83753" y="196487"/>
                  <a:pt x="81419" y="194153"/>
                </a:cubicBezTo>
                <a:cubicBezTo>
                  <a:pt x="79085" y="191819"/>
                  <a:pt x="79089" y="187960"/>
                  <a:pt x="78288" y="184758"/>
                </a:cubicBezTo>
                <a:cubicBezTo>
                  <a:pt x="76997" y="179595"/>
                  <a:pt x="76447" y="174264"/>
                  <a:pt x="75156" y="169101"/>
                </a:cubicBezTo>
                <a:cubicBezTo>
                  <a:pt x="74355" y="165899"/>
                  <a:pt x="72741" y="162928"/>
                  <a:pt x="72025" y="159706"/>
                </a:cubicBezTo>
                <a:cubicBezTo>
                  <a:pt x="70648" y="153508"/>
                  <a:pt x="69937" y="147180"/>
                  <a:pt x="68893" y="140917"/>
                </a:cubicBezTo>
                <a:cubicBezTo>
                  <a:pt x="65522" y="97086"/>
                  <a:pt x="63674" y="96032"/>
                  <a:pt x="65762" y="84550"/>
                </a:cubicBezTo>
                <a:close/>
              </a:path>
            </a:pathLst>
          </a:custGeom>
          <a:solidFill>
            <a:srgbClr val="FDECDF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srgbClr val="182F41"/>
              </a:solidFill>
            </a:endParaRPr>
          </a:p>
        </p:txBody>
      </p:sp>
      <p:sp>
        <p:nvSpPr>
          <p:cNvPr id="8" name="Forme libre 113">
            <a:extLst>
              <a:ext uri="{FF2B5EF4-FFF2-40B4-BE49-F238E27FC236}">
                <a16:creationId xmlns:a16="http://schemas.microsoft.com/office/drawing/2014/main" id="{0AC0E94F-0202-4463-9A7B-E71682695239}"/>
              </a:ext>
            </a:extLst>
          </p:cNvPr>
          <p:cNvSpPr/>
          <p:nvPr/>
        </p:nvSpPr>
        <p:spPr>
          <a:xfrm>
            <a:off x="3530600" y="1604535"/>
            <a:ext cx="782638" cy="857482"/>
          </a:xfrm>
          <a:custGeom>
            <a:avLst/>
            <a:gdLst>
              <a:gd name="connsiteX0" fmla="*/ 541750 w 792271"/>
              <a:gd name="connsiteY0" fmla="*/ 513567 h 817323"/>
              <a:gd name="connsiteX1" fmla="*/ 557408 w 792271"/>
              <a:gd name="connsiteY1" fmla="*/ 501041 h 817323"/>
              <a:gd name="connsiteX2" fmla="*/ 576197 w 792271"/>
              <a:gd name="connsiteY2" fmla="*/ 488515 h 817323"/>
              <a:gd name="connsiteX3" fmla="*/ 573065 w 792271"/>
              <a:gd name="connsiteY3" fmla="*/ 479121 h 817323"/>
              <a:gd name="connsiteX4" fmla="*/ 554276 w 792271"/>
              <a:gd name="connsiteY4" fmla="*/ 472858 h 817323"/>
              <a:gd name="connsiteX5" fmla="*/ 554276 w 792271"/>
              <a:gd name="connsiteY5" fmla="*/ 444674 h 817323"/>
              <a:gd name="connsiteX6" fmla="*/ 563671 w 792271"/>
              <a:gd name="connsiteY6" fmla="*/ 438411 h 817323"/>
              <a:gd name="connsiteX7" fmla="*/ 582460 w 792271"/>
              <a:gd name="connsiteY7" fmla="*/ 422753 h 817323"/>
              <a:gd name="connsiteX8" fmla="*/ 594986 w 792271"/>
              <a:gd name="connsiteY8" fmla="*/ 400833 h 817323"/>
              <a:gd name="connsiteX9" fmla="*/ 607512 w 792271"/>
              <a:gd name="connsiteY9" fmla="*/ 382044 h 817323"/>
              <a:gd name="connsiteX10" fmla="*/ 620038 w 792271"/>
              <a:gd name="connsiteY10" fmla="*/ 363255 h 817323"/>
              <a:gd name="connsiteX11" fmla="*/ 629433 w 792271"/>
              <a:gd name="connsiteY11" fmla="*/ 356992 h 817323"/>
              <a:gd name="connsiteX12" fmla="*/ 645090 w 792271"/>
              <a:gd name="connsiteY12" fmla="*/ 360123 h 817323"/>
              <a:gd name="connsiteX13" fmla="*/ 648222 w 792271"/>
              <a:gd name="connsiteY13" fmla="*/ 369518 h 817323"/>
              <a:gd name="connsiteX14" fmla="*/ 663879 w 792271"/>
              <a:gd name="connsiteY14" fmla="*/ 385175 h 817323"/>
              <a:gd name="connsiteX15" fmla="*/ 673274 w 792271"/>
              <a:gd name="connsiteY15" fmla="*/ 388307 h 817323"/>
              <a:gd name="connsiteX16" fmla="*/ 682668 w 792271"/>
              <a:gd name="connsiteY16" fmla="*/ 394570 h 817323"/>
              <a:gd name="connsiteX17" fmla="*/ 732772 w 792271"/>
              <a:gd name="connsiteY17" fmla="*/ 400833 h 817323"/>
              <a:gd name="connsiteX18" fmla="*/ 742167 w 792271"/>
              <a:gd name="connsiteY18" fmla="*/ 410227 h 817323"/>
              <a:gd name="connsiteX19" fmla="*/ 729641 w 792271"/>
              <a:gd name="connsiteY19" fmla="*/ 435279 h 817323"/>
              <a:gd name="connsiteX20" fmla="*/ 698326 w 792271"/>
              <a:gd name="connsiteY20" fmla="*/ 457200 h 817323"/>
              <a:gd name="connsiteX21" fmla="*/ 688931 w 792271"/>
              <a:gd name="connsiteY21" fmla="*/ 466594 h 817323"/>
              <a:gd name="connsiteX22" fmla="*/ 692063 w 792271"/>
              <a:gd name="connsiteY22" fmla="*/ 488515 h 817323"/>
              <a:gd name="connsiteX23" fmla="*/ 704589 w 792271"/>
              <a:gd name="connsiteY23" fmla="*/ 491647 h 817323"/>
              <a:gd name="connsiteX24" fmla="*/ 723378 w 792271"/>
              <a:gd name="connsiteY24" fmla="*/ 497910 h 817323"/>
              <a:gd name="connsiteX25" fmla="*/ 732772 w 792271"/>
              <a:gd name="connsiteY25" fmla="*/ 507304 h 817323"/>
              <a:gd name="connsiteX26" fmla="*/ 751561 w 792271"/>
              <a:gd name="connsiteY26" fmla="*/ 519830 h 817323"/>
              <a:gd name="connsiteX27" fmla="*/ 764087 w 792271"/>
              <a:gd name="connsiteY27" fmla="*/ 538619 h 817323"/>
              <a:gd name="connsiteX28" fmla="*/ 773482 w 792271"/>
              <a:gd name="connsiteY28" fmla="*/ 548014 h 817323"/>
              <a:gd name="connsiteX29" fmla="*/ 779745 w 792271"/>
              <a:gd name="connsiteY29" fmla="*/ 560540 h 817323"/>
              <a:gd name="connsiteX30" fmla="*/ 792271 w 792271"/>
              <a:gd name="connsiteY30" fmla="*/ 579329 h 817323"/>
              <a:gd name="connsiteX31" fmla="*/ 789139 w 792271"/>
              <a:gd name="connsiteY31" fmla="*/ 598118 h 817323"/>
              <a:gd name="connsiteX32" fmla="*/ 779745 w 792271"/>
              <a:gd name="connsiteY32" fmla="*/ 601249 h 817323"/>
              <a:gd name="connsiteX33" fmla="*/ 767219 w 792271"/>
              <a:gd name="connsiteY33" fmla="*/ 604381 h 817323"/>
              <a:gd name="connsiteX34" fmla="*/ 754693 w 792271"/>
              <a:gd name="connsiteY34" fmla="*/ 623170 h 817323"/>
              <a:gd name="connsiteX35" fmla="*/ 735904 w 792271"/>
              <a:gd name="connsiteY35" fmla="*/ 626301 h 817323"/>
              <a:gd name="connsiteX36" fmla="*/ 704589 w 792271"/>
              <a:gd name="connsiteY36" fmla="*/ 635696 h 817323"/>
              <a:gd name="connsiteX37" fmla="*/ 588723 w 792271"/>
              <a:gd name="connsiteY37" fmla="*/ 638827 h 817323"/>
              <a:gd name="connsiteX38" fmla="*/ 569934 w 792271"/>
              <a:gd name="connsiteY38" fmla="*/ 667011 h 817323"/>
              <a:gd name="connsiteX39" fmla="*/ 566802 w 792271"/>
              <a:gd name="connsiteY39" fmla="*/ 676405 h 817323"/>
              <a:gd name="connsiteX40" fmla="*/ 554276 w 792271"/>
              <a:gd name="connsiteY40" fmla="*/ 695194 h 817323"/>
              <a:gd name="connsiteX41" fmla="*/ 548013 w 792271"/>
              <a:gd name="connsiteY41" fmla="*/ 704589 h 817323"/>
              <a:gd name="connsiteX42" fmla="*/ 532356 w 792271"/>
              <a:gd name="connsiteY42" fmla="*/ 732773 h 817323"/>
              <a:gd name="connsiteX43" fmla="*/ 519830 w 792271"/>
              <a:gd name="connsiteY43" fmla="*/ 764088 h 817323"/>
              <a:gd name="connsiteX44" fmla="*/ 513567 w 792271"/>
              <a:gd name="connsiteY44" fmla="*/ 773482 h 817323"/>
              <a:gd name="connsiteX45" fmla="*/ 507304 w 792271"/>
              <a:gd name="connsiteY45" fmla="*/ 792271 h 817323"/>
              <a:gd name="connsiteX46" fmla="*/ 504172 w 792271"/>
              <a:gd name="connsiteY46" fmla="*/ 801666 h 817323"/>
              <a:gd name="connsiteX47" fmla="*/ 501041 w 792271"/>
              <a:gd name="connsiteY47" fmla="*/ 811060 h 817323"/>
              <a:gd name="connsiteX48" fmla="*/ 485383 w 792271"/>
              <a:gd name="connsiteY48" fmla="*/ 798534 h 817323"/>
              <a:gd name="connsiteX49" fmla="*/ 466594 w 792271"/>
              <a:gd name="connsiteY49" fmla="*/ 817323 h 817323"/>
              <a:gd name="connsiteX50" fmla="*/ 441542 w 792271"/>
              <a:gd name="connsiteY50" fmla="*/ 814192 h 817323"/>
              <a:gd name="connsiteX51" fmla="*/ 435279 w 792271"/>
              <a:gd name="connsiteY51" fmla="*/ 804797 h 817323"/>
              <a:gd name="connsiteX52" fmla="*/ 425885 w 792271"/>
              <a:gd name="connsiteY52" fmla="*/ 795403 h 817323"/>
              <a:gd name="connsiteX53" fmla="*/ 419622 w 792271"/>
              <a:gd name="connsiteY53" fmla="*/ 786008 h 817323"/>
              <a:gd name="connsiteX54" fmla="*/ 410227 w 792271"/>
              <a:gd name="connsiteY54" fmla="*/ 776614 h 817323"/>
              <a:gd name="connsiteX55" fmla="*/ 403964 w 792271"/>
              <a:gd name="connsiteY55" fmla="*/ 767219 h 817323"/>
              <a:gd name="connsiteX56" fmla="*/ 394569 w 792271"/>
              <a:gd name="connsiteY56" fmla="*/ 757825 h 817323"/>
              <a:gd name="connsiteX57" fmla="*/ 372649 w 792271"/>
              <a:gd name="connsiteY57" fmla="*/ 732773 h 817323"/>
              <a:gd name="connsiteX58" fmla="*/ 366386 w 792271"/>
              <a:gd name="connsiteY58" fmla="*/ 723378 h 817323"/>
              <a:gd name="connsiteX59" fmla="*/ 306887 w 792271"/>
              <a:gd name="connsiteY59" fmla="*/ 713984 h 817323"/>
              <a:gd name="connsiteX60" fmla="*/ 294361 w 792271"/>
              <a:gd name="connsiteY60" fmla="*/ 660748 h 817323"/>
              <a:gd name="connsiteX61" fmla="*/ 288098 w 792271"/>
              <a:gd name="connsiteY61" fmla="*/ 651353 h 817323"/>
              <a:gd name="connsiteX62" fmla="*/ 269309 w 792271"/>
              <a:gd name="connsiteY62" fmla="*/ 641959 h 817323"/>
              <a:gd name="connsiteX63" fmla="*/ 256783 w 792271"/>
              <a:gd name="connsiteY63" fmla="*/ 645090 h 817323"/>
              <a:gd name="connsiteX64" fmla="*/ 228600 w 792271"/>
              <a:gd name="connsiteY64" fmla="*/ 654485 h 817323"/>
              <a:gd name="connsiteX65" fmla="*/ 219205 w 792271"/>
              <a:gd name="connsiteY65" fmla="*/ 660748 h 817323"/>
              <a:gd name="connsiteX66" fmla="*/ 212942 w 792271"/>
              <a:gd name="connsiteY66" fmla="*/ 670142 h 817323"/>
              <a:gd name="connsiteX67" fmla="*/ 206679 w 792271"/>
              <a:gd name="connsiteY67" fmla="*/ 688931 h 817323"/>
              <a:gd name="connsiteX68" fmla="*/ 200416 w 792271"/>
              <a:gd name="connsiteY68" fmla="*/ 707721 h 817323"/>
              <a:gd name="connsiteX69" fmla="*/ 191022 w 792271"/>
              <a:gd name="connsiteY69" fmla="*/ 710852 h 817323"/>
              <a:gd name="connsiteX70" fmla="*/ 169101 w 792271"/>
              <a:gd name="connsiteY70" fmla="*/ 701458 h 817323"/>
              <a:gd name="connsiteX71" fmla="*/ 162838 w 792271"/>
              <a:gd name="connsiteY71" fmla="*/ 695194 h 817323"/>
              <a:gd name="connsiteX72" fmla="*/ 159706 w 792271"/>
              <a:gd name="connsiteY72" fmla="*/ 685800 h 817323"/>
              <a:gd name="connsiteX73" fmla="*/ 153443 w 792271"/>
              <a:gd name="connsiteY73" fmla="*/ 651353 h 817323"/>
              <a:gd name="connsiteX74" fmla="*/ 147180 w 792271"/>
              <a:gd name="connsiteY74" fmla="*/ 632564 h 817323"/>
              <a:gd name="connsiteX75" fmla="*/ 122128 w 792271"/>
              <a:gd name="connsiteY75" fmla="*/ 629433 h 817323"/>
              <a:gd name="connsiteX76" fmla="*/ 115865 w 792271"/>
              <a:gd name="connsiteY76" fmla="*/ 610644 h 817323"/>
              <a:gd name="connsiteX77" fmla="*/ 93945 w 792271"/>
              <a:gd name="connsiteY77" fmla="*/ 582460 h 817323"/>
              <a:gd name="connsiteX78" fmla="*/ 78287 w 792271"/>
              <a:gd name="connsiteY78" fmla="*/ 566803 h 817323"/>
              <a:gd name="connsiteX79" fmla="*/ 72024 w 792271"/>
              <a:gd name="connsiteY79" fmla="*/ 557408 h 817323"/>
              <a:gd name="connsiteX80" fmla="*/ 43841 w 792271"/>
              <a:gd name="connsiteY80" fmla="*/ 541751 h 817323"/>
              <a:gd name="connsiteX81" fmla="*/ 34446 w 792271"/>
              <a:gd name="connsiteY81" fmla="*/ 535488 h 817323"/>
              <a:gd name="connsiteX82" fmla="*/ 25052 w 792271"/>
              <a:gd name="connsiteY82" fmla="*/ 532356 h 817323"/>
              <a:gd name="connsiteX83" fmla="*/ 15657 w 792271"/>
              <a:gd name="connsiteY83" fmla="*/ 522962 h 817323"/>
              <a:gd name="connsiteX84" fmla="*/ 12526 w 792271"/>
              <a:gd name="connsiteY84" fmla="*/ 513567 h 817323"/>
              <a:gd name="connsiteX85" fmla="*/ 25052 w 792271"/>
              <a:gd name="connsiteY85" fmla="*/ 494778 h 817323"/>
              <a:gd name="connsiteX86" fmla="*/ 28183 w 792271"/>
              <a:gd name="connsiteY86" fmla="*/ 454068 h 817323"/>
              <a:gd name="connsiteX87" fmla="*/ 31315 w 792271"/>
              <a:gd name="connsiteY87" fmla="*/ 422753 h 817323"/>
              <a:gd name="connsiteX88" fmla="*/ 37578 w 792271"/>
              <a:gd name="connsiteY88" fmla="*/ 403964 h 817323"/>
              <a:gd name="connsiteX89" fmla="*/ 34446 w 792271"/>
              <a:gd name="connsiteY89" fmla="*/ 388307 h 817323"/>
              <a:gd name="connsiteX90" fmla="*/ 25052 w 792271"/>
              <a:gd name="connsiteY90" fmla="*/ 382044 h 817323"/>
              <a:gd name="connsiteX91" fmla="*/ 31315 w 792271"/>
              <a:gd name="connsiteY91" fmla="*/ 341334 h 817323"/>
              <a:gd name="connsiteX92" fmla="*/ 21920 w 792271"/>
              <a:gd name="connsiteY92" fmla="*/ 319414 h 817323"/>
              <a:gd name="connsiteX93" fmla="*/ 12526 w 792271"/>
              <a:gd name="connsiteY93" fmla="*/ 316282 h 817323"/>
              <a:gd name="connsiteX94" fmla="*/ 6263 w 792271"/>
              <a:gd name="connsiteY94" fmla="*/ 306888 h 817323"/>
              <a:gd name="connsiteX95" fmla="*/ 0 w 792271"/>
              <a:gd name="connsiteY95" fmla="*/ 288099 h 817323"/>
              <a:gd name="connsiteX96" fmla="*/ 3131 w 792271"/>
              <a:gd name="connsiteY96" fmla="*/ 259915 h 817323"/>
              <a:gd name="connsiteX97" fmla="*/ 25052 w 792271"/>
              <a:gd name="connsiteY97" fmla="*/ 272441 h 817323"/>
              <a:gd name="connsiteX98" fmla="*/ 43841 w 792271"/>
              <a:gd name="connsiteY98" fmla="*/ 278704 h 817323"/>
              <a:gd name="connsiteX99" fmla="*/ 46972 w 792271"/>
              <a:gd name="connsiteY99" fmla="*/ 288099 h 817323"/>
              <a:gd name="connsiteX100" fmla="*/ 56367 w 792271"/>
              <a:gd name="connsiteY100" fmla="*/ 291230 h 817323"/>
              <a:gd name="connsiteX101" fmla="*/ 100208 w 792271"/>
              <a:gd name="connsiteY101" fmla="*/ 288099 h 817323"/>
              <a:gd name="connsiteX102" fmla="*/ 118997 w 792271"/>
              <a:gd name="connsiteY102" fmla="*/ 272441 h 817323"/>
              <a:gd name="connsiteX103" fmla="*/ 122128 w 792271"/>
              <a:gd name="connsiteY103" fmla="*/ 263047 h 817323"/>
              <a:gd name="connsiteX104" fmla="*/ 118997 w 792271"/>
              <a:gd name="connsiteY104" fmla="*/ 237994 h 817323"/>
              <a:gd name="connsiteX105" fmla="*/ 106471 w 792271"/>
              <a:gd name="connsiteY105" fmla="*/ 219205 h 817323"/>
              <a:gd name="connsiteX106" fmla="*/ 97076 w 792271"/>
              <a:gd name="connsiteY106" fmla="*/ 200416 h 817323"/>
              <a:gd name="connsiteX107" fmla="*/ 128391 w 792271"/>
              <a:gd name="connsiteY107" fmla="*/ 184759 h 817323"/>
              <a:gd name="connsiteX108" fmla="*/ 137786 w 792271"/>
              <a:gd name="connsiteY108" fmla="*/ 175364 h 817323"/>
              <a:gd name="connsiteX109" fmla="*/ 153443 w 792271"/>
              <a:gd name="connsiteY109" fmla="*/ 159707 h 817323"/>
              <a:gd name="connsiteX110" fmla="*/ 172233 w 792271"/>
              <a:gd name="connsiteY110" fmla="*/ 153444 h 817323"/>
              <a:gd name="connsiteX111" fmla="*/ 178496 w 792271"/>
              <a:gd name="connsiteY111" fmla="*/ 144049 h 817323"/>
              <a:gd name="connsiteX112" fmla="*/ 184759 w 792271"/>
              <a:gd name="connsiteY112" fmla="*/ 115866 h 817323"/>
              <a:gd name="connsiteX113" fmla="*/ 187890 w 792271"/>
              <a:gd name="connsiteY113" fmla="*/ 100208 h 817323"/>
              <a:gd name="connsiteX114" fmla="*/ 191022 w 792271"/>
              <a:gd name="connsiteY114" fmla="*/ 78288 h 817323"/>
              <a:gd name="connsiteX115" fmla="*/ 197285 w 792271"/>
              <a:gd name="connsiteY115" fmla="*/ 59499 h 817323"/>
              <a:gd name="connsiteX116" fmla="*/ 284967 w 792271"/>
              <a:gd name="connsiteY116" fmla="*/ 62630 h 817323"/>
              <a:gd name="connsiteX117" fmla="*/ 297493 w 792271"/>
              <a:gd name="connsiteY117" fmla="*/ 81419 h 817323"/>
              <a:gd name="connsiteX118" fmla="*/ 316282 w 792271"/>
              <a:gd name="connsiteY118" fmla="*/ 87682 h 817323"/>
              <a:gd name="connsiteX119" fmla="*/ 356991 w 792271"/>
              <a:gd name="connsiteY119" fmla="*/ 93945 h 817323"/>
              <a:gd name="connsiteX120" fmla="*/ 397701 w 792271"/>
              <a:gd name="connsiteY120" fmla="*/ 90814 h 817323"/>
              <a:gd name="connsiteX121" fmla="*/ 419622 w 792271"/>
              <a:gd name="connsiteY121" fmla="*/ 65762 h 817323"/>
              <a:gd name="connsiteX122" fmla="*/ 429016 w 792271"/>
              <a:gd name="connsiteY122" fmla="*/ 59499 h 817323"/>
              <a:gd name="connsiteX123" fmla="*/ 438411 w 792271"/>
              <a:gd name="connsiteY123" fmla="*/ 68893 h 817323"/>
              <a:gd name="connsiteX124" fmla="*/ 441542 w 792271"/>
              <a:gd name="connsiteY124" fmla="*/ 78288 h 817323"/>
              <a:gd name="connsiteX125" fmla="*/ 457200 w 792271"/>
              <a:gd name="connsiteY125" fmla="*/ 75156 h 817323"/>
              <a:gd name="connsiteX126" fmla="*/ 466594 w 792271"/>
              <a:gd name="connsiteY126" fmla="*/ 68893 h 817323"/>
              <a:gd name="connsiteX127" fmla="*/ 469726 w 792271"/>
              <a:gd name="connsiteY127" fmla="*/ 59499 h 817323"/>
              <a:gd name="connsiteX128" fmla="*/ 475989 w 792271"/>
              <a:gd name="connsiteY128" fmla="*/ 50104 h 817323"/>
              <a:gd name="connsiteX129" fmla="*/ 482252 w 792271"/>
              <a:gd name="connsiteY129" fmla="*/ 37578 h 817323"/>
              <a:gd name="connsiteX130" fmla="*/ 510435 w 792271"/>
              <a:gd name="connsiteY130" fmla="*/ 25052 h 817323"/>
              <a:gd name="connsiteX131" fmla="*/ 519830 w 792271"/>
              <a:gd name="connsiteY131" fmla="*/ 18789 h 817323"/>
              <a:gd name="connsiteX132" fmla="*/ 538619 w 792271"/>
              <a:gd name="connsiteY132" fmla="*/ 3131 h 817323"/>
              <a:gd name="connsiteX133" fmla="*/ 548013 w 792271"/>
              <a:gd name="connsiteY133" fmla="*/ 0 h 817323"/>
              <a:gd name="connsiteX134" fmla="*/ 563671 w 792271"/>
              <a:gd name="connsiteY134" fmla="*/ 21921 h 817323"/>
              <a:gd name="connsiteX135" fmla="*/ 563671 w 792271"/>
              <a:gd name="connsiteY135" fmla="*/ 21921 h 817323"/>
              <a:gd name="connsiteX136" fmla="*/ 573065 w 792271"/>
              <a:gd name="connsiteY136" fmla="*/ 28184 h 817323"/>
              <a:gd name="connsiteX137" fmla="*/ 591854 w 792271"/>
              <a:gd name="connsiteY137" fmla="*/ 46973 h 817323"/>
              <a:gd name="connsiteX138" fmla="*/ 573065 w 792271"/>
              <a:gd name="connsiteY138" fmla="*/ 84551 h 817323"/>
              <a:gd name="connsiteX139" fmla="*/ 566802 w 792271"/>
              <a:gd name="connsiteY139" fmla="*/ 93945 h 817323"/>
              <a:gd name="connsiteX140" fmla="*/ 560539 w 792271"/>
              <a:gd name="connsiteY140" fmla="*/ 103340 h 817323"/>
              <a:gd name="connsiteX141" fmla="*/ 557408 w 792271"/>
              <a:gd name="connsiteY141" fmla="*/ 112734 h 817323"/>
              <a:gd name="connsiteX142" fmla="*/ 554276 w 792271"/>
              <a:gd name="connsiteY142" fmla="*/ 165970 h 817323"/>
              <a:gd name="connsiteX143" fmla="*/ 535487 w 792271"/>
              <a:gd name="connsiteY143" fmla="*/ 175364 h 817323"/>
              <a:gd name="connsiteX144" fmla="*/ 519830 w 792271"/>
              <a:gd name="connsiteY144" fmla="*/ 194153 h 817323"/>
              <a:gd name="connsiteX145" fmla="*/ 513567 w 792271"/>
              <a:gd name="connsiteY145" fmla="*/ 212942 h 817323"/>
              <a:gd name="connsiteX146" fmla="*/ 510435 w 792271"/>
              <a:gd name="connsiteY146" fmla="*/ 222337 h 817323"/>
              <a:gd name="connsiteX147" fmla="*/ 513567 w 792271"/>
              <a:gd name="connsiteY147" fmla="*/ 247389 h 817323"/>
              <a:gd name="connsiteX148" fmla="*/ 526093 w 792271"/>
              <a:gd name="connsiteY148" fmla="*/ 266178 h 817323"/>
              <a:gd name="connsiteX149" fmla="*/ 522961 w 792271"/>
              <a:gd name="connsiteY149" fmla="*/ 316282 h 817323"/>
              <a:gd name="connsiteX150" fmla="*/ 519830 w 792271"/>
              <a:gd name="connsiteY150" fmla="*/ 325677 h 817323"/>
              <a:gd name="connsiteX151" fmla="*/ 516698 w 792271"/>
              <a:gd name="connsiteY151" fmla="*/ 338203 h 817323"/>
              <a:gd name="connsiteX152" fmla="*/ 513567 w 792271"/>
              <a:gd name="connsiteY152" fmla="*/ 347597 h 817323"/>
              <a:gd name="connsiteX153" fmla="*/ 507304 w 792271"/>
              <a:gd name="connsiteY153" fmla="*/ 375781 h 817323"/>
              <a:gd name="connsiteX154" fmla="*/ 504172 w 792271"/>
              <a:gd name="connsiteY154" fmla="*/ 388307 h 817323"/>
              <a:gd name="connsiteX155" fmla="*/ 501041 w 792271"/>
              <a:gd name="connsiteY155" fmla="*/ 397701 h 817323"/>
              <a:gd name="connsiteX156" fmla="*/ 494778 w 792271"/>
              <a:gd name="connsiteY156" fmla="*/ 425885 h 817323"/>
              <a:gd name="connsiteX157" fmla="*/ 485383 w 792271"/>
              <a:gd name="connsiteY157" fmla="*/ 435279 h 817323"/>
              <a:gd name="connsiteX158" fmla="*/ 472857 w 792271"/>
              <a:gd name="connsiteY158" fmla="*/ 454068 h 817323"/>
              <a:gd name="connsiteX159" fmla="*/ 469726 w 792271"/>
              <a:gd name="connsiteY159" fmla="*/ 488515 h 817323"/>
              <a:gd name="connsiteX160" fmla="*/ 488515 w 792271"/>
              <a:gd name="connsiteY160" fmla="*/ 497910 h 817323"/>
              <a:gd name="connsiteX161" fmla="*/ 507304 w 792271"/>
              <a:gd name="connsiteY161" fmla="*/ 507304 h 817323"/>
              <a:gd name="connsiteX162" fmla="*/ 535487 w 792271"/>
              <a:gd name="connsiteY162" fmla="*/ 507304 h 817323"/>
              <a:gd name="connsiteX163" fmla="*/ 541750 w 792271"/>
              <a:gd name="connsiteY163" fmla="*/ 513567 h 817323"/>
              <a:gd name="connsiteX0" fmla="*/ 541750 w 792271"/>
              <a:gd name="connsiteY0" fmla="*/ 513567 h 817323"/>
              <a:gd name="connsiteX1" fmla="*/ 557408 w 792271"/>
              <a:gd name="connsiteY1" fmla="*/ 501041 h 817323"/>
              <a:gd name="connsiteX2" fmla="*/ 576197 w 792271"/>
              <a:gd name="connsiteY2" fmla="*/ 488515 h 817323"/>
              <a:gd name="connsiteX3" fmla="*/ 573065 w 792271"/>
              <a:gd name="connsiteY3" fmla="*/ 479121 h 817323"/>
              <a:gd name="connsiteX4" fmla="*/ 554276 w 792271"/>
              <a:gd name="connsiteY4" fmla="*/ 472858 h 817323"/>
              <a:gd name="connsiteX5" fmla="*/ 554276 w 792271"/>
              <a:gd name="connsiteY5" fmla="*/ 444674 h 817323"/>
              <a:gd name="connsiteX6" fmla="*/ 563671 w 792271"/>
              <a:gd name="connsiteY6" fmla="*/ 438411 h 817323"/>
              <a:gd name="connsiteX7" fmla="*/ 582460 w 792271"/>
              <a:gd name="connsiteY7" fmla="*/ 422753 h 817323"/>
              <a:gd name="connsiteX8" fmla="*/ 594986 w 792271"/>
              <a:gd name="connsiteY8" fmla="*/ 400833 h 817323"/>
              <a:gd name="connsiteX9" fmla="*/ 607512 w 792271"/>
              <a:gd name="connsiteY9" fmla="*/ 382044 h 817323"/>
              <a:gd name="connsiteX10" fmla="*/ 620038 w 792271"/>
              <a:gd name="connsiteY10" fmla="*/ 363255 h 817323"/>
              <a:gd name="connsiteX11" fmla="*/ 629433 w 792271"/>
              <a:gd name="connsiteY11" fmla="*/ 356992 h 817323"/>
              <a:gd name="connsiteX12" fmla="*/ 645090 w 792271"/>
              <a:gd name="connsiteY12" fmla="*/ 360123 h 817323"/>
              <a:gd name="connsiteX13" fmla="*/ 648222 w 792271"/>
              <a:gd name="connsiteY13" fmla="*/ 369518 h 817323"/>
              <a:gd name="connsiteX14" fmla="*/ 663879 w 792271"/>
              <a:gd name="connsiteY14" fmla="*/ 385175 h 817323"/>
              <a:gd name="connsiteX15" fmla="*/ 673274 w 792271"/>
              <a:gd name="connsiteY15" fmla="*/ 388307 h 817323"/>
              <a:gd name="connsiteX16" fmla="*/ 682668 w 792271"/>
              <a:gd name="connsiteY16" fmla="*/ 394570 h 817323"/>
              <a:gd name="connsiteX17" fmla="*/ 732772 w 792271"/>
              <a:gd name="connsiteY17" fmla="*/ 400833 h 817323"/>
              <a:gd name="connsiteX18" fmla="*/ 742167 w 792271"/>
              <a:gd name="connsiteY18" fmla="*/ 410227 h 817323"/>
              <a:gd name="connsiteX19" fmla="*/ 729641 w 792271"/>
              <a:gd name="connsiteY19" fmla="*/ 435279 h 817323"/>
              <a:gd name="connsiteX20" fmla="*/ 698326 w 792271"/>
              <a:gd name="connsiteY20" fmla="*/ 457200 h 817323"/>
              <a:gd name="connsiteX21" fmla="*/ 688931 w 792271"/>
              <a:gd name="connsiteY21" fmla="*/ 466594 h 817323"/>
              <a:gd name="connsiteX22" fmla="*/ 692063 w 792271"/>
              <a:gd name="connsiteY22" fmla="*/ 488515 h 817323"/>
              <a:gd name="connsiteX23" fmla="*/ 704589 w 792271"/>
              <a:gd name="connsiteY23" fmla="*/ 491647 h 817323"/>
              <a:gd name="connsiteX24" fmla="*/ 723378 w 792271"/>
              <a:gd name="connsiteY24" fmla="*/ 497910 h 817323"/>
              <a:gd name="connsiteX25" fmla="*/ 732772 w 792271"/>
              <a:gd name="connsiteY25" fmla="*/ 507304 h 817323"/>
              <a:gd name="connsiteX26" fmla="*/ 751561 w 792271"/>
              <a:gd name="connsiteY26" fmla="*/ 519830 h 817323"/>
              <a:gd name="connsiteX27" fmla="*/ 764087 w 792271"/>
              <a:gd name="connsiteY27" fmla="*/ 538619 h 817323"/>
              <a:gd name="connsiteX28" fmla="*/ 773482 w 792271"/>
              <a:gd name="connsiteY28" fmla="*/ 548014 h 817323"/>
              <a:gd name="connsiteX29" fmla="*/ 779745 w 792271"/>
              <a:gd name="connsiteY29" fmla="*/ 560540 h 817323"/>
              <a:gd name="connsiteX30" fmla="*/ 792271 w 792271"/>
              <a:gd name="connsiteY30" fmla="*/ 579329 h 817323"/>
              <a:gd name="connsiteX31" fmla="*/ 789139 w 792271"/>
              <a:gd name="connsiteY31" fmla="*/ 598118 h 817323"/>
              <a:gd name="connsiteX32" fmla="*/ 779745 w 792271"/>
              <a:gd name="connsiteY32" fmla="*/ 601249 h 817323"/>
              <a:gd name="connsiteX33" fmla="*/ 767219 w 792271"/>
              <a:gd name="connsiteY33" fmla="*/ 604381 h 817323"/>
              <a:gd name="connsiteX34" fmla="*/ 754693 w 792271"/>
              <a:gd name="connsiteY34" fmla="*/ 623170 h 817323"/>
              <a:gd name="connsiteX35" fmla="*/ 735904 w 792271"/>
              <a:gd name="connsiteY35" fmla="*/ 626301 h 817323"/>
              <a:gd name="connsiteX36" fmla="*/ 704589 w 792271"/>
              <a:gd name="connsiteY36" fmla="*/ 635696 h 817323"/>
              <a:gd name="connsiteX37" fmla="*/ 588723 w 792271"/>
              <a:gd name="connsiteY37" fmla="*/ 638827 h 817323"/>
              <a:gd name="connsiteX38" fmla="*/ 569934 w 792271"/>
              <a:gd name="connsiteY38" fmla="*/ 667011 h 817323"/>
              <a:gd name="connsiteX39" fmla="*/ 566802 w 792271"/>
              <a:gd name="connsiteY39" fmla="*/ 676405 h 817323"/>
              <a:gd name="connsiteX40" fmla="*/ 554276 w 792271"/>
              <a:gd name="connsiteY40" fmla="*/ 695194 h 817323"/>
              <a:gd name="connsiteX41" fmla="*/ 548013 w 792271"/>
              <a:gd name="connsiteY41" fmla="*/ 704589 h 817323"/>
              <a:gd name="connsiteX42" fmla="*/ 532356 w 792271"/>
              <a:gd name="connsiteY42" fmla="*/ 732773 h 817323"/>
              <a:gd name="connsiteX43" fmla="*/ 519830 w 792271"/>
              <a:gd name="connsiteY43" fmla="*/ 764088 h 817323"/>
              <a:gd name="connsiteX44" fmla="*/ 513567 w 792271"/>
              <a:gd name="connsiteY44" fmla="*/ 773482 h 817323"/>
              <a:gd name="connsiteX45" fmla="*/ 507304 w 792271"/>
              <a:gd name="connsiteY45" fmla="*/ 792271 h 817323"/>
              <a:gd name="connsiteX46" fmla="*/ 504172 w 792271"/>
              <a:gd name="connsiteY46" fmla="*/ 801666 h 817323"/>
              <a:gd name="connsiteX47" fmla="*/ 501041 w 792271"/>
              <a:gd name="connsiteY47" fmla="*/ 811060 h 817323"/>
              <a:gd name="connsiteX48" fmla="*/ 485383 w 792271"/>
              <a:gd name="connsiteY48" fmla="*/ 798534 h 817323"/>
              <a:gd name="connsiteX49" fmla="*/ 466594 w 792271"/>
              <a:gd name="connsiteY49" fmla="*/ 817323 h 817323"/>
              <a:gd name="connsiteX50" fmla="*/ 441542 w 792271"/>
              <a:gd name="connsiteY50" fmla="*/ 814192 h 817323"/>
              <a:gd name="connsiteX51" fmla="*/ 435279 w 792271"/>
              <a:gd name="connsiteY51" fmla="*/ 804797 h 817323"/>
              <a:gd name="connsiteX52" fmla="*/ 425885 w 792271"/>
              <a:gd name="connsiteY52" fmla="*/ 795403 h 817323"/>
              <a:gd name="connsiteX53" fmla="*/ 419622 w 792271"/>
              <a:gd name="connsiteY53" fmla="*/ 786008 h 817323"/>
              <a:gd name="connsiteX54" fmla="*/ 410227 w 792271"/>
              <a:gd name="connsiteY54" fmla="*/ 776614 h 817323"/>
              <a:gd name="connsiteX55" fmla="*/ 403964 w 792271"/>
              <a:gd name="connsiteY55" fmla="*/ 767219 h 817323"/>
              <a:gd name="connsiteX56" fmla="*/ 394569 w 792271"/>
              <a:gd name="connsiteY56" fmla="*/ 757825 h 817323"/>
              <a:gd name="connsiteX57" fmla="*/ 372649 w 792271"/>
              <a:gd name="connsiteY57" fmla="*/ 732773 h 817323"/>
              <a:gd name="connsiteX58" fmla="*/ 366386 w 792271"/>
              <a:gd name="connsiteY58" fmla="*/ 723378 h 817323"/>
              <a:gd name="connsiteX59" fmla="*/ 306887 w 792271"/>
              <a:gd name="connsiteY59" fmla="*/ 713984 h 817323"/>
              <a:gd name="connsiteX60" fmla="*/ 294361 w 792271"/>
              <a:gd name="connsiteY60" fmla="*/ 660748 h 817323"/>
              <a:gd name="connsiteX61" fmla="*/ 288098 w 792271"/>
              <a:gd name="connsiteY61" fmla="*/ 651353 h 817323"/>
              <a:gd name="connsiteX62" fmla="*/ 269309 w 792271"/>
              <a:gd name="connsiteY62" fmla="*/ 641959 h 817323"/>
              <a:gd name="connsiteX63" fmla="*/ 256783 w 792271"/>
              <a:gd name="connsiteY63" fmla="*/ 645090 h 817323"/>
              <a:gd name="connsiteX64" fmla="*/ 228600 w 792271"/>
              <a:gd name="connsiteY64" fmla="*/ 654485 h 817323"/>
              <a:gd name="connsiteX65" fmla="*/ 219205 w 792271"/>
              <a:gd name="connsiteY65" fmla="*/ 660748 h 817323"/>
              <a:gd name="connsiteX66" fmla="*/ 212942 w 792271"/>
              <a:gd name="connsiteY66" fmla="*/ 670142 h 817323"/>
              <a:gd name="connsiteX67" fmla="*/ 206679 w 792271"/>
              <a:gd name="connsiteY67" fmla="*/ 688931 h 817323"/>
              <a:gd name="connsiteX68" fmla="*/ 200416 w 792271"/>
              <a:gd name="connsiteY68" fmla="*/ 707721 h 817323"/>
              <a:gd name="connsiteX69" fmla="*/ 191022 w 792271"/>
              <a:gd name="connsiteY69" fmla="*/ 710852 h 817323"/>
              <a:gd name="connsiteX70" fmla="*/ 169101 w 792271"/>
              <a:gd name="connsiteY70" fmla="*/ 701458 h 817323"/>
              <a:gd name="connsiteX71" fmla="*/ 162838 w 792271"/>
              <a:gd name="connsiteY71" fmla="*/ 695194 h 817323"/>
              <a:gd name="connsiteX72" fmla="*/ 159706 w 792271"/>
              <a:gd name="connsiteY72" fmla="*/ 685800 h 817323"/>
              <a:gd name="connsiteX73" fmla="*/ 153443 w 792271"/>
              <a:gd name="connsiteY73" fmla="*/ 651353 h 817323"/>
              <a:gd name="connsiteX74" fmla="*/ 147180 w 792271"/>
              <a:gd name="connsiteY74" fmla="*/ 632564 h 817323"/>
              <a:gd name="connsiteX75" fmla="*/ 122128 w 792271"/>
              <a:gd name="connsiteY75" fmla="*/ 629433 h 817323"/>
              <a:gd name="connsiteX76" fmla="*/ 115865 w 792271"/>
              <a:gd name="connsiteY76" fmla="*/ 610644 h 817323"/>
              <a:gd name="connsiteX77" fmla="*/ 93945 w 792271"/>
              <a:gd name="connsiteY77" fmla="*/ 582460 h 817323"/>
              <a:gd name="connsiteX78" fmla="*/ 78287 w 792271"/>
              <a:gd name="connsiteY78" fmla="*/ 566803 h 817323"/>
              <a:gd name="connsiteX79" fmla="*/ 72024 w 792271"/>
              <a:gd name="connsiteY79" fmla="*/ 557408 h 817323"/>
              <a:gd name="connsiteX80" fmla="*/ 43841 w 792271"/>
              <a:gd name="connsiteY80" fmla="*/ 541751 h 817323"/>
              <a:gd name="connsiteX81" fmla="*/ 34446 w 792271"/>
              <a:gd name="connsiteY81" fmla="*/ 535488 h 817323"/>
              <a:gd name="connsiteX82" fmla="*/ 25052 w 792271"/>
              <a:gd name="connsiteY82" fmla="*/ 532356 h 817323"/>
              <a:gd name="connsiteX83" fmla="*/ 15657 w 792271"/>
              <a:gd name="connsiteY83" fmla="*/ 522962 h 817323"/>
              <a:gd name="connsiteX84" fmla="*/ 12526 w 792271"/>
              <a:gd name="connsiteY84" fmla="*/ 513567 h 817323"/>
              <a:gd name="connsiteX85" fmla="*/ 25052 w 792271"/>
              <a:gd name="connsiteY85" fmla="*/ 494778 h 817323"/>
              <a:gd name="connsiteX86" fmla="*/ 28183 w 792271"/>
              <a:gd name="connsiteY86" fmla="*/ 454068 h 817323"/>
              <a:gd name="connsiteX87" fmla="*/ 31315 w 792271"/>
              <a:gd name="connsiteY87" fmla="*/ 422753 h 817323"/>
              <a:gd name="connsiteX88" fmla="*/ 37578 w 792271"/>
              <a:gd name="connsiteY88" fmla="*/ 403964 h 817323"/>
              <a:gd name="connsiteX89" fmla="*/ 34446 w 792271"/>
              <a:gd name="connsiteY89" fmla="*/ 388307 h 817323"/>
              <a:gd name="connsiteX90" fmla="*/ 25052 w 792271"/>
              <a:gd name="connsiteY90" fmla="*/ 382044 h 817323"/>
              <a:gd name="connsiteX91" fmla="*/ 31315 w 792271"/>
              <a:gd name="connsiteY91" fmla="*/ 341334 h 817323"/>
              <a:gd name="connsiteX92" fmla="*/ 21920 w 792271"/>
              <a:gd name="connsiteY92" fmla="*/ 319414 h 817323"/>
              <a:gd name="connsiteX93" fmla="*/ 12526 w 792271"/>
              <a:gd name="connsiteY93" fmla="*/ 316282 h 817323"/>
              <a:gd name="connsiteX94" fmla="*/ 6263 w 792271"/>
              <a:gd name="connsiteY94" fmla="*/ 306888 h 817323"/>
              <a:gd name="connsiteX95" fmla="*/ 0 w 792271"/>
              <a:gd name="connsiteY95" fmla="*/ 288099 h 817323"/>
              <a:gd name="connsiteX96" fmla="*/ 3131 w 792271"/>
              <a:gd name="connsiteY96" fmla="*/ 259915 h 817323"/>
              <a:gd name="connsiteX97" fmla="*/ 25052 w 792271"/>
              <a:gd name="connsiteY97" fmla="*/ 260535 h 817323"/>
              <a:gd name="connsiteX98" fmla="*/ 43841 w 792271"/>
              <a:gd name="connsiteY98" fmla="*/ 278704 h 817323"/>
              <a:gd name="connsiteX99" fmla="*/ 46972 w 792271"/>
              <a:gd name="connsiteY99" fmla="*/ 288099 h 817323"/>
              <a:gd name="connsiteX100" fmla="*/ 56367 w 792271"/>
              <a:gd name="connsiteY100" fmla="*/ 291230 h 817323"/>
              <a:gd name="connsiteX101" fmla="*/ 100208 w 792271"/>
              <a:gd name="connsiteY101" fmla="*/ 288099 h 817323"/>
              <a:gd name="connsiteX102" fmla="*/ 118997 w 792271"/>
              <a:gd name="connsiteY102" fmla="*/ 272441 h 817323"/>
              <a:gd name="connsiteX103" fmla="*/ 122128 w 792271"/>
              <a:gd name="connsiteY103" fmla="*/ 263047 h 817323"/>
              <a:gd name="connsiteX104" fmla="*/ 118997 w 792271"/>
              <a:gd name="connsiteY104" fmla="*/ 237994 h 817323"/>
              <a:gd name="connsiteX105" fmla="*/ 106471 w 792271"/>
              <a:gd name="connsiteY105" fmla="*/ 219205 h 817323"/>
              <a:gd name="connsiteX106" fmla="*/ 97076 w 792271"/>
              <a:gd name="connsiteY106" fmla="*/ 200416 h 817323"/>
              <a:gd name="connsiteX107" fmla="*/ 128391 w 792271"/>
              <a:gd name="connsiteY107" fmla="*/ 184759 h 817323"/>
              <a:gd name="connsiteX108" fmla="*/ 137786 w 792271"/>
              <a:gd name="connsiteY108" fmla="*/ 175364 h 817323"/>
              <a:gd name="connsiteX109" fmla="*/ 153443 w 792271"/>
              <a:gd name="connsiteY109" fmla="*/ 159707 h 817323"/>
              <a:gd name="connsiteX110" fmla="*/ 172233 w 792271"/>
              <a:gd name="connsiteY110" fmla="*/ 153444 h 817323"/>
              <a:gd name="connsiteX111" fmla="*/ 178496 w 792271"/>
              <a:gd name="connsiteY111" fmla="*/ 144049 h 817323"/>
              <a:gd name="connsiteX112" fmla="*/ 184759 w 792271"/>
              <a:gd name="connsiteY112" fmla="*/ 115866 h 817323"/>
              <a:gd name="connsiteX113" fmla="*/ 187890 w 792271"/>
              <a:gd name="connsiteY113" fmla="*/ 100208 h 817323"/>
              <a:gd name="connsiteX114" fmla="*/ 191022 w 792271"/>
              <a:gd name="connsiteY114" fmla="*/ 78288 h 817323"/>
              <a:gd name="connsiteX115" fmla="*/ 197285 w 792271"/>
              <a:gd name="connsiteY115" fmla="*/ 59499 h 817323"/>
              <a:gd name="connsiteX116" fmla="*/ 284967 w 792271"/>
              <a:gd name="connsiteY116" fmla="*/ 62630 h 817323"/>
              <a:gd name="connsiteX117" fmla="*/ 297493 w 792271"/>
              <a:gd name="connsiteY117" fmla="*/ 81419 h 817323"/>
              <a:gd name="connsiteX118" fmla="*/ 316282 w 792271"/>
              <a:gd name="connsiteY118" fmla="*/ 87682 h 817323"/>
              <a:gd name="connsiteX119" fmla="*/ 356991 w 792271"/>
              <a:gd name="connsiteY119" fmla="*/ 93945 h 817323"/>
              <a:gd name="connsiteX120" fmla="*/ 397701 w 792271"/>
              <a:gd name="connsiteY120" fmla="*/ 90814 h 817323"/>
              <a:gd name="connsiteX121" fmla="*/ 419622 w 792271"/>
              <a:gd name="connsiteY121" fmla="*/ 65762 h 817323"/>
              <a:gd name="connsiteX122" fmla="*/ 429016 w 792271"/>
              <a:gd name="connsiteY122" fmla="*/ 59499 h 817323"/>
              <a:gd name="connsiteX123" fmla="*/ 438411 w 792271"/>
              <a:gd name="connsiteY123" fmla="*/ 68893 h 817323"/>
              <a:gd name="connsiteX124" fmla="*/ 441542 w 792271"/>
              <a:gd name="connsiteY124" fmla="*/ 78288 h 817323"/>
              <a:gd name="connsiteX125" fmla="*/ 457200 w 792271"/>
              <a:gd name="connsiteY125" fmla="*/ 75156 h 817323"/>
              <a:gd name="connsiteX126" fmla="*/ 466594 w 792271"/>
              <a:gd name="connsiteY126" fmla="*/ 68893 h 817323"/>
              <a:gd name="connsiteX127" fmla="*/ 469726 w 792271"/>
              <a:gd name="connsiteY127" fmla="*/ 59499 h 817323"/>
              <a:gd name="connsiteX128" fmla="*/ 475989 w 792271"/>
              <a:gd name="connsiteY128" fmla="*/ 50104 h 817323"/>
              <a:gd name="connsiteX129" fmla="*/ 482252 w 792271"/>
              <a:gd name="connsiteY129" fmla="*/ 37578 h 817323"/>
              <a:gd name="connsiteX130" fmla="*/ 510435 w 792271"/>
              <a:gd name="connsiteY130" fmla="*/ 25052 h 817323"/>
              <a:gd name="connsiteX131" fmla="*/ 519830 w 792271"/>
              <a:gd name="connsiteY131" fmla="*/ 18789 h 817323"/>
              <a:gd name="connsiteX132" fmla="*/ 538619 w 792271"/>
              <a:gd name="connsiteY132" fmla="*/ 3131 h 817323"/>
              <a:gd name="connsiteX133" fmla="*/ 548013 w 792271"/>
              <a:gd name="connsiteY133" fmla="*/ 0 h 817323"/>
              <a:gd name="connsiteX134" fmla="*/ 563671 w 792271"/>
              <a:gd name="connsiteY134" fmla="*/ 21921 h 817323"/>
              <a:gd name="connsiteX135" fmla="*/ 563671 w 792271"/>
              <a:gd name="connsiteY135" fmla="*/ 21921 h 817323"/>
              <a:gd name="connsiteX136" fmla="*/ 573065 w 792271"/>
              <a:gd name="connsiteY136" fmla="*/ 28184 h 817323"/>
              <a:gd name="connsiteX137" fmla="*/ 591854 w 792271"/>
              <a:gd name="connsiteY137" fmla="*/ 46973 h 817323"/>
              <a:gd name="connsiteX138" fmla="*/ 573065 w 792271"/>
              <a:gd name="connsiteY138" fmla="*/ 84551 h 817323"/>
              <a:gd name="connsiteX139" fmla="*/ 566802 w 792271"/>
              <a:gd name="connsiteY139" fmla="*/ 93945 h 817323"/>
              <a:gd name="connsiteX140" fmla="*/ 560539 w 792271"/>
              <a:gd name="connsiteY140" fmla="*/ 103340 h 817323"/>
              <a:gd name="connsiteX141" fmla="*/ 557408 w 792271"/>
              <a:gd name="connsiteY141" fmla="*/ 112734 h 817323"/>
              <a:gd name="connsiteX142" fmla="*/ 554276 w 792271"/>
              <a:gd name="connsiteY142" fmla="*/ 165970 h 817323"/>
              <a:gd name="connsiteX143" fmla="*/ 535487 w 792271"/>
              <a:gd name="connsiteY143" fmla="*/ 175364 h 817323"/>
              <a:gd name="connsiteX144" fmla="*/ 519830 w 792271"/>
              <a:gd name="connsiteY144" fmla="*/ 194153 h 817323"/>
              <a:gd name="connsiteX145" fmla="*/ 513567 w 792271"/>
              <a:gd name="connsiteY145" fmla="*/ 212942 h 817323"/>
              <a:gd name="connsiteX146" fmla="*/ 510435 w 792271"/>
              <a:gd name="connsiteY146" fmla="*/ 222337 h 817323"/>
              <a:gd name="connsiteX147" fmla="*/ 513567 w 792271"/>
              <a:gd name="connsiteY147" fmla="*/ 247389 h 817323"/>
              <a:gd name="connsiteX148" fmla="*/ 526093 w 792271"/>
              <a:gd name="connsiteY148" fmla="*/ 266178 h 817323"/>
              <a:gd name="connsiteX149" fmla="*/ 522961 w 792271"/>
              <a:gd name="connsiteY149" fmla="*/ 316282 h 817323"/>
              <a:gd name="connsiteX150" fmla="*/ 519830 w 792271"/>
              <a:gd name="connsiteY150" fmla="*/ 325677 h 817323"/>
              <a:gd name="connsiteX151" fmla="*/ 516698 w 792271"/>
              <a:gd name="connsiteY151" fmla="*/ 338203 h 817323"/>
              <a:gd name="connsiteX152" fmla="*/ 513567 w 792271"/>
              <a:gd name="connsiteY152" fmla="*/ 347597 h 817323"/>
              <a:gd name="connsiteX153" fmla="*/ 507304 w 792271"/>
              <a:gd name="connsiteY153" fmla="*/ 375781 h 817323"/>
              <a:gd name="connsiteX154" fmla="*/ 504172 w 792271"/>
              <a:gd name="connsiteY154" fmla="*/ 388307 h 817323"/>
              <a:gd name="connsiteX155" fmla="*/ 501041 w 792271"/>
              <a:gd name="connsiteY155" fmla="*/ 397701 h 817323"/>
              <a:gd name="connsiteX156" fmla="*/ 494778 w 792271"/>
              <a:gd name="connsiteY156" fmla="*/ 425885 h 817323"/>
              <a:gd name="connsiteX157" fmla="*/ 485383 w 792271"/>
              <a:gd name="connsiteY157" fmla="*/ 435279 h 817323"/>
              <a:gd name="connsiteX158" fmla="*/ 472857 w 792271"/>
              <a:gd name="connsiteY158" fmla="*/ 454068 h 817323"/>
              <a:gd name="connsiteX159" fmla="*/ 469726 w 792271"/>
              <a:gd name="connsiteY159" fmla="*/ 488515 h 817323"/>
              <a:gd name="connsiteX160" fmla="*/ 488515 w 792271"/>
              <a:gd name="connsiteY160" fmla="*/ 497910 h 817323"/>
              <a:gd name="connsiteX161" fmla="*/ 507304 w 792271"/>
              <a:gd name="connsiteY161" fmla="*/ 507304 h 817323"/>
              <a:gd name="connsiteX162" fmla="*/ 535487 w 792271"/>
              <a:gd name="connsiteY162" fmla="*/ 507304 h 817323"/>
              <a:gd name="connsiteX163" fmla="*/ 541750 w 792271"/>
              <a:gd name="connsiteY163" fmla="*/ 513567 h 817323"/>
              <a:gd name="connsiteX0" fmla="*/ 541750 w 792271"/>
              <a:gd name="connsiteY0" fmla="*/ 513567 h 817323"/>
              <a:gd name="connsiteX1" fmla="*/ 557408 w 792271"/>
              <a:gd name="connsiteY1" fmla="*/ 501041 h 817323"/>
              <a:gd name="connsiteX2" fmla="*/ 576197 w 792271"/>
              <a:gd name="connsiteY2" fmla="*/ 488515 h 817323"/>
              <a:gd name="connsiteX3" fmla="*/ 573065 w 792271"/>
              <a:gd name="connsiteY3" fmla="*/ 479121 h 817323"/>
              <a:gd name="connsiteX4" fmla="*/ 554276 w 792271"/>
              <a:gd name="connsiteY4" fmla="*/ 472858 h 817323"/>
              <a:gd name="connsiteX5" fmla="*/ 554276 w 792271"/>
              <a:gd name="connsiteY5" fmla="*/ 444674 h 817323"/>
              <a:gd name="connsiteX6" fmla="*/ 563671 w 792271"/>
              <a:gd name="connsiteY6" fmla="*/ 438411 h 817323"/>
              <a:gd name="connsiteX7" fmla="*/ 582460 w 792271"/>
              <a:gd name="connsiteY7" fmla="*/ 422753 h 817323"/>
              <a:gd name="connsiteX8" fmla="*/ 594986 w 792271"/>
              <a:gd name="connsiteY8" fmla="*/ 400833 h 817323"/>
              <a:gd name="connsiteX9" fmla="*/ 607512 w 792271"/>
              <a:gd name="connsiteY9" fmla="*/ 382044 h 817323"/>
              <a:gd name="connsiteX10" fmla="*/ 620038 w 792271"/>
              <a:gd name="connsiteY10" fmla="*/ 363255 h 817323"/>
              <a:gd name="connsiteX11" fmla="*/ 629433 w 792271"/>
              <a:gd name="connsiteY11" fmla="*/ 356992 h 817323"/>
              <a:gd name="connsiteX12" fmla="*/ 645090 w 792271"/>
              <a:gd name="connsiteY12" fmla="*/ 360123 h 817323"/>
              <a:gd name="connsiteX13" fmla="*/ 648222 w 792271"/>
              <a:gd name="connsiteY13" fmla="*/ 369518 h 817323"/>
              <a:gd name="connsiteX14" fmla="*/ 663879 w 792271"/>
              <a:gd name="connsiteY14" fmla="*/ 385175 h 817323"/>
              <a:gd name="connsiteX15" fmla="*/ 673274 w 792271"/>
              <a:gd name="connsiteY15" fmla="*/ 388307 h 817323"/>
              <a:gd name="connsiteX16" fmla="*/ 682668 w 792271"/>
              <a:gd name="connsiteY16" fmla="*/ 394570 h 817323"/>
              <a:gd name="connsiteX17" fmla="*/ 732772 w 792271"/>
              <a:gd name="connsiteY17" fmla="*/ 400833 h 817323"/>
              <a:gd name="connsiteX18" fmla="*/ 742167 w 792271"/>
              <a:gd name="connsiteY18" fmla="*/ 410227 h 817323"/>
              <a:gd name="connsiteX19" fmla="*/ 729641 w 792271"/>
              <a:gd name="connsiteY19" fmla="*/ 435279 h 817323"/>
              <a:gd name="connsiteX20" fmla="*/ 698326 w 792271"/>
              <a:gd name="connsiteY20" fmla="*/ 457200 h 817323"/>
              <a:gd name="connsiteX21" fmla="*/ 688931 w 792271"/>
              <a:gd name="connsiteY21" fmla="*/ 466594 h 817323"/>
              <a:gd name="connsiteX22" fmla="*/ 692063 w 792271"/>
              <a:gd name="connsiteY22" fmla="*/ 488515 h 817323"/>
              <a:gd name="connsiteX23" fmla="*/ 704589 w 792271"/>
              <a:gd name="connsiteY23" fmla="*/ 491647 h 817323"/>
              <a:gd name="connsiteX24" fmla="*/ 723378 w 792271"/>
              <a:gd name="connsiteY24" fmla="*/ 497910 h 817323"/>
              <a:gd name="connsiteX25" fmla="*/ 732772 w 792271"/>
              <a:gd name="connsiteY25" fmla="*/ 507304 h 817323"/>
              <a:gd name="connsiteX26" fmla="*/ 751561 w 792271"/>
              <a:gd name="connsiteY26" fmla="*/ 519830 h 817323"/>
              <a:gd name="connsiteX27" fmla="*/ 764087 w 792271"/>
              <a:gd name="connsiteY27" fmla="*/ 538619 h 817323"/>
              <a:gd name="connsiteX28" fmla="*/ 773482 w 792271"/>
              <a:gd name="connsiteY28" fmla="*/ 548014 h 817323"/>
              <a:gd name="connsiteX29" fmla="*/ 779745 w 792271"/>
              <a:gd name="connsiteY29" fmla="*/ 560540 h 817323"/>
              <a:gd name="connsiteX30" fmla="*/ 792271 w 792271"/>
              <a:gd name="connsiteY30" fmla="*/ 579329 h 817323"/>
              <a:gd name="connsiteX31" fmla="*/ 789139 w 792271"/>
              <a:gd name="connsiteY31" fmla="*/ 598118 h 817323"/>
              <a:gd name="connsiteX32" fmla="*/ 779745 w 792271"/>
              <a:gd name="connsiteY32" fmla="*/ 601249 h 817323"/>
              <a:gd name="connsiteX33" fmla="*/ 767219 w 792271"/>
              <a:gd name="connsiteY33" fmla="*/ 604381 h 817323"/>
              <a:gd name="connsiteX34" fmla="*/ 754693 w 792271"/>
              <a:gd name="connsiteY34" fmla="*/ 623170 h 817323"/>
              <a:gd name="connsiteX35" fmla="*/ 735904 w 792271"/>
              <a:gd name="connsiteY35" fmla="*/ 626301 h 817323"/>
              <a:gd name="connsiteX36" fmla="*/ 704589 w 792271"/>
              <a:gd name="connsiteY36" fmla="*/ 635696 h 817323"/>
              <a:gd name="connsiteX37" fmla="*/ 588723 w 792271"/>
              <a:gd name="connsiteY37" fmla="*/ 638827 h 817323"/>
              <a:gd name="connsiteX38" fmla="*/ 569934 w 792271"/>
              <a:gd name="connsiteY38" fmla="*/ 667011 h 817323"/>
              <a:gd name="connsiteX39" fmla="*/ 566802 w 792271"/>
              <a:gd name="connsiteY39" fmla="*/ 676405 h 817323"/>
              <a:gd name="connsiteX40" fmla="*/ 554276 w 792271"/>
              <a:gd name="connsiteY40" fmla="*/ 695194 h 817323"/>
              <a:gd name="connsiteX41" fmla="*/ 548013 w 792271"/>
              <a:gd name="connsiteY41" fmla="*/ 704589 h 817323"/>
              <a:gd name="connsiteX42" fmla="*/ 532356 w 792271"/>
              <a:gd name="connsiteY42" fmla="*/ 732773 h 817323"/>
              <a:gd name="connsiteX43" fmla="*/ 519830 w 792271"/>
              <a:gd name="connsiteY43" fmla="*/ 764088 h 817323"/>
              <a:gd name="connsiteX44" fmla="*/ 513567 w 792271"/>
              <a:gd name="connsiteY44" fmla="*/ 773482 h 817323"/>
              <a:gd name="connsiteX45" fmla="*/ 507304 w 792271"/>
              <a:gd name="connsiteY45" fmla="*/ 792271 h 817323"/>
              <a:gd name="connsiteX46" fmla="*/ 504172 w 792271"/>
              <a:gd name="connsiteY46" fmla="*/ 801666 h 817323"/>
              <a:gd name="connsiteX47" fmla="*/ 501041 w 792271"/>
              <a:gd name="connsiteY47" fmla="*/ 811060 h 817323"/>
              <a:gd name="connsiteX48" fmla="*/ 485383 w 792271"/>
              <a:gd name="connsiteY48" fmla="*/ 798534 h 817323"/>
              <a:gd name="connsiteX49" fmla="*/ 466594 w 792271"/>
              <a:gd name="connsiteY49" fmla="*/ 817323 h 817323"/>
              <a:gd name="connsiteX50" fmla="*/ 441542 w 792271"/>
              <a:gd name="connsiteY50" fmla="*/ 814192 h 817323"/>
              <a:gd name="connsiteX51" fmla="*/ 435279 w 792271"/>
              <a:gd name="connsiteY51" fmla="*/ 804797 h 817323"/>
              <a:gd name="connsiteX52" fmla="*/ 425885 w 792271"/>
              <a:gd name="connsiteY52" fmla="*/ 795403 h 817323"/>
              <a:gd name="connsiteX53" fmla="*/ 419622 w 792271"/>
              <a:gd name="connsiteY53" fmla="*/ 786008 h 817323"/>
              <a:gd name="connsiteX54" fmla="*/ 410227 w 792271"/>
              <a:gd name="connsiteY54" fmla="*/ 776614 h 817323"/>
              <a:gd name="connsiteX55" fmla="*/ 403964 w 792271"/>
              <a:gd name="connsiteY55" fmla="*/ 767219 h 817323"/>
              <a:gd name="connsiteX56" fmla="*/ 394569 w 792271"/>
              <a:gd name="connsiteY56" fmla="*/ 757825 h 817323"/>
              <a:gd name="connsiteX57" fmla="*/ 372649 w 792271"/>
              <a:gd name="connsiteY57" fmla="*/ 732773 h 817323"/>
              <a:gd name="connsiteX58" fmla="*/ 366386 w 792271"/>
              <a:gd name="connsiteY58" fmla="*/ 723378 h 817323"/>
              <a:gd name="connsiteX59" fmla="*/ 306887 w 792271"/>
              <a:gd name="connsiteY59" fmla="*/ 713984 h 817323"/>
              <a:gd name="connsiteX60" fmla="*/ 294361 w 792271"/>
              <a:gd name="connsiteY60" fmla="*/ 660748 h 817323"/>
              <a:gd name="connsiteX61" fmla="*/ 288098 w 792271"/>
              <a:gd name="connsiteY61" fmla="*/ 651353 h 817323"/>
              <a:gd name="connsiteX62" fmla="*/ 269309 w 792271"/>
              <a:gd name="connsiteY62" fmla="*/ 641959 h 817323"/>
              <a:gd name="connsiteX63" fmla="*/ 256783 w 792271"/>
              <a:gd name="connsiteY63" fmla="*/ 645090 h 817323"/>
              <a:gd name="connsiteX64" fmla="*/ 228600 w 792271"/>
              <a:gd name="connsiteY64" fmla="*/ 654485 h 817323"/>
              <a:gd name="connsiteX65" fmla="*/ 219205 w 792271"/>
              <a:gd name="connsiteY65" fmla="*/ 660748 h 817323"/>
              <a:gd name="connsiteX66" fmla="*/ 212942 w 792271"/>
              <a:gd name="connsiteY66" fmla="*/ 670142 h 817323"/>
              <a:gd name="connsiteX67" fmla="*/ 206679 w 792271"/>
              <a:gd name="connsiteY67" fmla="*/ 688931 h 817323"/>
              <a:gd name="connsiteX68" fmla="*/ 200416 w 792271"/>
              <a:gd name="connsiteY68" fmla="*/ 707721 h 817323"/>
              <a:gd name="connsiteX69" fmla="*/ 191022 w 792271"/>
              <a:gd name="connsiteY69" fmla="*/ 710852 h 817323"/>
              <a:gd name="connsiteX70" fmla="*/ 169101 w 792271"/>
              <a:gd name="connsiteY70" fmla="*/ 701458 h 817323"/>
              <a:gd name="connsiteX71" fmla="*/ 162838 w 792271"/>
              <a:gd name="connsiteY71" fmla="*/ 695194 h 817323"/>
              <a:gd name="connsiteX72" fmla="*/ 159706 w 792271"/>
              <a:gd name="connsiteY72" fmla="*/ 685800 h 817323"/>
              <a:gd name="connsiteX73" fmla="*/ 153443 w 792271"/>
              <a:gd name="connsiteY73" fmla="*/ 651353 h 817323"/>
              <a:gd name="connsiteX74" fmla="*/ 147180 w 792271"/>
              <a:gd name="connsiteY74" fmla="*/ 632564 h 817323"/>
              <a:gd name="connsiteX75" fmla="*/ 122128 w 792271"/>
              <a:gd name="connsiteY75" fmla="*/ 629433 h 817323"/>
              <a:gd name="connsiteX76" fmla="*/ 115865 w 792271"/>
              <a:gd name="connsiteY76" fmla="*/ 610644 h 817323"/>
              <a:gd name="connsiteX77" fmla="*/ 93945 w 792271"/>
              <a:gd name="connsiteY77" fmla="*/ 582460 h 817323"/>
              <a:gd name="connsiteX78" fmla="*/ 78287 w 792271"/>
              <a:gd name="connsiteY78" fmla="*/ 566803 h 817323"/>
              <a:gd name="connsiteX79" fmla="*/ 72024 w 792271"/>
              <a:gd name="connsiteY79" fmla="*/ 557408 h 817323"/>
              <a:gd name="connsiteX80" fmla="*/ 43841 w 792271"/>
              <a:gd name="connsiteY80" fmla="*/ 541751 h 817323"/>
              <a:gd name="connsiteX81" fmla="*/ 34446 w 792271"/>
              <a:gd name="connsiteY81" fmla="*/ 535488 h 817323"/>
              <a:gd name="connsiteX82" fmla="*/ 25052 w 792271"/>
              <a:gd name="connsiteY82" fmla="*/ 532356 h 817323"/>
              <a:gd name="connsiteX83" fmla="*/ 15657 w 792271"/>
              <a:gd name="connsiteY83" fmla="*/ 522962 h 817323"/>
              <a:gd name="connsiteX84" fmla="*/ 12526 w 792271"/>
              <a:gd name="connsiteY84" fmla="*/ 513567 h 817323"/>
              <a:gd name="connsiteX85" fmla="*/ 25052 w 792271"/>
              <a:gd name="connsiteY85" fmla="*/ 494778 h 817323"/>
              <a:gd name="connsiteX86" fmla="*/ 28183 w 792271"/>
              <a:gd name="connsiteY86" fmla="*/ 454068 h 817323"/>
              <a:gd name="connsiteX87" fmla="*/ 31315 w 792271"/>
              <a:gd name="connsiteY87" fmla="*/ 422753 h 817323"/>
              <a:gd name="connsiteX88" fmla="*/ 37578 w 792271"/>
              <a:gd name="connsiteY88" fmla="*/ 403964 h 817323"/>
              <a:gd name="connsiteX89" fmla="*/ 34446 w 792271"/>
              <a:gd name="connsiteY89" fmla="*/ 388307 h 817323"/>
              <a:gd name="connsiteX90" fmla="*/ 25052 w 792271"/>
              <a:gd name="connsiteY90" fmla="*/ 382044 h 817323"/>
              <a:gd name="connsiteX91" fmla="*/ 31315 w 792271"/>
              <a:gd name="connsiteY91" fmla="*/ 341334 h 817323"/>
              <a:gd name="connsiteX92" fmla="*/ 21920 w 792271"/>
              <a:gd name="connsiteY92" fmla="*/ 319414 h 817323"/>
              <a:gd name="connsiteX93" fmla="*/ 12526 w 792271"/>
              <a:gd name="connsiteY93" fmla="*/ 316282 h 817323"/>
              <a:gd name="connsiteX94" fmla="*/ 6263 w 792271"/>
              <a:gd name="connsiteY94" fmla="*/ 306888 h 817323"/>
              <a:gd name="connsiteX95" fmla="*/ 0 w 792271"/>
              <a:gd name="connsiteY95" fmla="*/ 288099 h 817323"/>
              <a:gd name="connsiteX96" fmla="*/ 3131 w 792271"/>
              <a:gd name="connsiteY96" fmla="*/ 259915 h 817323"/>
              <a:gd name="connsiteX97" fmla="*/ 25052 w 792271"/>
              <a:gd name="connsiteY97" fmla="*/ 260535 h 817323"/>
              <a:gd name="connsiteX98" fmla="*/ 43841 w 792271"/>
              <a:gd name="connsiteY98" fmla="*/ 278704 h 817323"/>
              <a:gd name="connsiteX99" fmla="*/ 46972 w 792271"/>
              <a:gd name="connsiteY99" fmla="*/ 288099 h 817323"/>
              <a:gd name="connsiteX100" fmla="*/ 56367 w 792271"/>
              <a:gd name="connsiteY100" fmla="*/ 291230 h 817323"/>
              <a:gd name="connsiteX101" fmla="*/ 100208 w 792271"/>
              <a:gd name="connsiteY101" fmla="*/ 288099 h 817323"/>
              <a:gd name="connsiteX102" fmla="*/ 118997 w 792271"/>
              <a:gd name="connsiteY102" fmla="*/ 272441 h 817323"/>
              <a:gd name="connsiteX103" fmla="*/ 122128 w 792271"/>
              <a:gd name="connsiteY103" fmla="*/ 263047 h 817323"/>
              <a:gd name="connsiteX104" fmla="*/ 118997 w 792271"/>
              <a:gd name="connsiteY104" fmla="*/ 237994 h 817323"/>
              <a:gd name="connsiteX105" fmla="*/ 106471 w 792271"/>
              <a:gd name="connsiteY105" fmla="*/ 219205 h 817323"/>
              <a:gd name="connsiteX106" fmla="*/ 97076 w 792271"/>
              <a:gd name="connsiteY106" fmla="*/ 200416 h 817323"/>
              <a:gd name="connsiteX107" fmla="*/ 128391 w 792271"/>
              <a:gd name="connsiteY107" fmla="*/ 184759 h 817323"/>
              <a:gd name="connsiteX108" fmla="*/ 137786 w 792271"/>
              <a:gd name="connsiteY108" fmla="*/ 175364 h 817323"/>
              <a:gd name="connsiteX109" fmla="*/ 153443 w 792271"/>
              <a:gd name="connsiteY109" fmla="*/ 159707 h 817323"/>
              <a:gd name="connsiteX110" fmla="*/ 172233 w 792271"/>
              <a:gd name="connsiteY110" fmla="*/ 153444 h 817323"/>
              <a:gd name="connsiteX111" fmla="*/ 178496 w 792271"/>
              <a:gd name="connsiteY111" fmla="*/ 144049 h 817323"/>
              <a:gd name="connsiteX112" fmla="*/ 184759 w 792271"/>
              <a:gd name="connsiteY112" fmla="*/ 115866 h 817323"/>
              <a:gd name="connsiteX113" fmla="*/ 187890 w 792271"/>
              <a:gd name="connsiteY113" fmla="*/ 100208 h 817323"/>
              <a:gd name="connsiteX114" fmla="*/ 191022 w 792271"/>
              <a:gd name="connsiteY114" fmla="*/ 78288 h 817323"/>
              <a:gd name="connsiteX115" fmla="*/ 197285 w 792271"/>
              <a:gd name="connsiteY115" fmla="*/ 59499 h 817323"/>
              <a:gd name="connsiteX116" fmla="*/ 214345 w 792271"/>
              <a:gd name="connsiteY116" fmla="*/ 48245 h 817323"/>
              <a:gd name="connsiteX117" fmla="*/ 284967 w 792271"/>
              <a:gd name="connsiteY117" fmla="*/ 62630 h 817323"/>
              <a:gd name="connsiteX118" fmla="*/ 297493 w 792271"/>
              <a:gd name="connsiteY118" fmla="*/ 81419 h 817323"/>
              <a:gd name="connsiteX119" fmla="*/ 316282 w 792271"/>
              <a:gd name="connsiteY119" fmla="*/ 87682 h 817323"/>
              <a:gd name="connsiteX120" fmla="*/ 356991 w 792271"/>
              <a:gd name="connsiteY120" fmla="*/ 93945 h 817323"/>
              <a:gd name="connsiteX121" fmla="*/ 397701 w 792271"/>
              <a:gd name="connsiteY121" fmla="*/ 90814 h 817323"/>
              <a:gd name="connsiteX122" fmla="*/ 419622 w 792271"/>
              <a:gd name="connsiteY122" fmla="*/ 65762 h 817323"/>
              <a:gd name="connsiteX123" fmla="*/ 429016 w 792271"/>
              <a:gd name="connsiteY123" fmla="*/ 59499 h 817323"/>
              <a:gd name="connsiteX124" fmla="*/ 438411 w 792271"/>
              <a:gd name="connsiteY124" fmla="*/ 68893 h 817323"/>
              <a:gd name="connsiteX125" fmla="*/ 441542 w 792271"/>
              <a:gd name="connsiteY125" fmla="*/ 78288 h 817323"/>
              <a:gd name="connsiteX126" fmla="*/ 457200 w 792271"/>
              <a:gd name="connsiteY126" fmla="*/ 75156 h 817323"/>
              <a:gd name="connsiteX127" fmla="*/ 466594 w 792271"/>
              <a:gd name="connsiteY127" fmla="*/ 68893 h 817323"/>
              <a:gd name="connsiteX128" fmla="*/ 469726 w 792271"/>
              <a:gd name="connsiteY128" fmla="*/ 59499 h 817323"/>
              <a:gd name="connsiteX129" fmla="*/ 475989 w 792271"/>
              <a:gd name="connsiteY129" fmla="*/ 50104 h 817323"/>
              <a:gd name="connsiteX130" fmla="*/ 482252 w 792271"/>
              <a:gd name="connsiteY130" fmla="*/ 37578 h 817323"/>
              <a:gd name="connsiteX131" fmla="*/ 510435 w 792271"/>
              <a:gd name="connsiteY131" fmla="*/ 25052 h 817323"/>
              <a:gd name="connsiteX132" fmla="*/ 519830 w 792271"/>
              <a:gd name="connsiteY132" fmla="*/ 18789 h 817323"/>
              <a:gd name="connsiteX133" fmla="*/ 538619 w 792271"/>
              <a:gd name="connsiteY133" fmla="*/ 3131 h 817323"/>
              <a:gd name="connsiteX134" fmla="*/ 548013 w 792271"/>
              <a:gd name="connsiteY134" fmla="*/ 0 h 817323"/>
              <a:gd name="connsiteX135" fmla="*/ 563671 w 792271"/>
              <a:gd name="connsiteY135" fmla="*/ 21921 h 817323"/>
              <a:gd name="connsiteX136" fmla="*/ 563671 w 792271"/>
              <a:gd name="connsiteY136" fmla="*/ 21921 h 817323"/>
              <a:gd name="connsiteX137" fmla="*/ 573065 w 792271"/>
              <a:gd name="connsiteY137" fmla="*/ 28184 h 817323"/>
              <a:gd name="connsiteX138" fmla="*/ 591854 w 792271"/>
              <a:gd name="connsiteY138" fmla="*/ 46973 h 817323"/>
              <a:gd name="connsiteX139" fmla="*/ 573065 w 792271"/>
              <a:gd name="connsiteY139" fmla="*/ 84551 h 817323"/>
              <a:gd name="connsiteX140" fmla="*/ 566802 w 792271"/>
              <a:gd name="connsiteY140" fmla="*/ 93945 h 817323"/>
              <a:gd name="connsiteX141" fmla="*/ 560539 w 792271"/>
              <a:gd name="connsiteY141" fmla="*/ 103340 h 817323"/>
              <a:gd name="connsiteX142" fmla="*/ 557408 w 792271"/>
              <a:gd name="connsiteY142" fmla="*/ 112734 h 817323"/>
              <a:gd name="connsiteX143" fmla="*/ 554276 w 792271"/>
              <a:gd name="connsiteY143" fmla="*/ 165970 h 817323"/>
              <a:gd name="connsiteX144" fmla="*/ 535487 w 792271"/>
              <a:gd name="connsiteY144" fmla="*/ 175364 h 817323"/>
              <a:gd name="connsiteX145" fmla="*/ 519830 w 792271"/>
              <a:gd name="connsiteY145" fmla="*/ 194153 h 817323"/>
              <a:gd name="connsiteX146" fmla="*/ 513567 w 792271"/>
              <a:gd name="connsiteY146" fmla="*/ 212942 h 817323"/>
              <a:gd name="connsiteX147" fmla="*/ 510435 w 792271"/>
              <a:gd name="connsiteY147" fmla="*/ 222337 h 817323"/>
              <a:gd name="connsiteX148" fmla="*/ 513567 w 792271"/>
              <a:gd name="connsiteY148" fmla="*/ 247389 h 817323"/>
              <a:gd name="connsiteX149" fmla="*/ 526093 w 792271"/>
              <a:gd name="connsiteY149" fmla="*/ 266178 h 817323"/>
              <a:gd name="connsiteX150" fmla="*/ 522961 w 792271"/>
              <a:gd name="connsiteY150" fmla="*/ 316282 h 817323"/>
              <a:gd name="connsiteX151" fmla="*/ 519830 w 792271"/>
              <a:gd name="connsiteY151" fmla="*/ 325677 h 817323"/>
              <a:gd name="connsiteX152" fmla="*/ 516698 w 792271"/>
              <a:gd name="connsiteY152" fmla="*/ 338203 h 817323"/>
              <a:gd name="connsiteX153" fmla="*/ 513567 w 792271"/>
              <a:gd name="connsiteY153" fmla="*/ 347597 h 817323"/>
              <a:gd name="connsiteX154" fmla="*/ 507304 w 792271"/>
              <a:gd name="connsiteY154" fmla="*/ 375781 h 817323"/>
              <a:gd name="connsiteX155" fmla="*/ 504172 w 792271"/>
              <a:gd name="connsiteY155" fmla="*/ 388307 h 817323"/>
              <a:gd name="connsiteX156" fmla="*/ 501041 w 792271"/>
              <a:gd name="connsiteY156" fmla="*/ 397701 h 817323"/>
              <a:gd name="connsiteX157" fmla="*/ 494778 w 792271"/>
              <a:gd name="connsiteY157" fmla="*/ 425885 h 817323"/>
              <a:gd name="connsiteX158" fmla="*/ 485383 w 792271"/>
              <a:gd name="connsiteY158" fmla="*/ 435279 h 817323"/>
              <a:gd name="connsiteX159" fmla="*/ 472857 w 792271"/>
              <a:gd name="connsiteY159" fmla="*/ 454068 h 817323"/>
              <a:gd name="connsiteX160" fmla="*/ 469726 w 792271"/>
              <a:gd name="connsiteY160" fmla="*/ 488515 h 817323"/>
              <a:gd name="connsiteX161" fmla="*/ 488515 w 792271"/>
              <a:gd name="connsiteY161" fmla="*/ 497910 h 817323"/>
              <a:gd name="connsiteX162" fmla="*/ 507304 w 792271"/>
              <a:gd name="connsiteY162" fmla="*/ 507304 h 817323"/>
              <a:gd name="connsiteX163" fmla="*/ 535487 w 792271"/>
              <a:gd name="connsiteY163" fmla="*/ 507304 h 817323"/>
              <a:gd name="connsiteX164" fmla="*/ 541750 w 792271"/>
              <a:gd name="connsiteY164" fmla="*/ 513567 h 817323"/>
              <a:gd name="connsiteX0" fmla="*/ 541750 w 792271"/>
              <a:gd name="connsiteY0" fmla="*/ 513567 h 817323"/>
              <a:gd name="connsiteX1" fmla="*/ 557408 w 792271"/>
              <a:gd name="connsiteY1" fmla="*/ 501041 h 817323"/>
              <a:gd name="connsiteX2" fmla="*/ 576197 w 792271"/>
              <a:gd name="connsiteY2" fmla="*/ 488515 h 817323"/>
              <a:gd name="connsiteX3" fmla="*/ 573065 w 792271"/>
              <a:gd name="connsiteY3" fmla="*/ 479121 h 817323"/>
              <a:gd name="connsiteX4" fmla="*/ 554276 w 792271"/>
              <a:gd name="connsiteY4" fmla="*/ 472858 h 817323"/>
              <a:gd name="connsiteX5" fmla="*/ 554276 w 792271"/>
              <a:gd name="connsiteY5" fmla="*/ 444674 h 817323"/>
              <a:gd name="connsiteX6" fmla="*/ 563671 w 792271"/>
              <a:gd name="connsiteY6" fmla="*/ 438411 h 817323"/>
              <a:gd name="connsiteX7" fmla="*/ 582460 w 792271"/>
              <a:gd name="connsiteY7" fmla="*/ 422753 h 817323"/>
              <a:gd name="connsiteX8" fmla="*/ 594986 w 792271"/>
              <a:gd name="connsiteY8" fmla="*/ 400833 h 817323"/>
              <a:gd name="connsiteX9" fmla="*/ 607512 w 792271"/>
              <a:gd name="connsiteY9" fmla="*/ 382044 h 817323"/>
              <a:gd name="connsiteX10" fmla="*/ 620038 w 792271"/>
              <a:gd name="connsiteY10" fmla="*/ 363255 h 817323"/>
              <a:gd name="connsiteX11" fmla="*/ 629433 w 792271"/>
              <a:gd name="connsiteY11" fmla="*/ 356992 h 817323"/>
              <a:gd name="connsiteX12" fmla="*/ 645090 w 792271"/>
              <a:gd name="connsiteY12" fmla="*/ 360123 h 817323"/>
              <a:gd name="connsiteX13" fmla="*/ 648222 w 792271"/>
              <a:gd name="connsiteY13" fmla="*/ 369518 h 817323"/>
              <a:gd name="connsiteX14" fmla="*/ 663879 w 792271"/>
              <a:gd name="connsiteY14" fmla="*/ 385175 h 817323"/>
              <a:gd name="connsiteX15" fmla="*/ 673274 w 792271"/>
              <a:gd name="connsiteY15" fmla="*/ 388307 h 817323"/>
              <a:gd name="connsiteX16" fmla="*/ 682668 w 792271"/>
              <a:gd name="connsiteY16" fmla="*/ 394570 h 817323"/>
              <a:gd name="connsiteX17" fmla="*/ 732772 w 792271"/>
              <a:gd name="connsiteY17" fmla="*/ 400833 h 817323"/>
              <a:gd name="connsiteX18" fmla="*/ 742167 w 792271"/>
              <a:gd name="connsiteY18" fmla="*/ 410227 h 817323"/>
              <a:gd name="connsiteX19" fmla="*/ 729641 w 792271"/>
              <a:gd name="connsiteY19" fmla="*/ 435279 h 817323"/>
              <a:gd name="connsiteX20" fmla="*/ 698326 w 792271"/>
              <a:gd name="connsiteY20" fmla="*/ 457200 h 817323"/>
              <a:gd name="connsiteX21" fmla="*/ 688931 w 792271"/>
              <a:gd name="connsiteY21" fmla="*/ 466594 h 817323"/>
              <a:gd name="connsiteX22" fmla="*/ 692063 w 792271"/>
              <a:gd name="connsiteY22" fmla="*/ 488515 h 817323"/>
              <a:gd name="connsiteX23" fmla="*/ 704589 w 792271"/>
              <a:gd name="connsiteY23" fmla="*/ 491647 h 817323"/>
              <a:gd name="connsiteX24" fmla="*/ 723378 w 792271"/>
              <a:gd name="connsiteY24" fmla="*/ 497910 h 817323"/>
              <a:gd name="connsiteX25" fmla="*/ 732772 w 792271"/>
              <a:gd name="connsiteY25" fmla="*/ 507304 h 817323"/>
              <a:gd name="connsiteX26" fmla="*/ 751561 w 792271"/>
              <a:gd name="connsiteY26" fmla="*/ 519830 h 817323"/>
              <a:gd name="connsiteX27" fmla="*/ 764087 w 792271"/>
              <a:gd name="connsiteY27" fmla="*/ 538619 h 817323"/>
              <a:gd name="connsiteX28" fmla="*/ 773482 w 792271"/>
              <a:gd name="connsiteY28" fmla="*/ 548014 h 817323"/>
              <a:gd name="connsiteX29" fmla="*/ 779745 w 792271"/>
              <a:gd name="connsiteY29" fmla="*/ 560540 h 817323"/>
              <a:gd name="connsiteX30" fmla="*/ 792271 w 792271"/>
              <a:gd name="connsiteY30" fmla="*/ 579329 h 817323"/>
              <a:gd name="connsiteX31" fmla="*/ 789139 w 792271"/>
              <a:gd name="connsiteY31" fmla="*/ 598118 h 817323"/>
              <a:gd name="connsiteX32" fmla="*/ 779745 w 792271"/>
              <a:gd name="connsiteY32" fmla="*/ 601249 h 817323"/>
              <a:gd name="connsiteX33" fmla="*/ 767219 w 792271"/>
              <a:gd name="connsiteY33" fmla="*/ 604381 h 817323"/>
              <a:gd name="connsiteX34" fmla="*/ 754693 w 792271"/>
              <a:gd name="connsiteY34" fmla="*/ 623170 h 817323"/>
              <a:gd name="connsiteX35" fmla="*/ 735904 w 792271"/>
              <a:gd name="connsiteY35" fmla="*/ 626301 h 817323"/>
              <a:gd name="connsiteX36" fmla="*/ 704589 w 792271"/>
              <a:gd name="connsiteY36" fmla="*/ 635696 h 817323"/>
              <a:gd name="connsiteX37" fmla="*/ 588723 w 792271"/>
              <a:gd name="connsiteY37" fmla="*/ 638827 h 817323"/>
              <a:gd name="connsiteX38" fmla="*/ 569934 w 792271"/>
              <a:gd name="connsiteY38" fmla="*/ 667011 h 817323"/>
              <a:gd name="connsiteX39" fmla="*/ 566802 w 792271"/>
              <a:gd name="connsiteY39" fmla="*/ 676405 h 817323"/>
              <a:gd name="connsiteX40" fmla="*/ 554276 w 792271"/>
              <a:gd name="connsiteY40" fmla="*/ 695194 h 817323"/>
              <a:gd name="connsiteX41" fmla="*/ 548013 w 792271"/>
              <a:gd name="connsiteY41" fmla="*/ 704589 h 817323"/>
              <a:gd name="connsiteX42" fmla="*/ 532356 w 792271"/>
              <a:gd name="connsiteY42" fmla="*/ 732773 h 817323"/>
              <a:gd name="connsiteX43" fmla="*/ 519830 w 792271"/>
              <a:gd name="connsiteY43" fmla="*/ 764088 h 817323"/>
              <a:gd name="connsiteX44" fmla="*/ 513567 w 792271"/>
              <a:gd name="connsiteY44" fmla="*/ 773482 h 817323"/>
              <a:gd name="connsiteX45" fmla="*/ 507304 w 792271"/>
              <a:gd name="connsiteY45" fmla="*/ 792271 h 817323"/>
              <a:gd name="connsiteX46" fmla="*/ 504172 w 792271"/>
              <a:gd name="connsiteY46" fmla="*/ 801666 h 817323"/>
              <a:gd name="connsiteX47" fmla="*/ 501041 w 792271"/>
              <a:gd name="connsiteY47" fmla="*/ 811060 h 817323"/>
              <a:gd name="connsiteX48" fmla="*/ 485383 w 792271"/>
              <a:gd name="connsiteY48" fmla="*/ 798534 h 817323"/>
              <a:gd name="connsiteX49" fmla="*/ 466594 w 792271"/>
              <a:gd name="connsiteY49" fmla="*/ 817323 h 817323"/>
              <a:gd name="connsiteX50" fmla="*/ 441542 w 792271"/>
              <a:gd name="connsiteY50" fmla="*/ 814192 h 817323"/>
              <a:gd name="connsiteX51" fmla="*/ 435279 w 792271"/>
              <a:gd name="connsiteY51" fmla="*/ 804797 h 817323"/>
              <a:gd name="connsiteX52" fmla="*/ 425885 w 792271"/>
              <a:gd name="connsiteY52" fmla="*/ 795403 h 817323"/>
              <a:gd name="connsiteX53" fmla="*/ 419622 w 792271"/>
              <a:gd name="connsiteY53" fmla="*/ 786008 h 817323"/>
              <a:gd name="connsiteX54" fmla="*/ 410227 w 792271"/>
              <a:gd name="connsiteY54" fmla="*/ 776614 h 817323"/>
              <a:gd name="connsiteX55" fmla="*/ 403964 w 792271"/>
              <a:gd name="connsiteY55" fmla="*/ 767219 h 817323"/>
              <a:gd name="connsiteX56" fmla="*/ 394569 w 792271"/>
              <a:gd name="connsiteY56" fmla="*/ 757825 h 817323"/>
              <a:gd name="connsiteX57" fmla="*/ 372649 w 792271"/>
              <a:gd name="connsiteY57" fmla="*/ 732773 h 817323"/>
              <a:gd name="connsiteX58" fmla="*/ 366386 w 792271"/>
              <a:gd name="connsiteY58" fmla="*/ 723378 h 817323"/>
              <a:gd name="connsiteX59" fmla="*/ 306887 w 792271"/>
              <a:gd name="connsiteY59" fmla="*/ 713984 h 817323"/>
              <a:gd name="connsiteX60" fmla="*/ 294361 w 792271"/>
              <a:gd name="connsiteY60" fmla="*/ 660748 h 817323"/>
              <a:gd name="connsiteX61" fmla="*/ 288098 w 792271"/>
              <a:gd name="connsiteY61" fmla="*/ 651353 h 817323"/>
              <a:gd name="connsiteX62" fmla="*/ 269309 w 792271"/>
              <a:gd name="connsiteY62" fmla="*/ 641959 h 817323"/>
              <a:gd name="connsiteX63" fmla="*/ 256783 w 792271"/>
              <a:gd name="connsiteY63" fmla="*/ 645090 h 817323"/>
              <a:gd name="connsiteX64" fmla="*/ 228600 w 792271"/>
              <a:gd name="connsiteY64" fmla="*/ 654485 h 817323"/>
              <a:gd name="connsiteX65" fmla="*/ 219205 w 792271"/>
              <a:gd name="connsiteY65" fmla="*/ 660748 h 817323"/>
              <a:gd name="connsiteX66" fmla="*/ 212942 w 792271"/>
              <a:gd name="connsiteY66" fmla="*/ 670142 h 817323"/>
              <a:gd name="connsiteX67" fmla="*/ 206679 w 792271"/>
              <a:gd name="connsiteY67" fmla="*/ 688931 h 817323"/>
              <a:gd name="connsiteX68" fmla="*/ 200416 w 792271"/>
              <a:gd name="connsiteY68" fmla="*/ 707721 h 817323"/>
              <a:gd name="connsiteX69" fmla="*/ 191022 w 792271"/>
              <a:gd name="connsiteY69" fmla="*/ 710852 h 817323"/>
              <a:gd name="connsiteX70" fmla="*/ 169101 w 792271"/>
              <a:gd name="connsiteY70" fmla="*/ 701458 h 817323"/>
              <a:gd name="connsiteX71" fmla="*/ 162838 w 792271"/>
              <a:gd name="connsiteY71" fmla="*/ 695194 h 817323"/>
              <a:gd name="connsiteX72" fmla="*/ 159706 w 792271"/>
              <a:gd name="connsiteY72" fmla="*/ 685800 h 817323"/>
              <a:gd name="connsiteX73" fmla="*/ 153443 w 792271"/>
              <a:gd name="connsiteY73" fmla="*/ 651353 h 817323"/>
              <a:gd name="connsiteX74" fmla="*/ 147180 w 792271"/>
              <a:gd name="connsiteY74" fmla="*/ 632564 h 817323"/>
              <a:gd name="connsiteX75" fmla="*/ 122128 w 792271"/>
              <a:gd name="connsiteY75" fmla="*/ 629433 h 817323"/>
              <a:gd name="connsiteX76" fmla="*/ 115865 w 792271"/>
              <a:gd name="connsiteY76" fmla="*/ 610644 h 817323"/>
              <a:gd name="connsiteX77" fmla="*/ 93945 w 792271"/>
              <a:gd name="connsiteY77" fmla="*/ 582460 h 817323"/>
              <a:gd name="connsiteX78" fmla="*/ 78287 w 792271"/>
              <a:gd name="connsiteY78" fmla="*/ 566803 h 817323"/>
              <a:gd name="connsiteX79" fmla="*/ 72024 w 792271"/>
              <a:gd name="connsiteY79" fmla="*/ 557408 h 817323"/>
              <a:gd name="connsiteX80" fmla="*/ 43841 w 792271"/>
              <a:gd name="connsiteY80" fmla="*/ 541751 h 817323"/>
              <a:gd name="connsiteX81" fmla="*/ 34446 w 792271"/>
              <a:gd name="connsiteY81" fmla="*/ 535488 h 817323"/>
              <a:gd name="connsiteX82" fmla="*/ 25052 w 792271"/>
              <a:gd name="connsiteY82" fmla="*/ 532356 h 817323"/>
              <a:gd name="connsiteX83" fmla="*/ 15657 w 792271"/>
              <a:gd name="connsiteY83" fmla="*/ 522962 h 817323"/>
              <a:gd name="connsiteX84" fmla="*/ 12526 w 792271"/>
              <a:gd name="connsiteY84" fmla="*/ 513567 h 817323"/>
              <a:gd name="connsiteX85" fmla="*/ 25052 w 792271"/>
              <a:gd name="connsiteY85" fmla="*/ 494778 h 817323"/>
              <a:gd name="connsiteX86" fmla="*/ 28183 w 792271"/>
              <a:gd name="connsiteY86" fmla="*/ 454068 h 817323"/>
              <a:gd name="connsiteX87" fmla="*/ 31315 w 792271"/>
              <a:gd name="connsiteY87" fmla="*/ 422753 h 817323"/>
              <a:gd name="connsiteX88" fmla="*/ 37578 w 792271"/>
              <a:gd name="connsiteY88" fmla="*/ 403964 h 817323"/>
              <a:gd name="connsiteX89" fmla="*/ 34446 w 792271"/>
              <a:gd name="connsiteY89" fmla="*/ 388307 h 817323"/>
              <a:gd name="connsiteX90" fmla="*/ 25052 w 792271"/>
              <a:gd name="connsiteY90" fmla="*/ 382044 h 817323"/>
              <a:gd name="connsiteX91" fmla="*/ 31315 w 792271"/>
              <a:gd name="connsiteY91" fmla="*/ 341334 h 817323"/>
              <a:gd name="connsiteX92" fmla="*/ 21920 w 792271"/>
              <a:gd name="connsiteY92" fmla="*/ 319414 h 817323"/>
              <a:gd name="connsiteX93" fmla="*/ 12526 w 792271"/>
              <a:gd name="connsiteY93" fmla="*/ 316282 h 817323"/>
              <a:gd name="connsiteX94" fmla="*/ 6263 w 792271"/>
              <a:gd name="connsiteY94" fmla="*/ 306888 h 817323"/>
              <a:gd name="connsiteX95" fmla="*/ 0 w 792271"/>
              <a:gd name="connsiteY95" fmla="*/ 288099 h 817323"/>
              <a:gd name="connsiteX96" fmla="*/ 3131 w 792271"/>
              <a:gd name="connsiteY96" fmla="*/ 259915 h 817323"/>
              <a:gd name="connsiteX97" fmla="*/ 25052 w 792271"/>
              <a:gd name="connsiteY97" fmla="*/ 260535 h 817323"/>
              <a:gd name="connsiteX98" fmla="*/ 43841 w 792271"/>
              <a:gd name="connsiteY98" fmla="*/ 278704 h 817323"/>
              <a:gd name="connsiteX99" fmla="*/ 46972 w 792271"/>
              <a:gd name="connsiteY99" fmla="*/ 288099 h 817323"/>
              <a:gd name="connsiteX100" fmla="*/ 56367 w 792271"/>
              <a:gd name="connsiteY100" fmla="*/ 291230 h 817323"/>
              <a:gd name="connsiteX101" fmla="*/ 100208 w 792271"/>
              <a:gd name="connsiteY101" fmla="*/ 288099 h 817323"/>
              <a:gd name="connsiteX102" fmla="*/ 118997 w 792271"/>
              <a:gd name="connsiteY102" fmla="*/ 272441 h 817323"/>
              <a:gd name="connsiteX103" fmla="*/ 122128 w 792271"/>
              <a:gd name="connsiteY103" fmla="*/ 263047 h 817323"/>
              <a:gd name="connsiteX104" fmla="*/ 118997 w 792271"/>
              <a:gd name="connsiteY104" fmla="*/ 237994 h 817323"/>
              <a:gd name="connsiteX105" fmla="*/ 106471 w 792271"/>
              <a:gd name="connsiteY105" fmla="*/ 219205 h 817323"/>
              <a:gd name="connsiteX106" fmla="*/ 97076 w 792271"/>
              <a:gd name="connsiteY106" fmla="*/ 200416 h 817323"/>
              <a:gd name="connsiteX107" fmla="*/ 128391 w 792271"/>
              <a:gd name="connsiteY107" fmla="*/ 184759 h 817323"/>
              <a:gd name="connsiteX108" fmla="*/ 137786 w 792271"/>
              <a:gd name="connsiteY108" fmla="*/ 175364 h 817323"/>
              <a:gd name="connsiteX109" fmla="*/ 153443 w 792271"/>
              <a:gd name="connsiteY109" fmla="*/ 159707 h 817323"/>
              <a:gd name="connsiteX110" fmla="*/ 172233 w 792271"/>
              <a:gd name="connsiteY110" fmla="*/ 153444 h 817323"/>
              <a:gd name="connsiteX111" fmla="*/ 178496 w 792271"/>
              <a:gd name="connsiteY111" fmla="*/ 144049 h 817323"/>
              <a:gd name="connsiteX112" fmla="*/ 184759 w 792271"/>
              <a:gd name="connsiteY112" fmla="*/ 115866 h 817323"/>
              <a:gd name="connsiteX113" fmla="*/ 187890 w 792271"/>
              <a:gd name="connsiteY113" fmla="*/ 100208 h 817323"/>
              <a:gd name="connsiteX114" fmla="*/ 191022 w 792271"/>
              <a:gd name="connsiteY114" fmla="*/ 78288 h 817323"/>
              <a:gd name="connsiteX115" fmla="*/ 197285 w 792271"/>
              <a:gd name="connsiteY115" fmla="*/ 59499 h 817323"/>
              <a:gd name="connsiteX116" fmla="*/ 214345 w 792271"/>
              <a:gd name="connsiteY116" fmla="*/ 48245 h 817323"/>
              <a:gd name="connsiteX117" fmla="*/ 264351 w 792271"/>
              <a:gd name="connsiteY117" fmla="*/ 43482 h 817323"/>
              <a:gd name="connsiteX118" fmla="*/ 284967 w 792271"/>
              <a:gd name="connsiteY118" fmla="*/ 62630 h 817323"/>
              <a:gd name="connsiteX119" fmla="*/ 297493 w 792271"/>
              <a:gd name="connsiteY119" fmla="*/ 81419 h 817323"/>
              <a:gd name="connsiteX120" fmla="*/ 316282 w 792271"/>
              <a:gd name="connsiteY120" fmla="*/ 87682 h 817323"/>
              <a:gd name="connsiteX121" fmla="*/ 356991 w 792271"/>
              <a:gd name="connsiteY121" fmla="*/ 93945 h 817323"/>
              <a:gd name="connsiteX122" fmla="*/ 397701 w 792271"/>
              <a:gd name="connsiteY122" fmla="*/ 90814 h 817323"/>
              <a:gd name="connsiteX123" fmla="*/ 419622 w 792271"/>
              <a:gd name="connsiteY123" fmla="*/ 65762 h 817323"/>
              <a:gd name="connsiteX124" fmla="*/ 429016 w 792271"/>
              <a:gd name="connsiteY124" fmla="*/ 59499 h 817323"/>
              <a:gd name="connsiteX125" fmla="*/ 438411 w 792271"/>
              <a:gd name="connsiteY125" fmla="*/ 68893 h 817323"/>
              <a:gd name="connsiteX126" fmla="*/ 441542 w 792271"/>
              <a:gd name="connsiteY126" fmla="*/ 78288 h 817323"/>
              <a:gd name="connsiteX127" fmla="*/ 457200 w 792271"/>
              <a:gd name="connsiteY127" fmla="*/ 75156 h 817323"/>
              <a:gd name="connsiteX128" fmla="*/ 466594 w 792271"/>
              <a:gd name="connsiteY128" fmla="*/ 68893 h 817323"/>
              <a:gd name="connsiteX129" fmla="*/ 469726 w 792271"/>
              <a:gd name="connsiteY129" fmla="*/ 59499 h 817323"/>
              <a:gd name="connsiteX130" fmla="*/ 475989 w 792271"/>
              <a:gd name="connsiteY130" fmla="*/ 50104 h 817323"/>
              <a:gd name="connsiteX131" fmla="*/ 482252 w 792271"/>
              <a:gd name="connsiteY131" fmla="*/ 37578 h 817323"/>
              <a:gd name="connsiteX132" fmla="*/ 510435 w 792271"/>
              <a:gd name="connsiteY132" fmla="*/ 25052 h 817323"/>
              <a:gd name="connsiteX133" fmla="*/ 519830 w 792271"/>
              <a:gd name="connsiteY133" fmla="*/ 18789 h 817323"/>
              <a:gd name="connsiteX134" fmla="*/ 538619 w 792271"/>
              <a:gd name="connsiteY134" fmla="*/ 3131 h 817323"/>
              <a:gd name="connsiteX135" fmla="*/ 548013 w 792271"/>
              <a:gd name="connsiteY135" fmla="*/ 0 h 817323"/>
              <a:gd name="connsiteX136" fmla="*/ 563671 w 792271"/>
              <a:gd name="connsiteY136" fmla="*/ 21921 h 817323"/>
              <a:gd name="connsiteX137" fmla="*/ 563671 w 792271"/>
              <a:gd name="connsiteY137" fmla="*/ 21921 h 817323"/>
              <a:gd name="connsiteX138" fmla="*/ 573065 w 792271"/>
              <a:gd name="connsiteY138" fmla="*/ 28184 h 817323"/>
              <a:gd name="connsiteX139" fmla="*/ 591854 w 792271"/>
              <a:gd name="connsiteY139" fmla="*/ 46973 h 817323"/>
              <a:gd name="connsiteX140" fmla="*/ 573065 w 792271"/>
              <a:gd name="connsiteY140" fmla="*/ 84551 h 817323"/>
              <a:gd name="connsiteX141" fmla="*/ 566802 w 792271"/>
              <a:gd name="connsiteY141" fmla="*/ 93945 h 817323"/>
              <a:gd name="connsiteX142" fmla="*/ 560539 w 792271"/>
              <a:gd name="connsiteY142" fmla="*/ 103340 h 817323"/>
              <a:gd name="connsiteX143" fmla="*/ 557408 w 792271"/>
              <a:gd name="connsiteY143" fmla="*/ 112734 h 817323"/>
              <a:gd name="connsiteX144" fmla="*/ 554276 w 792271"/>
              <a:gd name="connsiteY144" fmla="*/ 165970 h 817323"/>
              <a:gd name="connsiteX145" fmla="*/ 535487 w 792271"/>
              <a:gd name="connsiteY145" fmla="*/ 175364 h 817323"/>
              <a:gd name="connsiteX146" fmla="*/ 519830 w 792271"/>
              <a:gd name="connsiteY146" fmla="*/ 194153 h 817323"/>
              <a:gd name="connsiteX147" fmla="*/ 513567 w 792271"/>
              <a:gd name="connsiteY147" fmla="*/ 212942 h 817323"/>
              <a:gd name="connsiteX148" fmla="*/ 510435 w 792271"/>
              <a:gd name="connsiteY148" fmla="*/ 222337 h 817323"/>
              <a:gd name="connsiteX149" fmla="*/ 513567 w 792271"/>
              <a:gd name="connsiteY149" fmla="*/ 247389 h 817323"/>
              <a:gd name="connsiteX150" fmla="*/ 526093 w 792271"/>
              <a:gd name="connsiteY150" fmla="*/ 266178 h 817323"/>
              <a:gd name="connsiteX151" fmla="*/ 522961 w 792271"/>
              <a:gd name="connsiteY151" fmla="*/ 316282 h 817323"/>
              <a:gd name="connsiteX152" fmla="*/ 519830 w 792271"/>
              <a:gd name="connsiteY152" fmla="*/ 325677 h 817323"/>
              <a:gd name="connsiteX153" fmla="*/ 516698 w 792271"/>
              <a:gd name="connsiteY153" fmla="*/ 338203 h 817323"/>
              <a:gd name="connsiteX154" fmla="*/ 513567 w 792271"/>
              <a:gd name="connsiteY154" fmla="*/ 347597 h 817323"/>
              <a:gd name="connsiteX155" fmla="*/ 507304 w 792271"/>
              <a:gd name="connsiteY155" fmla="*/ 375781 h 817323"/>
              <a:gd name="connsiteX156" fmla="*/ 504172 w 792271"/>
              <a:gd name="connsiteY156" fmla="*/ 388307 h 817323"/>
              <a:gd name="connsiteX157" fmla="*/ 501041 w 792271"/>
              <a:gd name="connsiteY157" fmla="*/ 397701 h 817323"/>
              <a:gd name="connsiteX158" fmla="*/ 494778 w 792271"/>
              <a:gd name="connsiteY158" fmla="*/ 425885 h 817323"/>
              <a:gd name="connsiteX159" fmla="*/ 485383 w 792271"/>
              <a:gd name="connsiteY159" fmla="*/ 435279 h 817323"/>
              <a:gd name="connsiteX160" fmla="*/ 472857 w 792271"/>
              <a:gd name="connsiteY160" fmla="*/ 454068 h 817323"/>
              <a:gd name="connsiteX161" fmla="*/ 469726 w 792271"/>
              <a:gd name="connsiteY161" fmla="*/ 488515 h 817323"/>
              <a:gd name="connsiteX162" fmla="*/ 488515 w 792271"/>
              <a:gd name="connsiteY162" fmla="*/ 497910 h 817323"/>
              <a:gd name="connsiteX163" fmla="*/ 507304 w 792271"/>
              <a:gd name="connsiteY163" fmla="*/ 507304 h 817323"/>
              <a:gd name="connsiteX164" fmla="*/ 535487 w 792271"/>
              <a:gd name="connsiteY164" fmla="*/ 507304 h 817323"/>
              <a:gd name="connsiteX165" fmla="*/ 541750 w 792271"/>
              <a:gd name="connsiteY165" fmla="*/ 513567 h 817323"/>
              <a:gd name="connsiteX0" fmla="*/ 541750 w 792271"/>
              <a:gd name="connsiteY0" fmla="*/ 513567 h 817323"/>
              <a:gd name="connsiteX1" fmla="*/ 557408 w 792271"/>
              <a:gd name="connsiteY1" fmla="*/ 501041 h 817323"/>
              <a:gd name="connsiteX2" fmla="*/ 576197 w 792271"/>
              <a:gd name="connsiteY2" fmla="*/ 488515 h 817323"/>
              <a:gd name="connsiteX3" fmla="*/ 573065 w 792271"/>
              <a:gd name="connsiteY3" fmla="*/ 479121 h 817323"/>
              <a:gd name="connsiteX4" fmla="*/ 554276 w 792271"/>
              <a:gd name="connsiteY4" fmla="*/ 472858 h 817323"/>
              <a:gd name="connsiteX5" fmla="*/ 554276 w 792271"/>
              <a:gd name="connsiteY5" fmla="*/ 444674 h 817323"/>
              <a:gd name="connsiteX6" fmla="*/ 563671 w 792271"/>
              <a:gd name="connsiteY6" fmla="*/ 438411 h 817323"/>
              <a:gd name="connsiteX7" fmla="*/ 582460 w 792271"/>
              <a:gd name="connsiteY7" fmla="*/ 422753 h 817323"/>
              <a:gd name="connsiteX8" fmla="*/ 594986 w 792271"/>
              <a:gd name="connsiteY8" fmla="*/ 400833 h 817323"/>
              <a:gd name="connsiteX9" fmla="*/ 607512 w 792271"/>
              <a:gd name="connsiteY9" fmla="*/ 382044 h 817323"/>
              <a:gd name="connsiteX10" fmla="*/ 620038 w 792271"/>
              <a:gd name="connsiteY10" fmla="*/ 363255 h 817323"/>
              <a:gd name="connsiteX11" fmla="*/ 629433 w 792271"/>
              <a:gd name="connsiteY11" fmla="*/ 356992 h 817323"/>
              <a:gd name="connsiteX12" fmla="*/ 645090 w 792271"/>
              <a:gd name="connsiteY12" fmla="*/ 360123 h 817323"/>
              <a:gd name="connsiteX13" fmla="*/ 648222 w 792271"/>
              <a:gd name="connsiteY13" fmla="*/ 369518 h 817323"/>
              <a:gd name="connsiteX14" fmla="*/ 663879 w 792271"/>
              <a:gd name="connsiteY14" fmla="*/ 385175 h 817323"/>
              <a:gd name="connsiteX15" fmla="*/ 673274 w 792271"/>
              <a:gd name="connsiteY15" fmla="*/ 388307 h 817323"/>
              <a:gd name="connsiteX16" fmla="*/ 682668 w 792271"/>
              <a:gd name="connsiteY16" fmla="*/ 394570 h 817323"/>
              <a:gd name="connsiteX17" fmla="*/ 732772 w 792271"/>
              <a:gd name="connsiteY17" fmla="*/ 400833 h 817323"/>
              <a:gd name="connsiteX18" fmla="*/ 742167 w 792271"/>
              <a:gd name="connsiteY18" fmla="*/ 410227 h 817323"/>
              <a:gd name="connsiteX19" fmla="*/ 729641 w 792271"/>
              <a:gd name="connsiteY19" fmla="*/ 435279 h 817323"/>
              <a:gd name="connsiteX20" fmla="*/ 698326 w 792271"/>
              <a:gd name="connsiteY20" fmla="*/ 457200 h 817323"/>
              <a:gd name="connsiteX21" fmla="*/ 688931 w 792271"/>
              <a:gd name="connsiteY21" fmla="*/ 466594 h 817323"/>
              <a:gd name="connsiteX22" fmla="*/ 692063 w 792271"/>
              <a:gd name="connsiteY22" fmla="*/ 488515 h 817323"/>
              <a:gd name="connsiteX23" fmla="*/ 704589 w 792271"/>
              <a:gd name="connsiteY23" fmla="*/ 491647 h 817323"/>
              <a:gd name="connsiteX24" fmla="*/ 723378 w 792271"/>
              <a:gd name="connsiteY24" fmla="*/ 497910 h 817323"/>
              <a:gd name="connsiteX25" fmla="*/ 732772 w 792271"/>
              <a:gd name="connsiteY25" fmla="*/ 507304 h 817323"/>
              <a:gd name="connsiteX26" fmla="*/ 751561 w 792271"/>
              <a:gd name="connsiteY26" fmla="*/ 519830 h 817323"/>
              <a:gd name="connsiteX27" fmla="*/ 764087 w 792271"/>
              <a:gd name="connsiteY27" fmla="*/ 538619 h 817323"/>
              <a:gd name="connsiteX28" fmla="*/ 773482 w 792271"/>
              <a:gd name="connsiteY28" fmla="*/ 548014 h 817323"/>
              <a:gd name="connsiteX29" fmla="*/ 779745 w 792271"/>
              <a:gd name="connsiteY29" fmla="*/ 560540 h 817323"/>
              <a:gd name="connsiteX30" fmla="*/ 792271 w 792271"/>
              <a:gd name="connsiteY30" fmla="*/ 579329 h 817323"/>
              <a:gd name="connsiteX31" fmla="*/ 789139 w 792271"/>
              <a:gd name="connsiteY31" fmla="*/ 598118 h 817323"/>
              <a:gd name="connsiteX32" fmla="*/ 779745 w 792271"/>
              <a:gd name="connsiteY32" fmla="*/ 601249 h 817323"/>
              <a:gd name="connsiteX33" fmla="*/ 767219 w 792271"/>
              <a:gd name="connsiteY33" fmla="*/ 604381 h 817323"/>
              <a:gd name="connsiteX34" fmla="*/ 754693 w 792271"/>
              <a:gd name="connsiteY34" fmla="*/ 623170 h 817323"/>
              <a:gd name="connsiteX35" fmla="*/ 735904 w 792271"/>
              <a:gd name="connsiteY35" fmla="*/ 626301 h 817323"/>
              <a:gd name="connsiteX36" fmla="*/ 704589 w 792271"/>
              <a:gd name="connsiteY36" fmla="*/ 635696 h 817323"/>
              <a:gd name="connsiteX37" fmla="*/ 588723 w 792271"/>
              <a:gd name="connsiteY37" fmla="*/ 638827 h 817323"/>
              <a:gd name="connsiteX38" fmla="*/ 569934 w 792271"/>
              <a:gd name="connsiteY38" fmla="*/ 667011 h 817323"/>
              <a:gd name="connsiteX39" fmla="*/ 566802 w 792271"/>
              <a:gd name="connsiteY39" fmla="*/ 676405 h 817323"/>
              <a:gd name="connsiteX40" fmla="*/ 554276 w 792271"/>
              <a:gd name="connsiteY40" fmla="*/ 695194 h 817323"/>
              <a:gd name="connsiteX41" fmla="*/ 548013 w 792271"/>
              <a:gd name="connsiteY41" fmla="*/ 704589 h 817323"/>
              <a:gd name="connsiteX42" fmla="*/ 532356 w 792271"/>
              <a:gd name="connsiteY42" fmla="*/ 732773 h 817323"/>
              <a:gd name="connsiteX43" fmla="*/ 519830 w 792271"/>
              <a:gd name="connsiteY43" fmla="*/ 764088 h 817323"/>
              <a:gd name="connsiteX44" fmla="*/ 513567 w 792271"/>
              <a:gd name="connsiteY44" fmla="*/ 773482 h 817323"/>
              <a:gd name="connsiteX45" fmla="*/ 507304 w 792271"/>
              <a:gd name="connsiteY45" fmla="*/ 792271 h 817323"/>
              <a:gd name="connsiteX46" fmla="*/ 504172 w 792271"/>
              <a:gd name="connsiteY46" fmla="*/ 801666 h 817323"/>
              <a:gd name="connsiteX47" fmla="*/ 501041 w 792271"/>
              <a:gd name="connsiteY47" fmla="*/ 811060 h 817323"/>
              <a:gd name="connsiteX48" fmla="*/ 485383 w 792271"/>
              <a:gd name="connsiteY48" fmla="*/ 798534 h 817323"/>
              <a:gd name="connsiteX49" fmla="*/ 466594 w 792271"/>
              <a:gd name="connsiteY49" fmla="*/ 817323 h 817323"/>
              <a:gd name="connsiteX50" fmla="*/ 441542 w 792271"/>
              <a:gd name="connsiteY50" fmla="*/ 814192 h 817323"/>
              <a:gd name="connsiteX51" fmla="*/ 435279 w 792271"/>
              <a:gd name="connsiteY51" fmla="*/ 804797 h 817323"/>
              <a:gd name="connsiteX52" fmla="*/ 425885 w 792271"/>
              <a:gd name="connsiteY52" fmla="*/ 795403 h 817323"/>
              <a:gd name="connsiteX53" fmla="*/ 419622 w 792271"/>
              <a:gd name="connsiteY53" fmla="*/ 786008 h 817323"/>
              <a:gd name="connsiteX54" fmla="*/ 410227 w 792271"/>
              <a:gd name="connsiteY54" fmla="*/ 776614 h 817323"/>
              <a:gd name="connsiteX55" fmla="*/ 403964 w 792271"/>
              <a:gd name="connsiteY55" fmla="*/ 767219 h 817323"/>
              <a:gd name="connsiteX56" fmla="*/ 394569 w 792271"/>
              <a:gd name="connsiteY56" fmla="*/ 757825 h 817323"/>
              <a:gd name="connsiteX57" fmla="*/ 372649 w 792271"/>
              <a:gd name="connsiteY57" fmla="*/ 732773 h 817323"/>
              <a:gd name="connsiteX58" fmla="*/ 366386 w 792271"/>
              <a:gd name="connsiteY58" fmla="*/ 723378 h 817323"/>
              <a:gd name="connsiteX59" fmla="*/ 306887 w 792271"/>
              <a:gd name="connsiteY59" fmla="*/ 713984 h 817323"/>
              <a:gd name="connsiteX60" fmla="*/ 294361 w 792271"/>
              <a:gd name="connsiteY60" fmla="*/ 660748 h 817323"/>
              <a:gd name="connsiteX61" fmla="*/ 288098 w 792271"/>
              <a:gd name="connsiteY61" fmla="*/ 651353 h 817323"/>
              <a:gd name="connsiteX62" fmla="*/ 269309 w 792271"/>
              <a:gd name="connsiteY62" fmla="*/ 641959 h 817323"/>
              <a:gd name="connsiteX63" fmla="*/ 256783 w 792271"/>
              <a:gd name="connsiteY63" fmla="*/ 645090 h 817323"/>
              <a:gd name="connsiteX64" fmla="*/ 228600 w 792271"/>
              <a:gd name="connsiteY64" fmla="*/ 654485 h 817323"/>
              <a:gd name="connsiteX65" fmla="*/ 219205 w 792271"/>
              <a:gd name="connsiteY65" fmla="*/ 660748 h 817323"/>
              <a:gd name="connsiteX66" fmla="*/ 212942 w 792271"/>
              <a:gd name="connsiteY66" fmla="*/ 670142 h 817323"/>
              <a:gd name="connsiteX67" fmla="*/ 206679 w 792271"/>
              <a:gd name="connsiteY67" fmla="*/ 688931 h 817323"/>
              <a:gd name="connsiteX68" fmla="*/ 200416 w 792271"/>
              <a:gd name="connsiteY68" fmla="*/ 707721 h 817323"/>
              <a:gd name="connsiteX69" fmla="*/ 191022 w 792271"/>
              <a:gd name="connsiteY69" fmla="*/ 710852 h 817323"/>
              <a:gd name="connsiteX70" fmla="*/ 169101 w 792271"/>
              <a:gd name="connsiteY70" fmla="*/ 701458 h 817323"/>
              <a:gd name="connsiteX71" fmla="*/ 162838 w 792271"/>
              <a:gd name="connsiteY71" fmla="*/ 695194 h 817323"/>
              <a:gd name="connsiteX72" fmla="*/ 159706 w 792271"/>
              <a:gd name="connsiteY72" fmla="*/ 685800 h 817323"/>
              <a:gd name="connsiteX73" fmla="*/ 153443 w 792271"/>
              <a:gd name="connsiteY73" fmla="*/ 651353 h 817323"/>
              <a:gd name="connsiteX74" fmla="*/ 147180 w 792271"/>
              <a:gd name="connsiteY74" fmla="*/ 632564 h 817323"/>
              <a:gd name="connsiteX75" fmla="*/ 122128 w 792271"/>
              <a:gd name="connsiteY75" fmla="*/ 629433 h 817323"/>
              <a:gd name="connsiteX76" fmla="*/ 115865 w 792271"/>
              <a:gd name="connsiteY76" fmla="*/ 610644 h 817323"/>
              <a:gd name="connsiteX77" fmla="*/ 93945 w 792271"/>
              <a:gd name="connsiteY77" fmla="*/ 582460 h 817323"/>
              <a:gd name="connsiteX78" fmla="*/ 78287 w 792271"/>
              <a:gd name="connsiteY78" fmla="*/ 566803 h 817323"/>
              <a:gd name="connsiteX79" fmla="*/ 72024 w 792271"/>
              <a:gd name="connsiteY79" fmla="*/ 557408 h 817323"/>
              <a:gd name="connsiteX80" fmla="*/ 43841 w 792271"/>
              <a:gd name="connsiteY80" fmla="*/ 541751 h 817323"/>
              <a:gd name="connsiteX81" fmla="*/ 34446 w 792271"/>
              <a:gd name="connsiteY81" fmla="*/ 535488 h 817323"/>
              <a:gd name="connsiteX82" fmla="*/ 25052 w 792271"/>
              <a:gd name="connsiteY82" fmla="*/ 532356 h 817323"/>
              <a:gd name="connsiteX83" fmla="*/ 15657 w 792271"/>
              <a:gd name="connsiteY83" fmla="*/ 522962 h 817323"/>
              <a:gd name="connsiteX84" fmla="*/ 12526 w 792271"/>
              <a:gd name="connsiteY84" fmla="*/ 513567 h 817323"/>
              <a:gd name="connsiteX85" fmla="*/ 25052 w 792271"/>
              <a:gd name="connsiteY85" fmla="*/ 494778 h 817323"/>
              <a:gd name="connsiteX86" fmla="*/ 28183 w 792271"/>
              <a:gd name="connsiteY86" fmla="*/ 454068 h 817323"/>
              <a:gd name="connsiteX87" fmla="*/ 31315 w 792271"/>
              <a:gd name="connsiteY87" fmla="*/ 422753 h 817323"/>
              <a:gd name="connsiteX88" fmla="*/ 37578 w 792271"/>
              <a:gd name="connsiteY88" fmla="*/ 403964 h 817323"/>
              <a:gd name="connsiteX89" fmla="*/ 34446 w 792271"/>
              <a:gd name="connsiteY89" fmla="*/ 388307 h 817323"/>
              <a:gd name="connsiteX90" fmla="*/ 25052 w 792271"/>
              <a:gd name="connsiteY90" fmla="*/ 382044 h 817323"/>
              <a:gd name="connsiteX91" fmla="*/ 31315 w 792271"/>
              <a:gd name="connsiteY91" fmla="*/ 341334 h 817323"/>
              <a:gd name="connsiteX92" fmla="*/ 21920 w 792271"/>
              <a:gd name="connsiteY92" fmla="*/ 319414 h 817323"/>
              <a:gd name="connsiteX93" fmla="*/ 12526 w 792271"/>
              <a:gd name="connsiteY93" fmla="*/ 316282 h 817323"/>
              <a:gd name="connsiteX94" fmla="*/ 6263 w 792271"/>
              <a:gd name="connsiteY94" fmla="*/ 306888 h 817323"/>
              <a:gd name="connsiteX95" fmla="*/ 0 w 792271"/>
              <a:gd name="connsiteY95" fmla="*/ 288099 h 817323"/>
              <a:gd name="connsiteX96" fmla="*/ 3131 w 792271"/>
              <a:gd name="connsiteY96" fmla="*/ 259915 h 817323"/>
              <a:gd name="connsiteX97" fmla="*/ 25052 w 792271"/>
              <a:gd name="connsiteY97" fmla="*/ 260535 h 817323"/>
              <a:gd name="connsiteX98" fmla="*/ 43841 w 792271"/>
              <a:gd name="connsiteY98" fmla="*/ 278704 h 817323"/>
              <a:gd name="connsiteX99" fmla="*/ 46972 w 792271"/>
              <a:gd name="connsiteY99" fmla="*/ 288099 h 817323"/>
              <a:gd name="connsiteX100" fmla="*/ 56367 w 792271"/>
              <a:gd name="connsiteY100" fmla="*/ 291230 h 817323"/>
              <a:gd name="connsiteX101" fmla="*/ 100208 w 792271"/>
              <a:gd name="connsiteY101" fmla="*/ 288099 h 817323"/>
              <a:gd name="connsiteX102" fmla="*/ 118997 w 792271"/>
              <a:gd name="connsiteY102" fmla="*/ 272441 h 817323"/>
              <a:gd name="connsiteX103" fmla="*/ 122128 w 792271"/>
              <a:gd name="connsiteY103" fmla="*/ 263047 h 817323"/>
              <a:gd name="connsiteX104" fmla="*/ 118997 w 792271"/>
              <a:gd name="connsiteY104" fmla="*/ 237994 h 817323"/>
              <a:gd name="connsiteX105" fmla="*/ 106471 w 792271"/>
              <a:gd name="connsiteY105" fmla="*/ 219205 h 817323"/>
              <a:gd name="connsiteX106" fmla="*/ 97076 w 792271"/>
              <a:gd name="connsiteY106" fmla="*/ 200416 h 817323"/>
              <a:gd name="connsiteX107" fmla="*/ 128391 w 792271"/>
              <a:gd name="connsiteY107" fmla="*/ 184759 h 817323"/>
              <a:gd name="connsiteX108" fmla="*/ 137786 w 792271"/>
              <a:gd name="connsiteY108" fmla="*/ 175364 h 817323"/>
              <a:gd name="connsiteX109" fmla="*/ 153443 w 792271"/>
              <a:gd name="connsiteY109" fmla="*/ 159707 h 817323"/>
              <a:gd name="connsiteX110" fmla="*/ 172233 w 792271"/>
              <a:gd name="connsiteY110" fmla="*/ 153444 h 817323"/>
              <a:gd name="connsiteX111" fmla="*/ 178496 w 792271"/>
              <a:gd name="connsiteY111" fmla="*/ 144049 h 817323"/>
              <a:gd name="connsiteX112" fmla="*/ 184759 w 792271"/>
              <a:gd name="connsiteY112" fmla="*/ 115866 h 817323"/>
              <a:gd name="connsiteX113" fmla="*/ 187890 w 792271"/>
              <a:gd name="connsiteY113" fmla="*/ 100208 h 817323"/>
              <a:gd name="connsiteX114" fmla="*/ 191022 w 792271"/>
              <a:gd name="connsiteY114" fmla="*/ 78288 h 817323"/>
              <a:gd name="connsiteX115" fmla="*/ 187760 w 792271"/>
              <a:gd name="connsiteY115" fmla="*/ 54737 h 817323"/>
              <a:gd name="connsiteX116" fmla="*/ 214345 w 792271"/>
              <a:gd name="connsiteY116" fmla="*/ 48245 h 817323"/>
              <a:gd name="connsiteX117" fmla="*/ 264351 w 792271"/>
              <a:gd name="connsiteY117" fmla="*/ 43482 h 817323"/>
              <a:gd name="connsiteX118" fmla="*/ 284967 w 792271"/>
              <a:gd name="connsiteY118" fmla="*/ 62630 h 817323"/>
              <a:gd name="connsiteX119" fmla="*/ 297493 w 792271"/>
              <a:gd name="connsiteY119" fmla="*/ 81419 h 817323"/>
              <a:gd name="connsiteX120" fmla="*/ 316282 w 792271"/>
              <a:gd name="connsiteY120" fmla="*/ 87682 h 817323"/>
              <a:gd name="connsiteX121" fmla="*/ 356991 w 792271"/>
              <a:gd name="connsiteY121" fmla="*/ 93945 h 817323"/>
              <a:gd name="connsiteX122" fmla="*/ 397701 w 792271"/>
              <a:gd name="connsiteY122" fmla="*/ 90814 h 817323"/>
              <a:gd name="connsiteX123" fmla="*/ 419622 w 792271"/>
              <a:gd name="connsiteY123" fmla="*/ 65762 h 817323"/>
              <a:gd name="connsiteX124" fmla="*/ 429016 w 792271"/>
              <a:gd name="connsiteY124" fmla="*/ 59499 h 817323"/>
              <a:gd name="connsiteX125" fmla="*/ 438411 w 792271"/>
              <a:gd name="connsiteY125" fmla="*/ 68893 h 817323"/>
              <a:gd name="connsiteX126" fmla="*/ 441542 w 792271"/>
              <a:gd name="connsiteY126" fmla="*/ 78288 h 817323"/>
              <a:gd name="connsiteX127" fmla="*/ 457200 w 792271"/>
              <a:gd name="connsiteY127" fmla="*/ 75156 h 817323"/>
              <a:gd name="connsiteX128" fmla="*/ 466594 w 792271"/>
              <a:gd name="connsiteY128" fmla="*/ 68893 h 817323"/>
              <a:gd name="connsiteX129" fmla="*/ 469726 w 792271"/>
              <a:gd name="connsiteY129" fmla="*/ 59499 h 817323"/>
              <a:gd name="connsiteX130" fmla="*/ 475989 w 792271"/>
              <a:gd name="connsiteY130" fmla="*/ 50104 h 817323"/>
              <a:gd name="connsiteX131" fmla="*/ 482252 w 792271"/>
              <a:gd name="connsiteY131" fmla="*/ 37578 h 817323"/>
              <a:gd name="connsiteX132" fmla="*/ 510435 w 792271"/>
              <a:gd name="connsiteY132" fmla="*/ 25052 h 817323"/>
              <a:gd name="connsiteX133" fmla="*/ 519830 w 792271"/>
              <a:gd name="connsiteY133" fmla="*/ 18789 h 817323"/>
              <a:gd name="connsiteX134" fmla="*/ 538619 w 792271"/>
              <a:gd name="connsiteY134" fmla="*/ 3131 h 817323"/>
              <a:gd name="connsiteX135" fmla="*/ 548013 w 792271"/>
              <a:gd name="connsiteY135" fmla="*/ 0 h 817323"/>
              <a:gd name="connsiteX136" fmla="*/ 563671 w 792271"/>
              <a:gd name="connsiteY136" fmla="*/ 21921 h 817323"/>
              <a:gd name="connsiteX137" fmla="*/ 563671 w 792271"/>
              <a:gd name="connsiteY137" fmla="*/ 21921 h 817323"/>
              <a:gd name="connsiteX138" fmla="*/ 573065 w 792271"/>
              <a:gd name="connsiteY138" fmla="*/ 28184 h 817323"/>
              <a:gd name="connsiteX139" fmla="*/ 591854 w 792271"/>
              <a:gd name="connsiteY139" fmla="*/ 46973 h 817323"/>
              <a:gd name="connsiteX140" fmla="*/ 573065 w 792271"/>
              <a:gd name="connsiteY140" fmla="*/ 84551 h 817323"/>
              <a:gd name="connsiteX141" fmla="*/ 566802 w 792271"/>
              <a:gd name="connsiteY141" fmla="*/ 93945 h 817323"/>
              <a:gd name="connsiteX142" fmla="*/ 560539 w 792271"/>
              <a:gd name="connsiteY142" fmla="*/ 103340 h 817323"/>
              <a:gd name="connsiteX143" fmla="*/ 557408 w 792271"/>
              <a:gd name="connsiteY143" fmla="*/ 112734 h 817323"/>
              <a:gd name="connsiteX144" fmla="*/ 554276 w 792271"/>
              <a:gd name="connsiteY144" fmla="*/ 165970 h 817323"/>
              <a:gd name="connsiteX145" fmla="*/ 535487 w 792271"/>
              <a:gd name="connsiteY145" fmla="*/ 175364 h 817323"/>
              <a:gd name="connsiteX146" fmla="*/ 519830 w 792271"/>
              <a:gd name="connsiteY146" fmla="*/ 194153 h 817323"/>
              <a:gd name="connsiteX147" fmla="*/ 513567 w 792271"/>
              <a:gd name="connsiteY147" fmla="*/ 212942 h 817323"/>
              <a:gd name="connsiteX148" fmla="*/ 510435 w 792271"/>
              <a:gd name="connsiteY148" fmla="*/ 222337 h 817323"/>
              <a:gd name="connsiteX149" fmla="*/ 513567 w 792271"/>
              <a:gd name="connsiteY149" fmla="*/ 247389 h 817323"/>
              <a:gd name="connsiteX150" fmla="*/ 526093 w 792271"/>
              <a:gd name="connsiteY150" fmla="*/ 266178 h 817323"/>
              <a:gd name="connsiteX151" fmla="*/ 522961 w 792271"/>
              <a:gd name="connsiteY151" fmla="*/ 316282 h 817323"/>
              <a:gd name="connsiteX152" fmla="*/ 519830 w 792271"/>
              <a:gd name="connsiteY152" fmla="*/ 325677 h 817323"/>
              <a:gd name="connsiteX153" fmla="*/ 516698 w 792271"/>
              <a:gd name="connsiteY153" fmla="*/ 338203 h 817323"/>
              <a:gd name="connsiteX154" fmla="*/ 513567 w 792271"/>
              <a:gd name="connsiteY154" fmla="*/ 347597 h 817323"/>
              <a:gd name="connsiteX155" fmla="*/ 507304 w 792271"/>
              <a:gd name="connsiteY155" fmla="*/ 375781 h 817323"/>
              <a:gd name="connsiteX156" fmla="*/ 504172 w 792271"/>
              <a:gd name="connsiteY156" fmla="*/ 388307 h 817323"/>
              <a:gd name="connsiteX157" fmla="*/ 501041 w 792271"/>
              <a:gd name="connsiteY157" fmla="*/ 397701 h 817323"/>
              <a:gd name="connsiteX158" fmla="*/ 494778 w 792271"/>
              <a:gd name="connsiteY158" fmla="*/ 425885 h 817323"/>
              <a:gd name="connsiteX159" fmla="*/ 485383 w 792271"/>
              <a:gd name="connsiteY159" fmla="*/ 435279 h 817323"/>
              <a:gd name="connsiteX160" fmla="*/ 472857 w 792271"/>
              <a:gd name="connsiteY160" fmla="*/ 454068 h 817323"/>
              <a:gd name="connsiteX161" fmla="*/ 469726 w 792271"/>
              <a:gd name="connsiteY161" fmla="*/ 488515 h 817323"/>
              <a:gd name="connsiteX162" fmla="*/ 488515 w 792271"/>
              <a:gd name="connsiteY162" fmla="*/ 497910 h 817323"/>
              <a:gd name="connsiteX163" fmla="*/ 507304 w 792271"/>
              <a:gd name="connsiteY163" fmla="*/ 507304 h 817323"/>
              <a:gd name="connsiteX164" fmla="*/ 535487 w 792271"/>
              <a:gd name="connsiteY164" fmla="*/ 507304 h 817323"/>
              <a:gd name="connsiteX165" fmla="*/ 541750 w 792271"/>
              <a:gd name="connsiteY165" fmla="*/ 513567 h 817323"/>
              <a:gd name="connsiteX0" fmla="*/ 541750 w 792271"/>
              <a:gd name="connsiteY0" fmla="*/ 513567 h 817323"/>
              <a:gd name="connsiteX1" fmla="*/ 557408 w 792271"/>
              <a:gd name="connsiteY1" fmla="*/ 501041 h 817323"/>
              <a:gd name="connsiteX2" fmla="*/ 576197 w 792271"/>
              <a:gd name="connsiteY2" fmla="*/ 488515 h 817323"/>
              <a:gd name="connsiteX3" fmla="*/ 573065 w 792271"/>
              <a:gd name="connsiteY3" fmla="*/ 479121 h 817323"/>
              <a:gd name="connsiteX4" fmla="*/ 554276 w 792271"/>
              <a:gd name="connsiteY4" fmla="*/ 472858 h 817323"/>
              <a:gd name="connsiteX5" fmla="*/ 554276 w 792271"/>
              <a:gd name="connsiteY5" fmla="*/ 444674 h 817323"/>
              <a:gd name="connsiteX6" fmla="*/ 563671 w 792271"/>
              <a:gd name="connsiteY6" fmla="*/ 438411 h 817323"/>
              <a:gd name="connsiteX7" fmla="*/ 582460 w 792271"/>
              <a:gd name="connsiteY7" fmla="*/ 422753 h 817323"/>
              <a:gd name="connsiteX8" fmla="*/ 594986 w 792271"/>
              <a:gd name="connsiteY8" fmla="*/ 400833 h 817323"/>
              <a:gd name="connsiteX9" fmla="*/ 607512 w 792271"/>
              <a:gd name="connsiteY9" fmla="*/ 382044 h 817323"/>
              <a:gd name="connsiteX10" fmla="*/ 620038 w 792271"/>
              <a:gd name="connsiteY10" fmla="*/ 363255 h 817323"/>
              <a:gd name="connsiteX11" fmla="*/ 629433 w 792271"/>
              <a:gd name="connsiteY11" fmla="*/ 356992 h 817323"/>
              <a:gd name="connsiteX12" fmla="*/ 645090 w 792271"/>
              <a:gd name="connsiteY12" fmla="*/ 360123 h 817323"/>
              <a:gd name="connsiteX13" fmla="*/ 648222 w 792271"/>
              <a:gd name="connsiteY13" fmla="*/ 369518 h 817323"/>
              <a:gd name="connsiteX14" fmla="*/ 663879 w 792271"/>
              <a:gd name="connsiteY14" fmla="*/ 385175 h 817323"/>
              <a:gd name="connsiteX15" fmla="*/ 673274 w 792271"/>
              <a:gd name="connsiteY15" fmla="*/ 388307 h 817323"/>
              <a:gd name="connsiteX16" fmla="*/ 685049 w 792271"/>
              <a:gd name="connsiteY16" fmla="*/ 387426 h 817323"/>
              <a:gd name="connsiteX17" fmla="*/ 732772 w 792271"/>
              <a:gd name="connsiteY17" fmla="*/ 400833 h 817323"/>
              <a:gd name="connsiteX18" fmla="*/ 742167 w 792271"/>
              <a:gd name="connsiteY18" fmla="*/ 410227 h 817323"/>
              <a:gd name="connsiteX19" fmla="*/ 729641 w 792271"/>
              <a:gd name="connsiteY19" fmla="*/ 435279 h 817323"/>
              <a:gd name="connsiteX20" fmla="*/ 698326 w 792271"/>
              <a:gd name="connsiteY20" fmla="*/ 457200 h 817323"/>
              <a:gd name="connsiteX21" fmla="*/ 688931 w 792271"/>
              <a:gd name="connsiteY21" fmla="*/ 466594 h 817323"/>
              <a:gd name="connsiteX22" fmla="*/ 692063 w 792271"/>
              <a:gd name="connsiteY22" fmla="*/ 488515 h 817323"/>
              <a:gd name="connsiteX23" fmla="*/ 704589 w 792271"/>
              <a:gd name="connsiteY23" fmla="*/ 491647 h 817323"/>
              <a:gd name="connsiteX24" fmla="*/ 723378 w 792271"/>
              <a:gd name="connsiteY24" fmla="*/ 497910 h 817323"/>
              <a:gd name="connsiteX25" fmla="*/ 732772 w 792271"/>
              <a:gd name="connsiteY25" fmla="*/ 507304 h 817323"/>
              <a:gd name="connsiteX26" fmla="*/ 751561 w 792271"/>
              <a:gd name="connsiteY26" fmla="*/ 519830 h 817323"/>
              <a:gd name="connsiteX27" fmla="*/ 764087 w 792271"/>
              <a:gd name="connsiteY27" fmla="*/ 538619 h 817323"/>
              <a:gd name="connsiteX28" fmla="*/ 773482 w 792271"/>
              <a:gd name="connsiteY28" fmla="*/ 548014 h 817323"/>
              <a:gd name="connsiteX29" fmla="*/ 779745 w 792271"/>
              <a:gd name="connsiteY29" fmla="*/ 560540 h 817323"/>
              <a:gd name="connsiteX30" fmla="*/ 792271 w 792271"/>
              <a:gd name="connsiteY30" fmla="*/ 579329 h 817323"/>
              <a:gd name="connsiteX31" fmla="*/ 789139 w 792271"/>
              <a:gd name="connsiteY31" fmla="*/ 598118 h 817323"/>
              <a:gd name="connsiteX32" fmla="*/ 779745 w 792271"/>
              <a:gd name="connsiteY32" fmla="*/ 601249 h 817323"/>
              <a:gd name="connsiteX33" fmla="*/ 767219 w 792271"/>
              <a:gd name="connsiteY33" fmla="*/ 604381 h 817323"/>
              <a:gd name="connsiteX34" fmla="*/ 754693 w 792271"/>
              <a:gd name="connsiteY34" fmla="*/ 623170 h 817323"/>
              <a:gd name="connsiteX35" fmla="*/ 735904 w 792271"/>
              <a:gd name="connsiteY35" fmla="*/ 626301 h 817323"/>
              <a:gd name="connsiteX36" fmla="*/ 704589 w 792271"/>
              <a:gd name="connsiteY36" fmla="*/ 635696 h 817323"/>
              <a:gd name="connsiteX37" fmla="*/ 588723 w 792271"/>
              <a:gd name="connsiteY37" fmla="*/ 638827 h 817323"/>
              <a:gd name="connsiteX38" fmla="*/ 569934 w 792271"/>
              <a:gd name="connsiteY38" fmla="*/ 667011 h 817323"/>
              <a:gd name="connsiteX39" fmla="*/ 566802 w 792271"/>
              <a:gd name="connsiteY39" fmla="*/ 676405 h 817323"/>
              <a:gd name="connsiteX40" fmla="*/ 554276 w 792271"/>
              <a:gd name="connsiteY40" fmla="*/ 695194 h 817323"/>
              <a:gd name="connsiteX41" fmla="*/ 548013 w 792271"/>
              <a:gd name="connsiteY41" fmla="*/ 704589 h 817323"/>
              <a:gd name="connsiteX42" fmla="*/ 532356 w 792271"/>
              <a:gd name="connsiteY42" fmla="*/ 732773 h 817323"/>
              <a:gd name="connsiteX43" fmla="*/ 519830 w 792271"/>
              <a:gd name="connsiteY43" fmla="*/ 764088 h 817323"/>
              <a:gd name="connsiteX44" fmla="*/ 513567 w 792271"/>
              <a:gd name="connsiteY44" fmla="*/ 773482 h 817323"/>
              <a:gd name="connsiteX45" fmla="*/ 507304 w 792271"/>
              <a:gd name="connsiteY45" fmla="*/ 792271 h 817323"/>
              <a:gd name="connsiteX46" fmla="*/ 504172 w 792271"/>
              <a:gd name="connsiteY46" fmla="*/ 801666 h 817323"/>
              <a:gd name="connsiteX47" fmla="*/ 501041 w 792271"/>
              <a:gd name="connsiteY47" fmla="*/ 811060 h 817323"/>
              <a:gd name="connsiteX48" fmla="*/ 485383 w 792271"/>
              <a:gd name="connsiteY48" fmla="*/ 798534 h 817323"/>
              <a:gd name="connsiteX49" fmla="*/ 466594 w 792271"/>
              <a:gd name="connsiteY49" fmla="*/ 817323 h 817323"/>
              <a:gd name="connsiteX50" fmla="*/ 441542 w 792271"/>
              <a:gd name="connsiteY50" fmla="*/ 814192 h 817323"/>
              <a:gd name="connsiteX51" fmla="*/ 435279 w 792271"/>
              <a:gd name="connsiteY51" fmla="*/ 804797 h 817323"/>
              <a:gd name="connsiteX52" fmla="*/ 425885 w 792271"/>
              <a:gd name="connsiteY52" fmla="*/ 795403 h 817323"/>
              <a:gd name="connsiteX53" fmla="*/ 419622 w 792271"/>
              <a:gd name="connsiteY53" fmla="*/ 786008 h 817323"/>
              <a:gd name="connsiteX54" fmla="*/ 410227 w 792271"/>
              <a:gd name="connsiteY54" fmla="*/ 776614 h 817323"/>
              <a:gd name="connsiteX55" fmla="*/ 403964 w 792271"/>
              <a:gd name="connsiteY55" fmla="*/ 767219 h 817323"/>
              <a:gd name="connsiteX56" fmla="*/ 394569 w 792271"/>
              <a:gd name="connsiteY56" fmla="*/ 757825 h 817323"/>
              <a:gd name="connsiteX57" fmla="*/ 372649 w 792271"/>
              <a:gd name="connsiteY57" fmla="*/ 732773 h 817323"/>
              <a:gd name="connsiteX58" fmla="*/ 366386 w 792271"/>
              <a:gd name="connsiteY58" fmla="*/ 723378 h 817323"/>
              <a:gd name="connsiteX59" fmla="*/ 306887 w 792271"/>
              <a:gd name="connsiteY59" fmla="*/ 713984 h 817323"/>
              <a:gd name="connsiteX60" fmla="*/ 294361 w 792271"/>
              <a:gd name="connsiteY60" fmla="*/ 660748 h 817323"/>
              <a:gd name="connsiteX61" fmla="*/ 288098 w 792271"/>
              <a:gd name="connsiteY61" fmla="*/ 651353 h 817323"/>
              <a:gd name="connsiteX62" fmla="*/ 269309 w 792271"/>
              <a:gd name="connsiteY62" fmla="*/ 641959 h 817323"/>
              <a:gd name="connsiteX63" fmla="*/ 256783 w 792271"/>
              <a:gd name="connsiteY63" fmla="*/ 645090 h 817323"/>
              <a:gd name="connsiteX64" fmla="*/ 228600 w 792271"/>
              <a:gd name="connsiteY64" fmla="*/ 654485 h 817323"/>
              <a:gd name="connsiteX65" fmla="*/ 219205 w 792271"/>
              <a:gd name="connsiteY65" fmla="*/ 660748 h 817323"/>
              <a:gd name="connsiteX66" fmla="*/ 212942 w 792271"/>
              <a:gd name="connsiteY66" fmla="*/ 670142 h 817323"/>
              <a:gd name="connsiteX67" fmla="*/ 206679 w 792271"/>
              <a:gd name="connsiteY67" fmla="*/ 688931 h 817323"/>
              <a:gd name="connsiteX68" fmla="*/ 200416 w 792271"/>
              <a:gd name="connsiteY68" fmla="*/ 707721 h 817323"/>
              <a:gd name="connsiteX69" fmla="*/ 191022 w 792271"/>
              <a:gd name="connsiteY69" fmla="*/ 710852 h 817323"/>
              <a:gd name="connsiteX70" fmla="*/ 169101 w 792271"/>
              <a:gd name="connsiteY70" fmla="*/ 701458 h 817323"/>
              <a:gd name="connsiteX71" fmla="*/ 162838 w 792271"/>
              <a:gd name="connsiteY71" fmla="*/ 695194 h 817323"/>
              <a:gd name="connsiteX72" fmla="*/ 159706 w 792271"/>
              <a:gd name="connsiteY72" fmla="*/ 685800 h 817323"/>
              <a:gd name="connsiteX73" fmla="*/ 153443 w 792271"/>
              <a:gd name="connsiteY73" fmla="*/ 651353 h 817323"/>
              <a:gd name="connsiteX74" fmla="*/ 147180 w 792271"/>
              <a:gd name="connsiteY74" fmla="*/ 632564 h 817323"/>
              <a:gd name="connsiteX75" fmla="*/ 122128 w 792271"/>
              <a:gd name="connsiteY75" fmla="*/ 629433 h 817323"/>
              <a:gd name="connsiteX76" fmla="*/ 115865 w 792271"/>
              <a:gd name="connsiteY76" fmla="*/ 610644 h 817323"/>
              <a:gd name="connsiteX77" fmla="*/ 93945 w 792271"/>
              <a:gd name="connsiteY77" fmla="*/ 582460 h 817323"/>
              <a:gd name="connsiteX78" fmla="*/ 78287 w 792271"/>
              <a:gd name="connsiteY78" fmla="*/ 566803 h 817323"/>
              <a:gd name="connsiteX79" fmla="*/ 72024 w 792271"/>
              <a:gd name="connsiteY79" fmla="*/ 557408 h 817323"/>
              <a:gd name="connsiteX80" fmla="*/ 43841 w 792271"/>
              <a:gd name="connsiteY80" fmla="*/ 541751 h 817323"/>
              <a:gd name="connsiteX81" fmla="*/ 34446 w 792271"/>
              <a:gd name="connsiteY81" fmla="*/ 535488 h 817323"/>
              <a:gd name="connsiteX82" fmla="*/ 25052 w 792271"/>
              <a:gd name="connsiteY82" fmla="*/ 532356 h 817323"/>
              <a:gd name="connsiteX83" fmla="*/ 15657 w 792271"/>
              <a:gd name="connsiteY83" fmla="*/ 522962 h 817323"/>
              <a:gd name="connsiteX84" fmla="*/ 12526 w 792271"/>
              <a:gd name="connsiteY84" fmla="*/ 513567 h 817323"/>
              <a:gd name="connsiteX85" fmla="*/ 25052 w 792271"/>
              <a:gd name="connsiteY85" fmla="*/ 494778 h 817323"/>
              <a:gd name="connsiteX86" fmla="*/ 28183 w 792271"/>
              <a:gd name="connsiteY86" fmla="*/ 454068 h 817323"/>
              <a:gd name="connsiteX87" fmla="*/ 31315 w 792271"/>
              <a:gd name="connsiteY87" fmla="*/ 422753 h 817323"/>
              <a:gd name="connsiteX88" fmla="*/ 37578 w 792271"/>
              <a:gd name="connsiteY88" fmla="*/ 403964 h 817323"/>
              <a:gd name="connsiteX89" fmla="*/ 34446 w 792271"/>
              <a:gd name="connsiteY89" fmla="*/ 388307 h 817323"/>
              <a:gd name="connsiteX90" fmla="*/ 25052 w 792271"/>
              <a:gd name="connsiteY90" fmla="*/ 382044 h 817323"/>
              <a:gd name="connsiteX91" fmla="*/ 31315 w 792271"/>
              <a:gd name="connsiteY91" fmla="*/ 341334 h 817323"/>
              <a:gd name="connsiteX92" fmla="*/ 21920 w 792271"/>
              <a:gd name="connsiteY92" fmla="*/ 319414 h 817323"/>
              <a:gd name="connsiteX93" fmla="*/ 12526 w 792271"/>
              <a:gd name="connsiteY93" fmla="*/ 316282 h 817323"/>
              <a:gd name="connsiteX94" fmla="*/ 6263 w 792271"/>
              <a:gd name="connsiteY94" fmla="*/ 306888 h 817323"/>
              <a:gd name="connsiteX95" fmla="*/ 0 w 792271"/>
              <a:gd name="connsiteY95" fmla="*/ 288099 h 817323"/>
              <a:gd name="connsiteX96" fmla="*/ 3131 w 792271"/>
              <a:gd name="connsiteY96" fmla="*/ 259915 h 817323"/>
              <a:gd name="connsiteX97" fmla="*/ 25052 w 792271"/>
              <a:gd name="connsiteY97" fmla="*/ 260535 h 817323"/>
              <a:gd name="connsiteX98" fmla="*/ 43841 w 792271"/>
              <a:gd name="connsiteY98" fmla="*/ 278704 h 817323"/>
              <a:gd name="connsiteX99" fmla="*/ 46972 w 792271"/>
              <a:gd name="connsiteY99" fmla="*/ 288099 h 817323"/>
              <a:gd name="connsiteX100" fmla="*/ 56367 w 792271"/>
              <a:gd name="connsiteY100" fmla="*/ 291230 h 817323"/>
              <a:gd name="connsiteX101" fmla="*/ 100208 w 792271"/>
              <a:gd name="connsiteY101" fmla="*/ 288099 h 817323"/>
              <a:gd name="connsiteX102" fmla="*/ 118997 w 792271"/>
              <a:gd name="connsiteY102" fmla="*/ 272441 h 817323"/>
              <a:gd name="connsiteX103" fmla="*/ 122128 w 792271"/>
              <a:gd name="connsiteY103" fmla="*/ 263047 h 817323"/>
              <a:gd name="connsiteX104" fmla="*/ 118997 w 792271"/>
              <a:gd name="connsiteY104" fmla="*/ 237994 h 817323"/>
              <a:gd name="connsiteX105" fmla="*/ 106471 w 792271"/>
              <a:gd name="connsiteY105" fmla="*/ 219205 h 817323"/>
              <a:gd name="connsiteX106" fmla="*/ 97076 w 792271"/>
              <a:gd name="connsiteY106" fmla="*/ 200416 h 817323"/>
              <a:gd name="connsiteX107" fmla="*/ 128391 w 792271"/>
              <a:gd name="connsiteY107" fmla="*/ 184759 h 817323"/>
              <a:gd name="connsiteX108" fmla="*/ 137786 w 792271"/>
              <a:gd name="connsiteY108" fmla="*/ 175364 h 817323"/>
              <a:gd name="connsiteX109" fmla="*/ 153443 w 792271"/>
              <a:gd name="connsiteY109" fmla="*/ 159707 h 817323"/>
              <a:gd name="connsiteX110" fmla="*/ 172233 w 792271"/>
              <a:gd name="connsiteY110" fmla="*/ 153444 h 817323"/>
              <a:gd name="connsiteX111" fmla="*/ 178496 w 792271"/>
              <a:gd name="connsiteY111" fmla="*/ 144049 h 817323"/>
              <a:gd name="connsiteX112" fmla="*/ 184759 w 792271"/>
              <a:gd name="connsiteY112" fmla="*/ 115866 h 817323"/>
              <a:gd name="connsiteX113" fmla="*/ 187890 w 792271"/>
              <a:gd name="connsiteY113" fmla="*/ 100208 h 817323"/>
              <a:gd name="connsiteX114" fmla="*/ 191022 w 792271"/>
              <a:gd name="connsiteY114" fmla="*/ 78288 h 817323"/>
              <a:gd name="connsiteX115" fmla="*/ 187760 w 792271"/>
              <a:gd name="connsiteY115" fmla="*/ 54737 h 817323"/>
              <a:gd name="connsiteX116" fmla="*/ 214345 w 792271"/>
              <a:gd name="connsiteY116" fmla="*/ 48245 h 817323"/>
              <a:gd name="connsiteX117" fmla="*/ 264351 w 792271"/>
              <a:gd name="connsiteY117" fmla="*/ 43482 h 817323"/>
              <a:gd name="connsiteX118" fmla="*/ 284967 w 792271"/>
              <a:gd name="connsiteY118" fmla="*/ 62630 h 817323"/>
              <a:gd name="connsiteX119" fmla="*/ 297493 w 792271"/>
              <a:gd name="connsiteY119" fmla="*/ 81419 h 817323"/>
              <a:gd name="connsiteX120" fmla="*/ 316282 w 792271"/>
              <a:gd name="connsiteY120" fmla="*/ 87682 h 817323"/>
              <a:gd name="connsiteX121" fmla="*/ 356991 w 792271"/>
              <a:gd name="connsiteY121" fmla="*/ 93945 h 817323"/>
              <a:gd name="connsiteX122" fmla="*/ 397701 w 792271"/>
              <a:gd name="connsiteY122" fmla="*/ 90814 h 817323"/>
              <a:gd name="connsiteX123" fmla="*/ 419622 w 792271"/>
              <a:gd name="connsiteY123" fmla="*/ 65762 h 817323"/>
              <a:gd name="connsiteX124" fmla="*/ 429016 w 792271"/>
              <a:gd name="connsiteY124" fmla="*/ 59499 h 817323"/>
              <a:gd name="connsiteX125" fmla="*/ 438411 w 792271"/>
              <a:gd name="connsiteY125" fmla="*/ 68893 h 817323"/>
              <a:gd name="connsiteX126" fmla="*/ 441542 w 792271"/>
              <a:gd name="connsiteY126" fmla="*/ 78288 h 817323"/>
              <a:gd name="connsiteX127" fmla="*/ 457200 w 792271"/>
              <a:gd name="connsiteY127" fmla="*/ 75156 h 817323"/>
              <a:gd name="connsiteX128" fmla="*/ 466594 w 792271"/>
              <a:gd name="connsiteY128" fmla="*/ 68893 h 817323"/>
              <a:gd name="connsiteX129" fmla="*/ 469726 w 792271"/>
              <a:gd name="connsiteY129" fmla="*/ 59499 h 817323"/>
              <a:gd name="connsiteX130" fmla="*/ 475989 w 792271"/>
              <a:gd name="connsiteY130" fmla="*/ 50104 h 817323"/>
              <a:gd name="connsiteX131" fmla="*/ 482252 w 792271"/>
              <a:gd name="connsiteY131" fmla="*/ 37578 h 817323"/>
              <a:gd name="connsiteX132" fmla="*/ 510435 w 792271"/>
              <a:gd name="connsiteY132" fmla="*/ 25052 h 817323"/>
              <a:gd name="connsiteX133" fmla="*/ 519830 w 792271"/>
              <a:gd name="connsiteY133" fmla="*/ 18789 h 817323"/>
              <a:gd name="connsiteX134" fmla="*/ 538619 w 792271"/>
              <a:gd name="connsiteY134" fmla="*/ 3131 h 817323"/>
              <a:gd name="connsiteX135" fmla="*/ 548013 w 792271"/>
              <a:gd name="connsiteY135" fmla="*/ 0 h 817323"/>
              <a:gd name="connsiteX136" fmla="*/ 563671 w 792271"/>
              <a:gd name="connsiteY136" fmla="*/ 21921 h 817323"/>
              <a:gd name="connsiteX137" fmla="*/ 563671 w 792271"/>
              <a:gd name="connsiteY137" fmla="*/ 21921 h 817323"/>
              <a:gd name="connsiteX138" fmla="*/ 573065 w 792271"/>
              <a:gd name="connsiteY138" fmla="*/ 28184 h 817323"/>
              <a:gd name="connsiteX139" fmla="*/ 591854 w 792271"/>
              <a:gd name="connsiteY139" fmla="*/ 46973 h 817323"/>
              <a:gd name="connsiteX140" fmla="*/ 573065 w 792271"/>
              <a:gd name="connsiteY140" fmla="*/ 84551 h 817323"/>
              <a:gd name="connsiteX141" fmla="*/ 566802 w 792271"/>
              <a:gd name="connsiteY141" fmla="*/ 93945 h 817323"/>
              <a:gd name="connsiteX142" fmla="*/ 560539 w 792271"/>
              <a:gd name="connsiteY142" fmla="*/ 103340 h 817323"/>
              <a:gd name="connsiteX143" fmla="*/ 557408 w 792271"/>
              <a:gd name="connsiteY143" fmla="*/ 112734 h 817323"/>
              <a:gd name="connsiteX144" fmla="*/ 554276 w 792271"/>
              <a:gd name="connsiteY144" fmla="*/ 165970 h 817323"/>
              <a:gd name="connsiteX145" fmla="*/ 535487 w 792271"/>
              <a:gd name="connsiteY145" fmla="*/ 175364 h 817323"/>
              <a:gd name="connsiteX146" fmla="*/ 519830 w 792271"/>
              <a:gd name="connsiteY146" fmla="*/ 194153 h 817323"/>
              <a:gd name="connsiteX147" fmla="*/ 513567 w 792271"/>
              <a:gd name="connsiteY147" fmla="*/ 212942 h 817323"/>
              <a:gd name="connsiteX148" fmla="*/ 510435 w 792271"/>
              <a:gd name="connsiteY148" fmla="*/ 222337 h 817323"/>
              <a:gd name="connsiteX149" fmla="*/ 513567 w 792271"/>
              <a:gd name="connsiteY149" fmla="*/ 247389 h 817323"/>
              <a:gd name="connsiteX150" fmla="*/ 526093 w 792271"/>
              <a:gd name="connsiteY150" fmla="*/ 266178 h 817323"/>
              <a:gd name="connsiteX151" fmla="*/ 522961 w 792271"/>
              <a:gd name="connsiteY151" fmla="*/ 316282 h 817323"/>
              <a:gd name="connsiteX152" fmla="*/ 519830 w 792271"/>
              <a:gd name="connsiteY152" fmla="*/ 325677 h 817323"/>
              <a:gd name="connsiteX153" fmla="*/ 516698 w 792271"/>
              <a:gd name="connsiteY153" fmla="*/ 338203 h 817323"/>
              <a:gd name="connsiteX154" fmla="*/ 513567 w 792271"/>
              <a:gd name="connsiteY154" fmla="*/ 347597 h 817323"/>
              <a:gd name="connsiteX155" fmla="*/ 507304 w 792271"/>
              <a:gd name="connsiteY155" fmla="*/ 375781 h 817323"/>
              <a:gd name="connsiteX156" fmla="*/ 504172 w 792271"/>
              <a:gd name="connsiteY156" fmla="*/ 388307 h 817323"/>
              <a:gd name="connsiteX157" fmla="*/ 501041 w 792271"/>
              <a:gd name="connsiteY157" fmla="*/ 397701 h 817323"/>
              <a:gd name="connsiteX158" fmla="*/ 494778 w 792271"/>
              <a:gd name="connsiteY158" fmla="*/ 425885 h 817323"/>
              <a:gd name="connsiteX159" fmla="*/ 485383 w 792271"/>
              <a:gd name="connsiteY159" fmla="*/ 435279 h 817323"/>
              <a:gd name="connsiteX160" fmla="*/ 472857 w 792271"/>
              <a:gd name="connsiteY160" fmla="*/ 454068 h 817323"/>
              <a:gd name="connsiteX161" fmla="*/ 469726 w 792271"/>
              <a:gd name="connsiteY161" fmla="*/ 488515 h 817323"/>
              <a:gd name="connsiteX162" fmla="*/ 488515 w 792271"/>
              <a:gd name="connsiteY162" fmla="*/ 497910 h 817323"/>
              <a:gd name="connsiteX163" fmla="*/ 507304 w 792271"/>
              <a:gd name="connsiteY163" fmla="*/ 507304 h 817323"/>
              <a:gd name="connsiteX164" fmla="*/ 535487 w 792271"/>
              <a:gd name="connsiteY164" fmla="*/ 507304 h 817323"/>
              <a:gd name="connsiteX165" fmla="*/ 541750 w 792271"/>
              <a:gd name="connsiteY165" fmla="*/ 513567 h 817323"/>
              <a:gd name="connsiteX0" fmla="*/ 541750 w 792271"/>
              <a:gd name="connsiteY0" fmla="*/ 513567 h 817323"/>
              <a:gd name="connsiteX1" fmla="*/ 557408 w 792271"/>
              <a:gd name="connsiteY1" fmla="*/ 501041 h 817323"/>
              <a:gd name="connsiteX2" fmla="*/ 576197 w 792271"/>
              <a:gd name="connsiteY2" fmla="*/ 488515 h 817323"/>
              <a:gd name="connsiteX3" fmla="*/ 573065 w 792271"/>
              <a:gd name="connsiteY3" fmla="*/ 479121 h 817323"/>
              <a:gd name="connsiteX4" fmla="*/ 554276 w 792271"/>
              <a:gd name="connsiteY4" fmla="*/ 472858 h 817323"/>
              <a:gd name="connsiteX5" fmla="*/ 554276 w 792271"/>
              <a:gd name="connsiteY5" fmla="*/ 444674 h 817323"/>
              <a:gd name="connsiteX6" fmla="*/ 563671 w 792271"/>
              <a:gd name="connsiteY6" fmla="*/ 438411 h 817323"/>
              <a:gd name="connsiteX7" fmla="*/ 582460 w 792271"/>
              <a:gd name="connsiteY7" fmla="*/ 422753 h 817323"/>
              <a:gd name="connsiteX8" fmla="*/ 594986 w 792271"/>
              <a:gd name="connsiteY8" fmla="*/ 400833 h 817323"/>
              <a:gd name="connsiteX9" fmla="*/ 607512 w 792271"/>
              <a:gd name="connsiteY9" fmla="*/ 382044 h 817323"/>
              <a:gd name="connsiteX10" fmla="*/ 620038 w 792271"/>
              <a:gd name="connsiteY10" fmla="*/ 363255 h 817323"/>
              <a:gd name="connsiteX11" fmla="*/ 629433 w 792271"/>
              <a:gd name="connsiteY11" fmla="*/ 356992 h 817323"/>
              <a:gd name="connsiteX12" fmla="*/ 645090 w 792271"/>
              <a:gd name="connsiteY12" fmla="*/ 360123 h 817323"/>
              <a:gd name="connsiteX13" fmla="*/ 648222 w 792271"/>
              <a:gd name="connsiteY13" fmla="*/ 369518 h 817323"/>
              <a:gd name="connsiteX14" fmla="*/ 673404 w 792271"/>
              <a:gd name="connsiteY14" fmla="*/ 373269 h 817323"/>
              <a:gd name="connsiteX15" fmla="*/ 673274 w 792271"/>
              <a:gd name="connsiteY15" fmla="*/ 388307 h 817323"/>
              <a:gd name="connsiteX16" fmla="*/ 685049 w 792271"/>
              <a:gd name="connsiteY16" fmla="*/ 387426 h 817323"/>
              <a:gd name="connsiteX17" fmla="*/ 732772 w 792271"/>
              <a:gd name="connsiteY17" fmla="*/ 400833 h 817323"/>
              <a:gd name="connsiteX18" fmla="*/ 742167 w 792271"/>
              <a:gd name="connsiteY18" fmla="*/ 410227 h 817323"/>
              <a:gd name="connsiteX19" fmla="*/ 729641 w 792271"/>
              <a:gd name="connsiteY19" fmla="*/ 435279 h 817323"/>
              <a:gd name="connsiteX20" fmla="*/ 698326 w 792271"/>
              <a:gd name="connsiteY20" fmla="*/ 457200 h 817323"/>
              <a:gd name="connsiteX21" fmla="*/ 688931 w 792271"/>
              <a:gd name="connsiteY21" fmla="*/ 466594 h 817323"/>
              <a:gd name="connsiteX22" fmla="*/ 692063 w 792271"/>
              <a:gd name="connsiteY22" fmla="*/ 488515 h 817323"/>
              <a:gd name="connsiteX23" fmla="*/ 704589 w 792271"/>
              <a:gd name="connsiteY23" fmla="*/ 491647 h 817323"/>
              <a:gd name="connsiteX24" fmla="*/ 723378 w 792271"/>
              <a:gd name="connsiteY24" fmla="*/ 497910 h 817323"/>
              <a:gd name="connsiteX25" fmla="*/ 732772 w 792271"/>
              <a:gd name="connsiteY25" fmla="*/ 507304 h 817323"/>
              <a:gd name="connsiteX26" fmla="*/ 751561 w 792271"/>
              <a:gd name="connsiteY26" fmla="*/ 519830 h 817323"/>
              <a:gd name="connsiteX27" fmla="*/ 764087 w 792271"/>
              <a:gd name="connsiteY27" fmla="*/ 538619 h 817323"/>
              <a:gd name="connsiteX28" fmla="*/ 773482 w 792271"/>
              <a:gd name="connsiteY28" fmla="*/ 548014 h 817323"/>
              <a:gd name="connsiteX29" fmla="*/ 779745 w 792271"/>
              <a:gd name="connsiteY29" fmla="*/ 560540 h 817323"/>
              <a:gd name="connsiteX30" fmla="*/ 792271 w 792271"/>
              <a:gd name="connsiteY30" fmla="*/ 579329 h 817323"/>
              <a:gd name="connsiteX31" fmla="*/ 789139 w 792271"/>
              <a:gd name="connsiteY31" fmla="*/ 598118 h 817323"/>
              <a:gd name="connsiteX32" fmla="*/ 779745 w 792271"/>
              <a:gd name="connsiteY32" fmla="*/ 601249 h 817323"/>
              <a:gd name="connsiteX33" fmla="*/ 767219 w 792271"/>
              <a:gd name="connsiteY33" fmla="*/ 604381 h 817323"/>
              <a:gd name="connsiteX34" fmla="*/ 754693 w 792271"/>
              <a:gd name="connsiteY34" fmla="*/ 623170 h 817323"/>
              <a:gd name="connsiteX35" fmla="*/ 735904 w 792271"/>
              <a:gd name="connsiteY35" fmla="*/ 626301 h 817323"/>
              <a:gd name="connsiteX36" fmla="*/ 704589 w 792271"/>
              <a:gd name="connsiteY36" fmla="*/ 635696 h 817323"/>
              <a:gd name="connsiteX37" fmla="*/ 588723 w 792271"/>
              <a:gd name="connsiteY37" fmla="*/ 638827 h 817323"/>
              <a:gd name="connsiteX38" fmla="*/ 569934 w 792271"/>
              <a:gd name="connsiteY38" fmla="*/ 667011 h 817323"/>
              <a:gd name="connsiteX39" fmla="*/ 566802 w 792271"/>
              <a:gd name="connsiteY39" fmla="*/ 676405 h 817323"/>
              <a:gd name="connsiteX40" fmla="*/ 554276 w 792271"/>
              <a:gd name="connsiteY40" fmla="*/ 695194 h 817323"/>
              <a:gd name="connsiteX41" fmla="*/ 548013 w 792271"/>
              <a:gd name="connsiteY41" fmla="*/ 704589 h 817323"/>
              <a:gd name="connsiteX42" fmla="*/ 532356 w 792271"/>
              <a:gd name="connsiteY42" fmla="*/ 732773 h 817323"/>
              <a:gd name="connsiteX43" fmla="*/ 519830 w 792271"/>
              <a:gd name="connsiteY43" fmla="*/ 764088 h 817323"/>
              <a:gd name="connsiteX44" fmla="*/ 513567 w 792271"/>
              <a:gd name="connsiteY44" fmla="*/ 773482 h 817323"/>
              <a:gd name="connsiteX45" fmla="*/ 507304 w 792271"/>
              <a:gd name="connsiteY45" fmla="*/ 792271 h 817323"/>
              <a:gd name="connsiteX46" fmla="*/ 504172 w 792271"/>
              <a:gd name="connsiteY46" fmla="*/ 801666 h 817323"/>
              <a:gd name="connsiteX47" fmla="*/ 501041 w 792271"/>
              <a:gd name="connsiteY47" fmla="*/ 811060 h 817323"/>
              <a:gd name="connsiteX48" fmla="*/ 485383 w 792271"/>
              <a:gd name="connsiteY48" fmla="*/ 798534 h 817323"/>
              <a:gd name="connsiteX49" fmla="*/ 466594 w 792271"/>
              <a:gd name="connsiteY49" fmla="*/ 817323 h 817323"/>
              <a:gd name="connsiteX50" fmla="*/ 441542 w 792271"/>
              <a:gd name="connsiteY50" fmla="*/ 814192 h 817323"/>
              <a:gd name="connsiteX51" fmla="*/ 435279 w 792271"/>
              <a:gd name="connsiteY51" fmla="*/ 804797 h 817323"/>
              <a:gd name="connsiteX52" fmla="*/ 425885 w 792271"/>
              <a:gd name="connsiteY52" fmla="*/ 795403 h 817323"/>
              <a:gd name="connsiteX53" fmla="*/ 419622 w 792271"/>
              <a:gd name="connsiteY53" fmla="*/ 786008 h 817323"/>
              <a:gd name="connsiteX54" fmla="*/ 410227 w 792271"/>
              <a:gd name="connsiteY54" fmla="*/ 776614 h 817323"/>
              <a:gd name="connsiteX55" fmla="*/ 403964 w 792271"/>
              <a:gd name="connsiteY55" fmla="*/ 767219 h 817323"/>
              <a:gd name="connsiteX56" fmla="*/ 394569 w 792271"/>
              <a:gd name="connsiteY56" fmla="*/ 757825 h 817323"/>
              <a:gd name="connsiteX57" fmla="*/ 372649 w 792271"/>
              <a:gd name="connsiteY57" fmla="*/ 732773 h 817323"/>
              <a:gd name="connsiteX58" fmla="*/ 366386 w 792271"/>
              <a:gd name="connsiteY58" fmla="*/ 723378 h 817323"/>
              <a:gd name="connsiteX59" fmla="*/ 306887 w 792271"/>
              <a:gd name="connsiteY59" fmla="*/ 713984 h 817323"/>
              <a:gd name="connsiteX60" fmla="*/ 294361 w 792271"/>
              <a:gd name="connsiteY60" fmla="*/ 660748 h 817323"/>
              <a:gd name="connsiteX61" fmla="*/ 288098 w 792271"/>
              <a:gd name="connsiteY61" fmla="*/ 651353 h 817323"/>
              <a:gd name="connsiteX62" fmla="*/ 269309 w 792271"/>
              <a:gd name="connsiteY62" fmla="*/ 641959 h 817323"/>
              <a:gd name="connsiteX63" fmla="*/ 256783 w 792271"/>
              <a:gd name="connsiteY63" fmla="*/ 645090 h 817323"/>
              <a:gd name="connsiteX64" fmla="*/ 228600 w 792271"/>
              <a:gd name="connsiteY64" fmla="*/ 654485 h 817323"/>
              <a:gd name="connsiteX65" fmla="*/ 219205 w 792271"/>
              <a:gd name="connsiteY65" fmla="*/ 660748 h 817323"/>
              <a:gd name="connsiteX66" fmla="*/ 212942 w 792271"/>
              <a:gd name="connsiteY66" fmla="*/ 670142 h 817323"/>
              <a:gd name="connsiteX67" fmla="*/ 206679 w 792271"/>
              <a:gd name="connsiteY67" fmla="*/ 688931 h 817323"/>
              <a:gd name="connsiteX68" fmla="*/ 200416 w 792271"/>
              <a:gd name="connsiteY68" fmla="*/ 707721 h 817323"/>
              <a:gd name="connsiteX69" fmla="*/ 191022 w 792271"/>
              <a:gd name="connsiteY69" fmla="*/ 710852 h 817323"/>
              <a:gd name="connsiteX70" fmla="*/ 169101 w 792271"/>
              <a:gd name="connsiteY70" fmla="*/ 701458 h 817323"/>
              <a:gd name="connsiteX71" fmla="*/ 162838 w 792271"/>
              <a:gd name="connsiteY71" fmla="*/ 695194 h 817323"/>
              <a:gd name="connsiteX72" fmla="*/ 159706 w 792271"/>
              <a:gd name="connsiteY72" fmla="*/ 685800 h 817323"/>
              <a:gd name="connsiteX73" fmla="*/ 153443 w 792271"/>
              <a:gd name="connsiteY73" fmla="*/ 651353 h 817323"/>
              <a:gd name="connsiteX74" fmla="*/ 147180 w 792271"/>
              <a:gd name="connsiteY74" fmla="*/ 632564 h 817323"/>
              <a:gd name="connsiteX75" fmla="*/ 122128 w 792271"/>
              <a:gd name="connsiteY75" fmla="*/ 629433 h 817323"/>
              <a:gd name="connsiteX76" fmla="*/ 115865 w 792271"/>
              <a:gd name="connsiteY76" fmla="*/ 610644 h 817323"/>
              <a:gd name="connsiteX77" fmla="*/ 93945 w 792271"/>
              <a:gd name="connsiteY77" fmla="*/ 582460 h 817323"/>
              <a:gd name="connsiteX78" fmla="*/ 78287 w 792271"/>
              <a:gd name="connsiteY78" fmla="*/ 566803 h 817323"/>
              <a:gd name="connsiteX79" fmla="*/ 72024 w 792271"/>
              <a:gd name="connsiteY79" fmla="*/ 557408 h 817323"/>
              <a:gd name="connsiteX80" fmla="*/ 43841 w 792271"/>
              <a:gd name="connsiteY80" fmla="*/ 541751 h 817323"/>
              <a:gd name="connsiteX81" fmla="*/ 34446 w 792271"/>
              <a:gd name="connsiteY81" fmla="*/ 535488 h 817323"/>
              <a:gd name="connsiteX82" fmla="*/ 25052 w 792271"/>
              <a:gd name="connsiteY82" fmla="*/ 532356 h 817323"/>
              <a:gd name="connsiteX83" fmla="*/ 15657 w 792271"/>
              <a:gd name="connsiteY83" fmla="*/ 522962 h 817323"/>
              <a:gd name="connsiteX84" fmla="*/ 12526 w 792271"/>
              <a:gd name="connsiteY84" fmla="*/ 513567 h 817323"/>
              <a:gd name="connsiteX85" fmla="*/ 25052 w 792271"/>
              <a:gd name="connsiteY85" fmla="*/ 494778 h 817323"/>
              <a:gd name="connsiteX86" fmla="*/ 28183 w 792271"/>
              <a:gd name="connsiteY86" fmla="*/ 454068 h 817323"/>
              <a:gd name="connsiteX87" fmla="*/ 31315 w 792271"/>
              <a:gd name="connsiteY87" fmla="*/ 422753 h 817323"/>
              <a:gd name="connsiteX88" fmla="*/ 37578 w 792271"/>
              <a:gd name="connsiteY88" fmla="*/ 403964 h 817323"/>
              <a:gd name="connsiteX89" fmla="*/ 34446 w 792271"/>
              <a:gd name="connsiteY89" fmla="*/ 388307 h 817323"/>
              <a:gd name="connsiteX90" fmla="*/ 25052 w 792271"/>
              <a:gd name="connsiteY90" fmla="*/ 382044 h 817323"/>
              <a:gd name="connsiteX91" fmla="*/ 31315 w 792271"/>
              <a:gd name="connsiteY91" fmla="*/ 341334 h 817323"/>
              <a:gd name="connsiteX92" fmla="*/ 21920 w 792271"/>
              <a:gd name="connsiteY92" fmla="*/ 319414 h 817323"/>
              <a:gd name="connsiteX93" fmla="*/ 12526 w 792271"/>
              <a:gd name="connsiteY93" fmla="*/ 316282 h 817323"/>
              <a:gd name="connsiteX94" fmla="*/ 6263 w 792271"/>
              <a:gd name="connsiteY94" fmla="*/ 306888 h 817323"/>
              <a:gd name="connsiteX95" fmla="*/ 0 w 792271"/>
              <a:gd name="connsiteY95" fmla="*/ 288099 h 817323"/>
              <a:gd name="connsiteX96" fmla="*/ 3131 w 792271"/>
              <a:gd name="connsiteY96" fmla="*/ 259915 h 817323"/>
              <a:gd name="connsiteX97" fmla="*/ 25052 w 792271"/>
              <a:gd name="connsiteY97" fmla="*/ 260535 h 817323"/>
              <a:gd name="connsiteX98" fmla="*/ 43841 w 792271"/>
              <a:gd name="connsiteY98" fmla="*/ 278704 h 817323"/>
              <a:gd name="connsiteX99" fmla="*/ 46972 w 792271"/>
              <a:gd name="connsiteY99" fmla="*/ 288099 h 817323"/>
              <a:gd name="connsiteX100" fmla="*/ 56367 w 792271"/>
              <a:gd name="connsiteY100" fmla="*/ 291230 h 817323"/>
              <a:gd name="connsiteX101" fmla="*/ 100208 w 792271"/>
              <a:gd name="connsiteY101" fmla="*/ 288099 h 817323"/>
              <a:gd name="connsiteX102" fmla="*/ 118997 w 792271"/>
              <a:gd name="connsiteY102" fmla="*/ 272441 h 817323"/>
              <a:gd name="connsiteX103" fmla="*/ 122128 w 792271"/>
              <a:gd name="connsiteY103" fmla="*/ 263047 h 817323"/>
              <a:gd name="connsiteX104" fmla="*/ 118997 w 792271"/>
              <a:gd name="connsiteY104" fmla="*/ 237994 h 817323"/>
              <a:gd name="connsiteX105" fmla="*/ 106471 w 792271"/>
              <a:gd name="connsiteY105" fmla="*/ 219205 h 817323"/>
              <a:gd name="connsiteX106" fmla="*/ 97076 w 792271"/>
              <a:gd name="connsiteY106" fmla="*/ 200416 h 817323"/>
              <a:gd name="connsiteX107" fmla="*/ 128391 w 792271"/>
              <a:gd name="connsiteY107" fmla="*/ 184759 h 817323"/>
              <a:gd name="connsiteX108" fmla="*/ 137786 w 792271"/>
              <a:gd name="connsiteY108" fmla="*/ 175364 h 817323"/>
              <a:gd name="connsiteX109" fmla="*/ 153443 w 792271"/>
              <a:gd name="connsiteY109" fmla="*/ 159707 h 817323"/>
              <a:gd name="connsiteX110" fmla="*/ 172233 w 792271"/>
              <a:gd name="connsiteY110" fmla="*/ 153444 h 817323"/>
              <a:gd name="connsiteX111" fmla="*/ 178496 w 792271"/>
              <a:gd name="connsiteY111" fmla="*/ 144049 h 817323"/>
              <a:gd name="connsiteX112" fmla="*/ 184759 w 792271"/>
              <a:gd name="connsiteY112" fmla="*/ 115866 h 817323"/>
              <a:gd name="connsiteX113" fmla="*/ 187890 w 792271"/>
              <a:gd name="connsiteY113" fmla="*/ 100208 h 817323"/>
              <a:gd name="connsiteX114" fmla="*/ 191022 w 792271"/>
              <a:gd name="connsiteY114" fmla="*/ 78288 h 817323"/>
              <a:gd name="connsiteX115" fmla="*/ 187760 w 792271"/>
              <a:gd name="connsiteY115" fmla="*/ 54737 h 817323"/>
              <a:gd name="connsiteX116" fmla="*/ 214345 w 792271"/>
              <a:gd name="connsiteY116" fmla="*/ 48245 h 817323"/>
              <a:gd name="connsiteX117" fmla="*/ 264351 w 792271"/>
              <a:gd name="connsiteY117" fmla="*/ 43482 h 817323"/>
              <a:gd name="connsiteX118" fmla="*/ 284967 w 792271"/>
              <a:gd name="connsiteY118" fmla="*/ 62630 h 817323"/>
              <a:gd name="connsiteX119" fmla="*/ 297493 w 792271"/>
              <a:gd name="connsiteY119" fmla="*/ 81419 h 817323"/>
              <a:gd name="connsiteX120" fmla="*/ 316282 w 792271"/>
              <a:gd name="connsiteY120" fmla="*/ 87682 h 817323"/>
              <a:gd name="connsiteX121" fmla="*/ 356991 w 792271"/>
              <a:gd name="connsiteY121" fmla="*/ 93945 h 817323"/>
              <a:gd name="connsiteX122" fmla="*/ 397701 w 792271"/>
              <a:gd name="connsiteY122" fmla="*/ 90814 h 817323"/>
              <a:gd name="connsiteX123" fmla="*/ 419622 w 792271"/>
              <a:gd name="connsiteY123" fmla="*/ 65762 h 817323"/>
              <a:gd name="connsiteX124" fmla="*/ 429016 w 792271"/>
              <a:gd name="connsiteY124" fmla="*/ 59499 h 817323"/>
              <a:gd name="connsiteX125" fmla="*/ 438411 w 792271"/>
              <a:gd name="connsiteY125" fmla="*/ 68893 h 817323"/>
              <a:gd name="connsiteX126" fmla="*/ 441542 w 792271"/>
              <a:gd name="connsiteY126" fmla="*/ 78288 h 817323"/>
              <a:gd name="connsiteX127" fmla="*/ 457200 w 792271"/>
              <a:gd name="connsiteY127" fmla="*/ 75156 h 817323"/>
              <a:gd name="connsiteX128" fmla="*/ 466594 w 792271"/>
              <a:gd name="connsiteY128" fmla="*/ 68893 h 817323"/>
              <a:gd name="connsiteX129" fmla="*/ 469726 w 792271"/>
              <a:gd name="connsiteY129" fmla="*/ 59499 h 817323"/>
              <a:gd name="connsiteX130" fmla="*/ 475989 w 792271"/>
              <a:gd name="connsiteY130" fmla="*/ 50104 h 817323"/>
              <a:gd name="connsiteX131" fmla="*/ 482252 w 792271"/>
              <a:gd name="connsiteY131" fmla="*/ 37578 h 817323"/>
              <a:gd name="connsiteX132" fmla="*/ 510435 w 792271"/>
              <a:gd name="connsiteY132" fmla="*/ 25052 h 817323"/>
              <a:gd name="connsiteX133" fmla="*/ 519830 w 792271"/>
              <a:gd name="connsiteY133" fmla="*/ 18789 h 817323"/>
              <a:gd name="connsiteX134" fmla="*/ 538619 w 792271"/>
              <a:gd name="connsiteY134" fmla="*/ 3131 h 817323"/>
              <a:gd name="connsiteX135" fmla="*/ 548013 w 792271"/>
              <a:gd name="connsiteY135" fmla="*/ 0 h 817323"/>
              <a:gd name="connsiteX136" fmla="*/ 563671 w 792271"/>
              <a:gd name="connsiteY136" fmla="*/ 21921 h 817323"/>
              <a:gd name="connsiteX137" fmla="*/ 563671 w 792271"/>
              <a:gd name="connsiteY137" fmla="*/ 21921 h 817323"/>
              <a:gd name="connsiteX138" fmla="*/ 573065 w 792271"/>
              <a:gd name="connsiteY138" fmla="*/ 28184 h 817323"/>
              <a:gd name="connsiteX139" fmla="*/ 591854 w 792271"/>
              <a:gd name="connsiteY139" fmla="*/ 46973 h 817323"/>
              <a:gd name="connsiteX140" fmla="*/ 573065 w 792271"/>
              <a:gd name="connsiteY140" fmla="*/ 84551 h 817323"/>
              <a:gd name="connsiteX141" fmla="*/ 566802 w 792271"/>
              <a:gd name="connsiteY141" fmla="*/ 93945 h 817323"/>
              <a:gd name="connsiteX142" fmla="*/ 560539 w 792271"/>
              <a:gd name="connsiteY142" fmla="*/ 103340 h 817323"/>
              <a:gd name="connsiteX143" fmla="*/ 557408 w 792271"/>
              <a:gd name="connsiteY143" fmla="*/ 112734 h 817323"/>
              <a:gd name="connsiteX144" fmla="*/ 554276 w 792271"/>
              <a:gd name="connsiteY144" fmla="*/ 165970 h 817323"/>
              <a:gd name="connsiteX145" fmla="*/ 535487 w 792271"/>
              <a:gd name="connsiteY145" fmla="*/ 175364 h 817323"/>
              <a:gd name="connsiteX146" fmla="*/ 519830 w 792271"/>
              <a:gd name="connsiteY146" fmla="*/ 194153 h 817323"/>
              <a:gd name="connsiteX147" fmla="*/ 513567 w 792271"/>
              <a:gd name="connsiteY147" fmla="*/ 212942 h 817323"/>
              <a:gd name="connsiteX148" fmla="*/ 510435 w 792271"/>
              <a:gd name="connsiteY148" fmla="*/ 222337 h 817323"/>
              <a:gd name="connsiteX149" fmla="*/ 513567 w 792271"/>
              <a:gd name="connsiteY149" fmla="*/ 247389 h 817323"/>
              <a:gd name="connsiteX150" fmla="*/ 526093 w 792271"/>
              <a:gd name="connsiteY150" fmla="*/ 266178 h 817323"/>
              <a:gd name="connsiteX151" fmla="*/ 522961 w 792271"/>
              <a:gd name="connsiteY151" fmla="*/ 316282 h 817323"/>
              <a:gd name="connsiteX152" fmla="*/ 519830 w 792271"/>
              <a:gd name="connsiteY152" fmla="*/ 325677 h 817323"/>
              <a:gd name="connsiteX153" fmla="*/ 516698 w 792271"/>
              <a:gd name="connsiteY153" fmla="*/ 338203 h 817323"/>
              <a:gd name="connsiteX154" fmla="*/ 513567 w 792271"/>
              <a:gd name="connsiteY154" fmla="*/ 347597 h 817323"/>
              <a:gd name="connsiteX155" fmla="*/ 507304 w 792271"/>
              <a:gd name="connsiteY155" fmla="*/ 375781 h 817323"/>
              <a:gd name="connsiteX156" fmla="*/ 504172 w 792271"/>
              <a:gd name="connsiteY156" fmla="*/ 388307 h 817323"/>
              <a:gd name="connsiteX157" fmla="*/ 501041 w 792271"/>
              <a:gd name="connsiteY157" fmla="*/ 397701 h 817323"/>
              <a:gd name="connsiteX158" fmla="*/ 494778 w 792271"/>
              <a:gd name="connsiteY158" fmla="*/ 425885 h 817323"/>
              <a:gd name="connsiteX159" fmla="*/ 485383 w 792271"/>
              <a:gd name="connsiteY159" fmla="*/ 435279 h 817323"/>
              <a:gd name="connsiteX160" fmla="*/ 472857 w 792271"/>
              <a:gd name="connsiteY160" fmla="*/ 454068 h 817323"/>
              <a:gd name="connsiteX161" fmla="*/ 469726 w 792271"/>
              <a:gd name="connsiteY161" fmla="*/ 488515 h 817323"/>
              <a:gd name="connsiteX162" fmla="*/ 488515 w 792271"/>
              <a:gd name="connsiteY162" fmla="*/ 497910 h 817323"/>
              <a:gd name="connsiteX163" fmla="*/ 507304 w 792271"/>
              <a:gd name="connsiteY163" fmla="*/ 507304 h 817323"/>
              <a:gd name="connsiteX164" fmla="*/ 535487 w 792271"/>
              <a:gd name="connsiteY164" fmla="*/ 507304 h 817323"/>
              <a:gd name="connsiteX165" fmla="*/ 541750 w 792271"/>
              <a:gd name="connsiteY165" fmla="*/ 513567 h 817323"/>
              <a:gd name="connsiteX0" fmla="*/ 541750 w 792271"/>
              <a:gd name="connsiteY0" fmla="*/ 513567 h 817323"/>
              <a:gd name="connsiteX1" fmla="*/ 557408 w 792271"/>
              <a:gd name="connsiteY1" fmla="*/ 501041 h 817323"/>
              <a:gd name="connsiteX2" fmla="*/ 576197 w 792271"/>
              <a:gd name="connsiteY2" fmla="*/ 488515 h 817323"/>
              <a:gd name="connsiteX3" fmla="*/ 573065 w 792271"/>
              <a:gd name="connsiteY3" fmla="*/ 479121 h 817323"/>
              <a:gd name="connsiteX4" fmla="*/ 554276 w 792271"/>
              <a:gd name="connsiteY4" fmla="*/ 472858 h 817323"/>
              <a:gd name="connsiteX5" fmla="*/ 554276 w 792271"/>
              <a:gd name="connsiteY5" fmla="*/ 444674 h 817323"/>
              <a:gd name="connsiteX6" fmla="*/ 563671 w 792271"/>
              <a:gd name="connsiteY6" fmla="*/ 438411 h 817323"/>
              <a:gd name="connsiteX7" fmla="*/ 582460 w 792271"/>
              <a:gd name="connsiteY7" fmla="*/ 422753 h 817323"/>
              <a:gd name="connsiteX8" fmla="*/ 594986 w 792271"/>
              <a:gd name="connsiteY8" fmla="*/ 400833 h 817323"/>
              <a:gd name="connsiteX9" fmla="*/ 607512 w 792271"/>
              <a:gd name="connsiteY9" fmla="*/ 382044 h 817323"/>
              <a:gd name="connsiteX10" fmla="*/ 620038 w 792271"/>
              <a:gd name="connsiteY10" fmla="*/ 363255 h 817323"/>
              <a:gd name="connsiteX11" fmla="*/ 629433 w 792271"/>
              <a:gd name="connsiteY11" fmla="*/ 356992 h 817323"/>
              <a:gd name="connsiteX12" fmla="*/ 645090 w 792271"/>
              <a:gd name="connsiteY12" fmla="*/ 360123 h 817323"/>
              <a:gd name="connsiteX13" fmla="*/ 648222 w 792271"/>
              <a:gd name="connsiteY13" fmla="*/ 369518 h 817323"/>
              <a:gd name="connsiteX14" fmla="*/ 673404 w 792271"/>
              <a:gd name="connsiteY14" fmla="*/ 373269 h 817323"/>
              <a:gd name="connsiteX15" fmla="*/ 678037 w 792271"/>
              <a:gd name="connsiteY15" fmla="*/ 381163 h 817323"/>
              <a:gd name="connsiteX16" fmla="*/ 685049 w 792271"/>
              <a:gd name="connsiteY16" fmla="*/ 387426 h 817323"/>
              <a:gd name="connsiteX17" fmla="*/ 732772 w 792271"/>
              <a:gd name="connsiteY17" fmla="*/ 400833 h 817323"/>
              <a:gd name="connsiteX18" fmla="*/ 742167 w 792271"/>
              <a:gd name="connsiteY18" fmla="*/ 410227 h 817323"/>
              <a:gd name="connsiteX19" fmla="*/ 729641 w 792271"/>
              <a:gd name="connsiteY19" fmla="*/ 435279 h 817323"/>
              <a:gd name="connsiteX20" fmla="*/ 698326 w 792271"/>
              <a:gd name="connsiteY20" fmla="*/ 457200 h 817323"/>
              <a:gd name="connsiteX21" fmla="*/ 688931 w 792271"/>
              <a:gd name="connsiteY21" fmla="*/ 466594 h 817323"/>
              <a:gd name="connsiteX22" fmla="*/ 692063 w 792271"/>
              <a:gd name="connsiteY22" fmla="*/ 488515 h 817323"/>
              <a:gd name="connsiteX23" fmla="*/ 704589 w 792271"/>
              <a:gd name="connsiteY23" fmla="*/ 491647 h 817323"/>
              <a:gd name="connsiteX24" fmla="*/ 723378 w 792271"/>
              <a:gd name="connsiteY24" fmla="*/ 497910 h 817323"/>
              <a:gd name="connsiteX25" fmla="*/ 732772 w 792271"/>
              <a:gd name="connsiteY25" fmla="*/ 507304 h 817323"/>
              <a:gd name="connsiteX26" fmla="*/ 751561 w 792271"/>
              <a:gd name="connsiteY26" fmla="*/ 519830 h 817323"/>
              <a:gd name="connsiteX27" fmla="*/ 764087 w 792271"/>
              <a:gd name="connsiteY27" fmla="*/ 538619 h 817323"/>
              <a:gd name="connsiteX28" fmla="*/ 773482 w 792271"/>
              <a:gd name="connsiteY28" fmla="*/ 548014 h 817323"/>
              <a:gd name="connsiteX29" fmla="*/ 779745 w 792271"/>
              <a:gd name="connsiteY29" fmla="*/ 560540 h 817323"/>
              <a:gd name="connsiteX30" fmla="*/ 792271 w 792271"/>
              <a:gd name="connsiteY30" fmla="*/ 579329 h 817323"/>
              <a:gd name="connsiteX31" fmla="*/ 789139 w 792271"/>
              <a:gd name="connsiteY31" fmla="*/ 598118 h 817323"/>
              <a:gd name="connsiteX32" fmla="*/ 779745 w 792271"/>
              <a:gd name="connsiteY32" fmla="*/ 601249 h 817323"/>
              <a:gd name="connsiteX33" fmla="*/ 767219 w 792271"/>
              <a:gd name="connsiteY33" fmla="*/ 604381 h 817323"/>
              <a:gd name="connsiteX34" fmla="*/ 754693 w 792271"/>
              <a:gd name="connsiteY34" fmla="*/ 623170 h 817323"/>
              <a:gd name="connsiteX35" fmla="*/ 735904 w 792271"/>
              <a:gd name="connsiteY35" fmla="*/ 626301 h 817323"/>
              <a:gd name="connsiteX36" fmla="*/ 704589 w 792271"/>
              <a:gd name="connsiteY36" fmla="*/ 635696 h 817323"/>
              <a:gd name="connsiteX37" fmla="*/ 588723 w 792271"/>
              <a:gd name="connsiteY37" fmla="*/ 638827 h 817323"/>
              <a:gd name="connsiteX38" fmla="*/ 569934 w 792271"/>
              <a:gd name="connsiteY38" fmla="*/ 667011 h 817323"/>
              <a:gd name="connsiteX39" fmla="*/ 566802 w 792271"/>
              <a:gd name="connsiteY39" fmla="*/ 676405 h 817323"/>
              <a:gd name="connsiteX40" fmla="*/ 554276 w 792271"/>
              <a:gd name="connsiteY40" fmla="*/ 695194 h 817323"/>
              <a:gd name="connsiteX41" fmla="*/ 548013 w 792271"/>
              <a:gd name="connsiteY41" fmla="*/ 704589 h 817323"/>
              <a:gd name="connsiteX42" fmla="*/ 532356 w 792271"/>
              <a:gd name="connsiteY42" fmla="*/ 732773 h 817323"/>
              <a:gd name="connsiteX43" fmla="*/ 519830 w 792271"/>
              <a:gd name="connsiteY43" fmla="*/ 764088 h 817323"/>
              <a:gd name="connsiteX44" fmla="*/ 513567 w 792271"/>
              <a:gd name="connsiteY44" fmla="*/ 773482 h 817323"/>
              <a:gd name="connsiteX45" fmla="*/ 507304 w 792271"/>
              <a:gd name="connsiteY45" fmla="*/ 792271 h 817323"/>
              <a:gd name="connsiteX46" fmla="*/ 504172 w 792271"/>
              <a:gd name="connsiteY46" fmla="*/ 801666 h 817323"/>
              <a:gd name="connsiteX47" fmla="*/ 501041 w 792271"/>
              <a:gd name="connsiteY47" fmla="*/ 811060 h 817323"/>
              <a:gd name="connsiteX48" fmla="*/ 485383 w 792271"/>
              <a:gd name="connsiteY48" fmla="*/ 798534 h 817323"/>
              <a:gd name="connsiteX49" fmla="*/ 466594 w 792271"/>
              <a:gd name="connsiteY49" fmla="*/ 817323 h 817323"/>
              <a:gd name="connsiteX50" fmla="*/ 441542 w 792271"/>
              <a:gd name="connsiteY50" fmla="*/ 814192 h 817323"/>
              <a:gd name="connsiteX51" fmla="*/ 435279 w 792271"/>
              <a:gd name="connsiteY51" fmla="*/ 804797 h 817323"/>
              <a:gd name="connsiteX52" fmla="*/ 425885 w 792271"/>
              <a:gd name="connsiteY52" fmla="*/ 795403 h 817323"/>
              <a:gd name="connsiteX53" fmla="*/ 419622 w 792271"/>
              <a:gd name="connsiteY53" fmla="*/ 786008 h 817323"/>
              <a:gd name="connsiteX54" fmla="*/ 410227 w 792271"/>
              <a:gd name="connsiteY54" fmla="*/ 776614 h 817323"/>
              <a:gd name="connsiteX55" fmla="*/ 403964 w 792271"/>
              <a:gd name="connsiteY55" fmla="*/ 767219 h 817323"/>
              <a:gd name="connsiteX56" fmla="*/ 394569 w 792271"/>
              <a:gd name="connsiteY56" fmla="*/ 757825 h 817323"/>
              <a:gd name="connsiteX57" fmla="*/ 372649 w 792271"/>
              <a:gd name="connsiteY57" fmla="*/ 732773 h 817323"/>
              <a:gd name="connsiteX58" fmla="*/ 366386 w 792271"/>
              <a:gd name="connsiteY58" fmla="*/ 723378 h 817323"/>
              <a:gd name="connsiteX59" fmla="*/ 306887 w 792271"/>
              <a:gd name="connsiteY59" fmla="*/ 713984 h 817323"/>
              <a:gd name="connsiteX60" fmla="*/ 294361 w 792271"/>
              <a:gd name="connsiteY60" fmla="*/ 660748 h 817323"/>
              <a:gd name="connsiteX61" fmla="*/ 288098 w 792271"/>
              <a:gd name="connsiteY61" fmla="*/ 651353 h 817323"/>
              <a:gd name="connsiteX62" fmla="*/ 269309 w 792271"/>
              <a:gd name="connsiteY62" fmla="*/ 641959 h 817323"/>
              <a:gd name="connsiteX63" fmla="*/ 256783 w 792271"/>
              <a:gd name="connsiteY63" fmla="*/ 645090 h 817323"/>
              <a:gd name="connsiteX64" fmla="*/ 228600 w 792271"/>
              <a:gd name="connsiteY64" fmla="*/ 654485 h 817323"/>
              <a:gd name="connsiteX65" fmla="*/ 219205 w 792271"/>
              <a:gd name="connsiteY65" fmla="*/ 660748 h 817323"/>
              <a:gd name="connsiteX66" fmla="*/ 212942 w 792271"/>
              <a:gd name="connsiteY66" fmla="*/ 670142 h 817323"/>
              <a:gd name="connsiteX67" fmla="*/ 206679 w 792271"/>
              <a:gd name="connsiteY67" fmla="*/ 688931 h 817323"/>
              <a:gd name="connsiteX68" fmla="*/ 200416 w 792271"/>
              <a:gd name="connsiteY68" fmla="*/ 707721 h 817323"/>
              <a:gd name="connsiteX69" fmla="*/ 191022 w 792271"/>
              <a:gd name="connsiteY69" fmla="*/ 710852 h 817323"/>
              <a:gd name="connsiteX70" fmla="*/ 169101 w 792271"/>
              <a:gd name="connsiteY70" fmla="*/ 701458 h 817323"/>
              <a:gd name="connsiteX71" fmla="*/ 162838 w 792271"/>
              <a:gd name="connsiteY71" fmla="*/ 695194 h 817323"/>
              <a:gd name="connsiteX72" fmla="*/ 159706 w 792271"/>
              <a:gd name="connsiteY72" fmla="*/ 685800 h 817323"/>
              <a:gd name="connsiteX73" fmla="*/ 153443 w 792271"/>
              <a:gd name="connsiteY73" fmla="*/ 651353 h 817323"/>
              <a:gd name="connsiteX74" fmla="*/ 147180 w 792271"/>
              <a:gd name="connsiteY74" fmla="*/ 632564 h 817323"/>
              <a:gd name="connsiteX75" fmla="*/ 122128 w 792271"/>
              <a:gd name="connsiteY75" fmla="*/ 629433 h 817323"/>
              <a:gd name="connsiteX76" fmla="*/ 115865 w 792271"/>
              <a:gd name="connsiteY76" fmla="*/ 610644 h 817323"/>
              <a:gd name="connsiteX77" fmla="*/ 93945 w 792271"/>
              <a:gd name="connsiteY77" fmla="*/ 582460 h 817323"/>
              <a:gd name="connsiteX78" fmla="*/ 78287 w 792271"/>
              <a:gd name="connsiteY78" fmla="*/ 566803 h 817323"/>
              <a:gd name="connsiteX79" fmla="*/ 72024 w 792271"/>
              <a:gd name="connsiteY79" fmla="*/ 557408 h 817323"/>
              <a:gd name="connsiteX80" fmla="*/ 43841 w 792271"/>
              <a:gd name="connsiteY80" fmla="*/ 541751 h 817323"/>
              <a:gd name="connsiteX81" fmla="*/ 34446 w 792271"/>
              <a:gd name="connsiteY81" fmla="*/ 535488 h 817323"/>
              <a:gd name="connsiteX82" fmla="*/ 25052 w 792271"/>
              <a:gd name="connsiteY82" fmla="*/ 532356 h 817323"/>
              <a:gd name="connsiteX83" fmla="*/ 15657 w 792271"/>
              <a:gd name="connsiteY83" fmla="*/ 522962 h 817323"/>
              <a:gd name="connsiteX84" fmla="*/ 12526 w 792271"/>
              <a:gd name="connsiteY84" fmla="*/ 513567 h 817323"/>
              <a:gd name="connsiteX85" fmla="*/ 25052 w 792271"/>
              <a:gd name="connsiteY85" fmla="*/ 494778 h 817323"/>
              <a:gd name="connsiteX86" fmla="*/ 28183 w 792271"/>
              <a:gd name="connsiteY86" fmla="*/ 454068 h 817323"/>
              <a:gd name="connsiteX87" fmla="*/ 31315 w 792271"/>
              <a:gd name="connsiteY87" fmla="*/ 422753 h 817323"/>
              <a:gd name="connsiteX88" fmla="*/ 37578 w 792271"/>
              <a:gd name="connsiteY88" fmla="*/ 403964 h 817323"/>
              <a:gd name="connsiteX89" fmla="*/ 34446 w 792271"/>
              <a:gd name="connsiteY89" fmla="*/ 388307 h 817323"/>
              <a:gd name="connsiteX90" fmla="*/ 25052 w 792271"/>
              <a:gd name="connsiteY90" fmla="*/ 382044 h 817323"/>
              <a:gd name="connsiteX91" fmla="*/ 31315 w 792271"/>
              <a:gd name="connsiteY91" fmla="*/ 341334 h 817323"/>
              <a:gd name="connsiteX92" fmla="*/ 21920 w 792271"/>
              <a:gd name="connsiteY92" fmla="*/ 319414 h 817323"/>
              <a:gd name="connsiteX93" fmla="*/ 12526 w 792271"/>
              <a:gd name="connsiteY93" fmla="*/ 316282 h 817323"/>
              <a:gd name="connsiteX94" fmla="*/ 6263 w 792271"/>
              <a:gd name="connsiteY94" fmla="*/ 306888 h 817323"/>
              <a:gd name="connsiteX95" fmla="*/ 0 w 792271"/>
              <a:gd name="connsiteY95" fmla="*/ 288099 h 817323"/>
              <a:gd name="connsiteX96" fmla="*/ 3131 w 792271"/>
              <a:gd name="connsiteY96" fmla="*/ 259915 h 817323"/>
              <a:gd name="connsiteX97" fmla="*/ 25052 w 792271"/>
              <a:gd name="connsiteY97" fmla="*/ 260535 h 817323"/>
              <a:gd name="connsiteX98" fmla="*/ 43841 w 792271"/>
              <a:gd name="connsiteY98" fmla="*/ 278704 h 817323"/>
              <a:gd name="connsiteX99" fmla="*/ 46972 w 792271"/>
              <a:gd name="connsiteY99" fmla="*/ 288099 h 817323"/>
              <a:gd name="connsiteX100" fmla="*/ 56367 w 792271"/>
              <a:gd name="connsiteY100" fmla="*/ 291230 h 817323"/>
              <a:gd name="connsiteX101" fmla="*/ 100208 w 792271"/>
              <a:gd name="connsiteY101" fmla="*/ 288099 h 817323"/>
              <a:gd name="connsiteX102" fmla="*/ 118997 w 792271"/>
              <a:gd name="connsiteY102" fmla="*/ 272441 h 817323"/>
              <a:gd name="connsiteX103" fmla="*/ 122128 w 792271"/>
              <a:gd name="connsiteY103" fmla="*/ 263047 h 817323"/>
              <a:gd name="connsiteX104" fmla="*/ 118997 w 792271"/>
              <a:gd name="connsiteY104" fmla="*/ 237994 h 817323"/>
              <a:gd name="connsiteX105" fmla="*/ 106471 w 792271"/>
              <a:gd name="connsiteY105" fmla="*/ 219205 h 817323"/>
              <a:gd name="connsiteX106" fmla="*/ 97076 w 792271"/>
              <a:gd name="connsiteY106" fmla="*/ 200416 h 817323"/>
              <a:gd name="connsiteX107" fmla="*/ 128391 w 792271"/>
              <a:gd name="connsiteY107" fmla="*/ 184759 h 817323"/>
              <a:gd name="connsiteX108" fmla="*/ 137786 w 792271"/>
              <a:gd name="connsiteY108" fmla="*/ 175364 h 817323"/>
              <a:gd name="connsiteX109" fmla="*/ 153443 w 792271"/>
              <a:gd name="connsiteY109" fmla="*/ 159707 h 817323"/>
              <a:gd name="connsiteX110" fmla="*/ 172233 w 792271"/>
              <a:gd name="connsiteY110" fmla="*/ 153444 h 817323"/>
              <a:gd name="connsiteX111" fmla="*/ 178496 w 792271"/>
              <a:gd name="connsiteY111" fmla="*/ 144049 h 817323"/>
              <a:gd name="connsiteX112" fmla="*/ 184759 w 792271"/>
              <a:gd name="connsiteY112" fmla="*/ 115866 h 817323"/>
              <a:gd name="connsiteX113" fmla="*/ 187890 w 792271"/>
              <a:gd name="connsiteY113" fmla="*/ 100208 h 817323"/>
              <a:gd name="connsiteX114" fmla="*/ 191022 w 792271"/>
              <a:gd name="connsiteY114" fmla="*/ 78288 h 817323"/>
              <a:gd name="connsiteX115" fmla="*/ 187760 w 792271"/>
              <a:gd name="connsiteY115" fmla="*/ 54737 h 817323"/>
              <a:gd name="connsiteX116" fmla="*/ 214345 w 792271"/>
              <a:gd name="connsiteY116" fmla="*/ 48245 h 817323"/>
              <a:gd name="connsiteX117" fmla="*/ 264351 w 792271"/>
              <a:gd name="connsiteY117" fmla="*/ 43482 h 817323"/>
              <a:gd name="connsiteX118" fmla="*/ 284967 w 792271"/>
              <a:gd name="connsiteY118" fmla="*/ 62630 h 817323"/>
              <a:gd name="connsiteX119" fmla="*/ 297493 w 792271"/>
              <a:gd name="connsiteY119" fmla="*/ 81419 h 817323"/>
              <a:gd name="connsiteX120" fmla="*/ 316282 w 792271"/>
              <a:gd name="connsiteY120" fmla="*/ 87682 h 817323"/>
              <a:gd name="connsiteX121" fmla="*/ 356991 w 792271"/>
              <a:gd name="connsiteY121" fmla="*/ 93945 h 817323"/>
              <a:gd name="connsiteX122" fmla="*/ 397701 w 792271"/>
              <a:gd name="connsiteY122" fmla="*/ 90814 h 817323"/>
              <a:gd name="connsiteX123" fmla="*/ 419622 w 792271"/>
              <a:gd name="connsiteY123" fmla="*/ 65762 h 817323"/>
              <a:gd name="connsiteX124" fmla="*/ 429016 w 792271"/>
              <a:gd name="connsiteY124" fmla="*/ 59499 h 817323"/>
              <a:gd name="connsiteX125" fmla="*/ 438411 w 792271"/>
              <a:gd name="connsiteY125" fmla="*/ 68893 h 817323"/>
              <a:gd name="connsiteX126" fmla="*/ 441542 w 792271"/>
              <a:gd name="connsiteY126" fmla="*/ 78288 h 817323"/>
              <a:gd name="connsiteX127" fmla="*/ 457200 w 792271"/>
              <a:gd name="connsiteY127" fmla="*/ 75156 h 817323"/>
              <a:gd name="connsiteX128" fmla="*/ 466594 w 792271"/>
              <a:gd name="connsiteY128" fmla="*/ 68893 h 817323"/>
              <a:gd name="connsiteX129" fmla="*/ 469726 w 792271"/>
              <a:gd name="connsiteY129" fmla="*/ 59499 h 817323"/>
              <a:gd name="connsiteX130" fmla="*/ 475989 w 792271"/>
              <a:gd name="connsiteY130" fmla="*/ 50104 h 817323"/>
              <a:gd name="connsiteX131" fmla="*/ 482252 w 792271"/>
              <a:gd name="connsiteY131" fmla="*/ 37578 h 817323"/>
              <a:gd name="connsiteX132" fmla="*/ 510435 w 792271"/>
              <a:gd name="connsiteY132" fmla="*/ 25052 h 817323"/>
              <a:gd name="connsiteX133" fmla="*/ 519830 w 792271"/>
              <a:gd name="connsiteY133" fmla="*/ 18789 h 817323"/>
              <a:gd name="connsiteX134" fmla="*/ 538619 w 792271"/>
              <a:gd name="connsiteY134" fmla="*/ 3131 h 817323"/>
              <a:gd name="connsiteX135" fmla="*/ 548013 w 792271"/>
              <a:gd name="connsiteY135" fmla="*/ 0 h 817323"/>
              <a:gd name="connsiteX136" fmla="*/ 563671 w 792271"/>
              <a:gd name="connsiteY136" fmla="*/ 21921 h 817323"/>
              <a:gd name="connsiteX137" fmla="*/ 563671 w 792271"/>
              <a:gd name="connsiteY137" fmla="*/ 21921 h 817323"/>
              <a:gd name="connsiteX138" fmla="*/ 573065 w 792271"/>
              <a:gd name="connsiteY138" fmla="*/ 28184 h 817323"/>
              <a:gd name="connsiteX139" fmla="*/ 591854 w 792271"/>
              <a:gd name="connsiteY139" fmla="*/ 46973 h 817323"/>
              <a:gd name="connsiteX140" fmla="*/ 573065 w 792271"/>
              <a:gd name="connsiteY140" fmla="*/ 84551 h 817323"/>
              <a:gd name="connsiteX141" fmla="*/ 566802 w 792271"/>
              <a:gd name="connsiteY141" fmla="*/ 93945 h 817323"/>
              <a:gd name="connsiteX142" fmla="*/ 560539 w 792271"/>
              <a:gd name="connsiteY142" fmla="*/ 103340 h 817323"/>
              <a:gd name="connsiteX143" fmla="*/ 557408 w 792271"/>
              <a:gd name="connsiteY143" fmla="*/ 112734 h 817323"/>
              <a:gd name="connsiteX144" fmla="*/ 554276 w 792271"/>
              <a:gd name="connsiteY144" fmla="*/ 165970 h 817323"/>
              <a:gd name="connsiteX145" fmla="*/ 535487 w 792271"/>
              <a:gd name="connsiteY145" fmla="*/ 175364 h 817323"/>
              <a:gd name="connsiteX146" fmla="*/ 519830 w 792271"/>
              <a:gd name="connsiteY146" fmla="*/ 194153 h 817323"/>
              <a:gd name="connsiteX147" fmla="*/ 513567 w 792271"/>
              <a:gd name="connsiteY147" fmla="*/ 212942 h 817323"/>
              <a:gd name="connsiteX148" fmla="*/ 510435 w 792271"/>
              <a:gd name="connsiteY148" fmla="*/ 222337 h 817323"/>
              <a:gd name="connsiteX149" fmla="*/ 513567 w 792271"/>
              <a:gd name="connsiteY149" fmla="*/ 247389 h 817323"/>
              <a:gd name="connsiteX150" fmla="*/ 526093 w 792271"/>
              <a:gd name="connsiteY150" fmla="*/ 266178 h 817323"/>
              <a:gd name="connsiteX151" fmla="*/ 522961 w 792271"/>
              <a:gd name="connsiteY151" fmla="*/ 316282 h 817323"/>
              <a:gd name="connsiteX152" fmla="*/ 519830 w 792271"/>
              <a:gd name="connsiteY152" fmla="*/ 325677 h 817323"/>
              <a:gd name="connsiteX153" fmla="*/ 516698 w 792271"/>
              <a:gd name="connsiteY153" fmla="*/ 338203 h 817323"/>
              <a:gd name="connsiteX154" fmla="*/ 513567 w 792271"/>
              <a:gd name="connsiteY154" fmla="*/ 347597 h 817323"/>
              <a:gd name="connsiteX155" fmla="*/ 507304 w 792271"/>
              <a:gd name="connsiteY155" fmla="*/ 375781 h 817323"/>
              <a:gd name="connsiteX156" fmla="*/ 504172 w 792271"/>
              <a:gd name="connsiteY156" fmla="*/ 388307 h 817323"/>
              <a:gd name="connsiteX157" fmla="*/ 501041 w 792271"/>
              <a:gd name="connsiteY157" fmla="*/ 397701 h 817323"/>
              <a:gd name="connsiteX158" fmla="*/ 494778 w 792271"/>
              <a:gd name="connsiteY158" fmla="*/ 425885 h 817323"/>
              <a:gd name="connsiteX159" fmla="*/ 485383 w 792271"/>
              <a:gd name="connsiteY159" fmla="*/ 435279 h 817323"/>
              <a:gd name="connsiteX160" fmla="*/ 472857 w 792271"/>
              <a:gd name="connsiteY160" fmla="*/ 454068 h 817323"/>
              <a:gd name="connsiteX161" fmla="*/ 469726 w 792271"/>
              <a:gd name="connsiteY161" fmla="*/ 488515 h 817323"/>
              <a:gd name="connsiteX162" fmla="*/ 488515 w 792271"/>
              <a:gd name="connsiteY162" fmla="*/ 497910 h 817323"/>
              <a:gd name="connsiteX163" fmla="*/ 507304 w 792271"/>
              <a:gd name="connsiteY163" fmla="*/ 507304 h 817323"/>
              <a:gd name="connsiteX164" fmla="*/ 535487 w 792271"/>
              <a:gd name="connsiteY164" fmla="*/ 507304 h 817323"/>
              <a:gd name="connsiteX165" fmla="*/ 541750 w 792271"/>
              <a:gd name="connsiteY165" fmla="*/ 513567 h 817323"/>
              <a:gd name="connsiteX0" fmla="*/ 541750 w 792271"/>
              <a:gd name="connsiteY0" fmla="*/ 513567 h 817323"/>
              <a:gd name="connsiteX1" fmla="*/ 557408 w 792271"/>
              <a:gd name="connsiteY1" fmla="*/ 501041 h 817323"/>
              <a:gd name="connsiteX2" fmla="*/ 576197 w 792271"/>
              <a:gd name="connsiteY2" fmla="*/ 488515 h 817323"/>
              <a:gd name="connsiteX3" fmla="*/ 573065 w 792271"/>
              <a:gd name="connsiteY3" fmla="*/ 479121 h 817323"/>
              <a:gd name="connsiteX4" fmla="*/ 554276 w 792271"/>
              <a:gd name="connsiteY4" fmla="*/ 472858 h 817323"/>
              <a:gd name="connsiteX5" fmla="*/ 554276 w 792271"/>
              <a:gd name="connsiteY5" fmla="*/ 444674 h 817323"/>
              <a:gd name="connsiteX6" fmla="*/ 563671 w 792271"/>
              <a:gd name="connsiteY6" fmla="*/ 438411 h 817323"/>
              <a:gd name="connsiteX7" fmla="*/ 582460 w 792271"/>
              <a:gd name="connsiteY7" fmla="*/ 422753 h 817323"/>
              <a:gd name="connsiteX8" fmla="*/ 594986 w 792271"/>
              <a:gd name="connsiteY8" fmla="*/ 400833 h 817323"/>
              <a:gd name="connsiteX9" fmla="*/ 607512 w 792271"/>
              <a:gd name="connsiteY9" fmla="*/ 382044 h 817323"/>
              <a:gd name="connsiteX10" fmla="*/ 620038 w 792271"/>
              <a:gd name="connsiteY10" fmla="*/ 363255 h 817323"/>
              <a:gd name="connsiteX11" fmla="*/ 629433 w 792271"/>
              <a:gd name="connsiteY11" fmla="*/ 356992 h 817323"/>
              <a:gd name="connsiteX12" fmla="*/ 645090 w 792271"/>
              <a:gd name="connsiteY12" fmla="*/ 360123 h 817323"/>
              <a:gd name="connsiteX13" fmla="*/ 657747 w 792271"/>
              <a:gd name="connsiteY13" fmla="*/ 359993 h 817323"/>
              <a:gd name="connsiteX14" fmla="*/ 673404 w 792271"/>
              <a:gd name="connsiteY14" fmla="*/ 373269 h 817323"/>
              <a:gd name="connsiteX15" fmla="*/ 678037 w 792271"/>
              <a:gd name="connsiteY15" fmla="*/ 381163 h 817323"/>
              <a:gd name="connsiteX16" fmla="*/ 685049 w 792271"/>
              <a:gd name="connsiteY16" fmla="*/ 387426 h 817323"/>
              <a:gd name="connsiteX17" fmla="*/ 732772 w 792271"/>
              <a:gd name="connsiteY17" fmla="*/ 400833 h 817323"/>
              <a:gd name="connsiteX18" fmla="*/ 742167 w 792271"/>
              <a:gd name="connsiteY18" fmla="*/ 410227 h 817323"/>
              <a:gd name="connsiteX19" fmla="*/ 729641 w 792271"/>
              <a:gd name="connsiteY19" fmla="*/ 435279 h 817323"/>
              <a:gd name="connsiteX20" fmla="*/ 698326 w 792271"/>
              <a:gd name="connsiteY20" fmla="*/ 457200 h 817323"/>
              <a:gd name="connsiteX21" fmla="*/ 688931 w 792271"/>
              <a:gd name="connsiteY21" fmla="*/ 466594 h 817323"/>
              <a:gd name="connsiteX22" fmla="*/ 692063 w 792271"/>
              <a:gd name="connsiteY22" fmla="*/ 488515 h 817323"/>
              <a:gd name="connsiteX23" fmla="*/ 704589 w 792271"/>
              <a:gd name="connsiteY23" fmla="*/ 491647 h 817323"/>
              <a:gd name="connsiteX24" fmla="*/ 723378 w 792271"/>
              <a:gd name="connsiteY24" fmla="*/ 497910 h 817323"/>
              <a:gd name="connsiteX25" fmla="*/ 732772 w 792271"/>
              <a:gd name="connsiteY25" fmla="*/ 507304 h 817323"/>
              <a:gd name="connsiteX26" fmla="*/ 751561 w 792271"/>
              <a:gd name="connsiteY26" fmla="*/ 519830 h 817323"/>
              <a:gd name="connsiteX27" fmla="*/ 764087 w 792271"/>
              <a:gd name="connsiteY27" fmla="*/ 538619 h 817323"/>
              <a:gd name="connsiteX28" fmla="*/ 773482 w 792271"/>
              <a:gd name="connsiteY28" fmla="*/ 548014 h 817323"/>
              <a:gd name="connsiteX29" fmla="*/ 779745 w 792271"/>
              <a:gd name="connsiteY29" fmla="*/ 560540 h 817323"/>
              <a:gd name="connsiteX30" fmla="*/ 792271 w 792271"/>
              <a:gd name="connsiteY30" fmla="*/ 579329 h 817323"/>
              <a:gd name="connsiteX31" fmla="*/ 789139 w 792271"/>
              <a:gd name="connsiteY31" fmla="*/ 598118 h 817323"/>
              <a:gd name="connsiteX32" fmla="*/ 779745 w 792271"/>
              <a:gd name="connsiteY32" fmla="*/ 601249 h 817323"/>
              <a:gd name="connsiteX33" fmla="*/ 767219 w 792271"/>
              <a:gd name="connsiteY33" fmla="*/ 604381 h 817323"/>
              <a:gd name="connsiteX34" fmla="*/ 754693 w 792271"/>
              <a:gd name="connsiteY34" fmla="*/ 623170 h 817323"/>
              <a:gd name="connsiteX35" fmla="*/ 735904 w 792271"/>
              <a:gd name="connsiteY35" fmla="*/ 626301 h 817323"/>
              <a:gd name="connsiteX36" fmla="*/ 704589 w 792271"/>
              <a:gd name="connsiteY36" fmla="*/ 635696 h 817323"/>
              <a:gd name="connsiteX37" fmla="*/ 588723 w 792271"/>
              <a:gd name="connsiteY37" fmla="*/ 638827 h 817323"/>
              <a:gd name="connsiteX38" fmla="*/ 569934 w 792271"/>
              <a:gd name="connsiteY38" fmla="*/ 667011 h 817323"/>
              <a:gd name="connsiteX39" fmla="*/ 566802 w 792271"/>
              <a:gd name="connsiteY39" fmla="*/ 676405 h 817323"/>
              <a:gd name="connsiteX40" fmla="*/ 554276 w 792271"/>
              <a:gd name="connsiteY40" fmla="*/ 695194 h 817323"/>
              <a:gd name="connsiteX41" fmla="*/ 548013 w 792271"/>
              <a:gd name="connsiteY41" fmla="*/ 704589 h 817323"/>
              <a:gd name="connsiteX42" fmla="*/ 532356 w 792271"/>
              <a:gd name="connsiteY42" fmla="*/ 732773 h 817323"/>
              <a:gd name="connsiteX43" fmla="*/ 519830 w 792271"/>
              <a:gd name="connsiteY43" fmla="*/ 764088 h 817323"/>
              <a:gd name="connsiteX44" fmla="*/ 513567 w 792271"/>
              <a:gd name="connsiteY44" fmla="*/ 773482 h 817323"/>
              <a:gd name="connsiteX45" fmla="*/ 507304 w 792271"/>
              <a:gd name="connsiteY45" fmla="*/ 792271 h 817323"/>
              <a:gd name="connsiteX46" fmla="*/ 504172 w 792271"/>
              <a:gd name="connsiteY46" fmla="*/ 801666 h 817323"/>
              <a:gd name="connsiteX47" fmla="*/ 501041 w 792271"/>
              <a:gd name="connsiteY47" fmla="*/ 811060 h 817323"/>
              <a:gd name="connsiteX48" fmla="*/ 485383 w 792271"/>
              <a:gd name="connsiteY48" fmla="*/ 798534 h 817323"/>
              <a:gd name="connsiteX49" fmla="*/ 466594 w 792271"/>
              <a:gd name="connsiteY49" fmla="*/ 817323 h 817323"/>
              <a:gd name="connsiteX50" fmla="*/ 441542 w 792271"/>
              <a:gd name="connsiteY50" fmla="*/ 814192 h 817323"/>
              <a:gd name="connsiteX51" fmla="*/ 435279 w 792271"/>
              <a:gd name="connsiteY51" fmla="*/ 804797 h 817323"/>
              <a:gd name="connsiteX52" fmla="*/ 425885 w 792271"/>
              <a:gd name="connsiteY52" fmla="*/ 795403 h 817323"/>
              <a:gd name="connsiteX53" fmla="*/ 419622 w 792271"/>
              <a:gd name="connsiteY53" fmla="*/ 786008 h 817323"/>
              <a:gd name="connsiteX54" fmla="*/ 410227 w 792271"/>
              <a:gd name="connsiteY54" fmla="*/ 776614 h 817323"/>
              <a:gd name="connsiteX55" fmla="*/ 403964 w 792271"/>
              <a:gd name="connsiteY55" fmla="*/ 767219 h 817323"/>
              <a:gd name="connsiteX56" fmla="*/ 394569 w 792271"/>
              <a:gd name="connsiteY56" fmla="*/ 757825 h 817323"/>
              <a:gd name="connsiteX57" fmla="*/ 372649 w 792271"/>
              <a:gd name="connsiteY57" fmla="*/ 732773 h 817323"/>
              <a:gd name="connsiteX58" fmla="*/ 366386 w 792271"/>
              <a:gd name="connsiteY58" fmla="*/ 723378 h 817323"/>
              <a:gd name="connsiteX59" fmla="*/ 306887 w 792271"/>
              <a:gd name="connsiteY59" fmla="*/ 713984 h 817323"/>
              <a:gd name="connsiteX60" fmla="*/ 294361 w 792271"/>
              <a:gd name="connsiteY60" fmla="*/ 660748 h 817323"/>
              <a:gd name="connsiteX61" fmla="*/ 288098 w 792271"/>
              <a:gd name="connsiteY61" fmla="*/ 651353 h 817323"/>
              <a:gd name="connsiteX62" fmla="*/ 269309 w 792271"/>
              <a:gd name="connsiteY62" fmla="*/ 641959 h 817323"/>
              <a:gd name="connsiteX63" fmla="*/ 256783 w 792271"/>
              <a:gd name="connsiteY63" fmla="*/ 645090 h 817323"/>
              <a:gd name="connsiteX64" fmla="*/ 228600 w 792271"/>
              <a:gd name="connsiteY64" fmla="*/ 654485 h 817323"/>
              <a:gd name="connsiteX65" fmla="*/ 219205 w 792271"/>
              <a:gd name="connsiteY65" fmla="*/ 660748 h 817323"/>
              <a:gd name="connsiteX66" fmla="*/ 212942 w 792271"/>
              <a:gd name="connsiteY66" fmla="*/ 670142 h 817323"/>
              <a:gd name="connsiteX67" fmla="*/ 206679 w 792271"/>
              <a:gd name="connsiteY67" fmla="*/ 688931 h 817323"/>
              <a:gd name="connsiteX68" fmla="*/ 200416 w 792271"/>
              <a:gd name="connsiteY68" fmla="*/ 707721 h 817323"/>
              <a:gd name="connsiteX69" fmla="*/ 191022 w 792271"/>
              <a:gd name="connsiteY69" fmla="*/ 710852 h 817323"/>
              <a:gd name="connsiteX70" fmla="*/ 169101 w 792271"/>
              <a:gd name="connsiteY70" fmla="*/ 701458 h 817323"/>
              <a:gd name="connsiteX71" fmla="*/ 162838 w 792271"/>
              <a:gd name="connsiteY71" fmla="*/ 695194 h 817323"/>
              <a:gd name="connsiteX72" fmla="*/ 159706 w 792271"/>
              <a:gd name="connsiteY72" fmla="*/ 685800 h 817323"/>
              <a:gd name="connsiteX73" fmla="*/ 153443 w 792271"/>
              <a:gd name="connsiteY73" fmla="*/ 651353 h 817323"/>
              <a:gd name="connsiteX74" fmla="*/ 147180 w 792271"/>
              <a:gd name="connsiteY74" fmla="*/ 632564 h 817323"/>
              <a:gd name="connsiteX75" fmla="*/ 122128 w 792271"/>
              <a:gd name="connsiteY75" fmla="*/ 629433 h 817323"/>
              <a:gd name="connsiteX76" fmla="*/ 115865 w 792271"/>
              <a:gd name="connsiteY76" fmla="*/ 610644 h 817323"/>
              <a:gd name="connsiteX77" fmla="*/ 93945 w 792271"/>
              <a:gd name="connsiteY77" fmla="*/ 582460 h 817323"/>
              <a:gd name="connsiteX78" fmla="*/ 78287 w 792271"/>
              <a:gd name="connsiteY78" fmla="*/ 566803 h 817323"/>
              <a:gd name="connsiteX79" fmla="*/ 72024 w 792271"/>
              <a:gd name="connsiteY79" fmla="*/ 557408 h 817323"/>
              <a:gd name="connsiteX80" fmla="*/ 43841 w 792271"/>
              <a:gd name="connsiteY80" fmla="*/ 541751 h 817323"/>
              <a:gd name="connsiteX81" fmla="*/ 34446 w 792271"/>
              <a:gd name="connsiteY81" fmla="*/ 535488 h 817323"/>
              <a:gd name="connsiteX82" fmla="*/ 25052 w 792271"/>
              <a:gd name="connsiteY82" fmla="*/ 532356 h 817323"/>
              <a:gd name="connsiteX83" fmla="*/ 15657 w 792271"/>
              <a:gd name="connsiteY83" fmla="*/ 522962 h 817323"/>
              <a:gd name="connsiteX84" fmla="*/ 12526 w 792271"/>
              <a:gd name="connsiteY84" fmla="*/ 513567 h 817323"/>
              <a:gd name="connsiteX85" fmla="*/ 25052 w 792271"/>
              <a:gd name="connsiteY85" fmla="*/ 494778 h 817323"/>
              <a:gd name="connsiteX86" fmla="*/ 28183 w 792271"/>
              <a:gd name="connsiteY86" fmla="*/ 454068 h 817323"/>
              <a:gd name="connsiteX87" fmla="*/ 31315 w 792271"/>
              <a:gd name="connsiteY87" fmla="*/ 422753 h 817323"/>
              <a:gd name="connsiteX88" fmla="*/ 37578 w 792271"/>
              <a:gd name="connsiteY88" fmla="*/ 403964 h 817323"/>
              <a:gd name="connsiteX89" fmla="*/ 34446 w 792271"/>
              <a:gd name="connsiteY89" fmla="*/ 388307 h 817323"/>
              <a:gd name="connsiteX90" fmla="*/ 25052 w 792271"/>
              <a:gd name="connsiteY90" fmla="*/ 382044 h 817323"/>
              <a:gd name="connsiteX91" fmla="*/ 31315 w 792271"/>
              <a:gd name="connsiteY91" fmla="*/ 341334 h 817323"/>
              <a:gd name="connsiteX92" fmla="*/ 21920 w 792271"/>
              <a:gd name="connsiteY92" fmla="*/ 319414 h 817323"/>
              <a:gd name="connsiteX93" fmla="*/ 12526 w 792271"/>
              <a:gd name="connsiteY93" fmla="*/ 316282 h 817323"/>
              <a:gd name="connsiteX94" fmla="*/ 6263 w 792271"/>
              <a:gd name="connsiteY94" fmla="*/ 306888 h 817323"/>
              <a:gd name="connsiteX95" fmla="*/ 0 w 792271"/>
              <a:gd name="connsiteY95" fmla="*/ 288099 h 817323"/>
              <a:gd name="connsiteX96" fmla="*/ 3131 w 792271"/>
              <a:gd name="connsiteY96" fmla="*/ 259915 h 817323"/>
              <a:gd name="connsiteX97" fmla="*/ 25052 w 792271"/>
              <a:gd name="connsiteY97" fmla="*/ 260535 h 817323"/>
              <a:gd name="connsiteX98" fmla="*/ 43841 w 792271"/>
              <a:gd name="connsiteY98" fmla="*/ 278704 h 817323"/>
              <a:gd name="connsiteX99" fmla="*/ 46972 w 792271"/>
              <a:gd name="connsiteY99" fmla="*/ 288099 h 817323"/>
              <a:gd name="connsiteX100" fmla="*/ 56367 w 792271"/>
              <a:gd name="connsiteY100" fmla="*/ 291230 h 817323"/>
              <a:gd name="connsiteX101" fmla="*/ 100208 w 792271"/>
              <a:gd name="connsiteY101" fmla="*/ 288099 h 817323"/>
              <a:gd name="connsiteX102" fmla="*/ 118997 w 792271"/>
              <a:gd name="connsiteY102" fmla="*/ 272441 h 817323"/>
              <a:gd name="connsiteX103" fmla="*/ 122128 w 792271"/>
              <a:gd name="connsiteY103" fmla="*/ 263047 h 817323"/>
              <a:gd name="connsiteX104" fmla="*/ 118997 w 792271"/>
              <a:gd name="connsiteY104" fmla="*/ 237994 h 817323"/>
              <a:gd name="connsiteX105" fmla="*/ 106471 w 792271"/>
              <a:gd name="connsiteY105" fmla="*/ 219205 h 817323"/>
              <a:gd name="connsiteX106" fmla="*/ 97076 w 792271"/>
              <a:gd name="connsiteY106" fmla="*/ 200416 h 817323"/>
              <a:gd name="connsiteX107" fmla="*/ 128391 w 792271"/>
              <a:gd name="connsiteY107" fmla="*/ 184759 h 817323"/>
              <a:gd name="connsiteX108" fmla="*/ 137786 w 792271"/>
              <a:gd name="connsiteY108" fmla="*/ 175364 h 817323"/>
              <a:gd name="connsiteX109" fmla="*/ 153443 w 792271"/>
              <a:gd name="connsiteY109" fmla="*/ 159707 h 817323"/>
              <a:gd name="connsiteX110" fmla="*/ 172233 w 792271"/>
              <a:gd name="connsiteY110" fmla="*/ 153444 h 817323"/>
              <a:gd name="connsiteX111" fmla="*/ 178496 w 792271"/>
              <a:gd name="connsiteY111" fmla="*/ 144049 h 817323"/>
              <a:gd name="connsiteX112" fmla="*/ 184759 w 792271"/>
              <a:gd name="connsiteY112" fmla="*/ 115866 h 817323"/>
              <a:gd name="connsiteX113" fmla="*/ 187890 w 792271"/>
              <a:gd name="connsiteY113" fmla="*/ 100208 h 817323"/>
              <a:gd name="connsiteX114" fmla="*/ 191022 w 792271"/>
              <a:gd name="connsiteY114" fmla="*/ 78288 h 817323"/>
              <a:gd name="connsiteX115" fmla="*/ 187760 w 792271"/>
              <a:gd name="connsiteY115" fmla="*/ 54737 h 817323"/>
              <a:gd name="connsiteX116" fmla="*/ 214345 w 792271"/>
              <a:gd name="connsiteY116" fmla="*/ 48245 h 817323"/>
              <a:gd name="connsiteX117" fmla="*/ 264351 w 792271"/>
              <a:gd name="connsiteY117" fmla="*/ 43482 h 817323"/>
              <a:gd name="connsiteX118" fmla="*/ 284967 w 792271"/>
              <a:gd name="connsiteY118" fmla="*/ 62630 h 817323"/>
              <a:gd name="connsiteX119" fmla="*/ 297493 w 792271"/>
              <a:gd name="connsiteY119" fmla="*/ 81419 h 817323"/>
              <a:gd name="connsiteX120" fmla="*/ 316282 w 792271"/>
              <a:gd name="connsiteY120" fmla="*/ 87682 h 817323"/>
              <a:gd name="connsiteX121" fmla="*/ 356991 w 792271"/>
              <a:gd name="connsiteY121" fmla="*/ 93945 h 817323"/>
              <a:gd name="connsiteX122" fmla="*/ 397701 w 792271"/>
              <a:gd name="connsiteY122" fmla="*/ 90814 h 817323"/>
              <a:gd name="connsiteX123" fmla="*/ 419622 w 792271"/>
              <a:gd name="connsiteY123" fmla="*/ 65762 h 817323"/>
              <a:gd name="connsiteX124" fmla="*/ 429016 w 792271"/>
              <a:gd name="connsiteY124" fmla="*/ 59499 h 817323"/>
              <a:gd name="connsiteX125" fmla="*/ 438411 w 792271"/>
              <a:gd name="connsiteY125" fmla="*/ 68893 h 817323"/>
              <a:gd name="connsiteX126" fmla="*/ 441542 w 792271"/>
              <a:gd name="connsiteY126" fmla="*/ 78288 h 817323"/>
              <a:gd name="connsiteX127" fmla="*/ 457200 w 792271"/>
              <a:gd name="connsiteY127" fmla="*/ 75156 h 817323"/>
              <a:gd name="connsiteX128" fmla="*/ 466594 w 792271"/>
              <a:gd name="connsiteY128" fmla="*/ 68893 h 817323"/>
              <a:gd name="connsiteX129" fmla="*/ 469726 w 792271"/>
              <a:gd name="connsiteY129" fmla="*/ 59499 h 817323"/>
              <a:gd name="connsiteX130" fmla="*/ 475989 w 792271"/>
              <a:gd name="connsiteY130" fmla="*/ 50104 h 817323"/>
              <a:gd name="connsiteX131" fmla="*/ 482252 w 792271"/>
              <a:gd name="connsiteY131" fmla="*/ 37578 h 817323"/>
              <a:gd name="connsiteX132" fmla="*/ 510435 w 792271"/>
              <a:gd name="connsiteY132" fmla="*/ 25052 h 817323"/>
              <a:gd name="connsiteX133" fmla="*/ 519830 w 792271"/>
              <a:gd name="connsiteY133" fmla="*/ 18789 h 817323"/>
              <a:gd name="connsiteX134" fmla="*/ 538619 w 792271"/>
              <a:gd name="connsiteY134" fmla="*/ 3131 h 817323"/>
              <a:gd name="connsiteX135" fmla="*/ 548013 w 792271"/>
              <a:gd name="connsiteY135" fmla="*/ 0 h 817323"/>
              <a:gd name="connsiteX136" fmla="*/ 563671 w 792271"/>
              <a:gd name="connsiteY136" fmla="*/ 21921 h 817323"/>
              <a:gd name="connsiteX137" fmla="*/ 563671 w 792271"/>
              <a:gd name="connsiteY137" fmla="*/ 21921 h 817323"/>
              <a:gd name="connsiteX138" fmla="*/ 573065 w 792271"/>
              <a:gd name="connsiteY138" fmla="*/ 28184 h 817323"/>
              <a:gd name="connsiteX139" fmla="*/ 591854 w 792271"/>
              <a:gd name="connsiteY139" fmla="*/ 46973 h 817323"/>
              <a:gd name="connsiteX140" fmla="*/ 573065 w 792271"/>
              <a:gd name="connsiteY140" fmla="*/ 84551 h 817323"/>
              <a:gd name="connsiteX141" fmla="*/ 566802 w 792271"/>
              <a:gd name="connsiteY141" fmla="*/ 93945 h 817323"/>
              <a:gd name="connsiteX142" fmla="*/ 560539 w 792271"/>
              <a:gd name="connsiteY142" fmla="*/ 103340 h 817323"/>
              <a:gd name="connsiteX143" fmla="*/ 557408 w 792271"/>
              <a:gd name="connsiteY143" fmla="*/ 112734 h 817323"/>
              <a:gd name="connsiteX144" fmla="*/ 554276 w 792271"/>
              <a:gd name="connsiteY144" fmla="*/ 165970 h 817323"/>
              <a:gd name="connsiteX145" fmla="*/ 535487 w 792271"/>
              <a:gd name="connsiteY145" fmla="*/ 175364 h 817323"/>
              <a:gd name="connsiteX146" fmla="*/ 519830 w 792271"/>
              <a:gd name="connsiteY146" fmla="*/ 194153 h 817323"/>
              <a:gd name="connsiteX147" fmla="*/ 513567 w 792271"/>
              <a:gd name="connsiteY147" fmla="*/ 212942 h 817323"/>
              <a:gd name="connsiteX148" fmla="*/ 510435 w 792271"/>
              <a:gd name="connsiteY148" fmla="*/ 222337 h 817323"/>
              <a:gd name="connsiteX149" fmla="*/ 513567 w 792271"/>
              <a:gd name="connsiteY149" fmla="*/ 247389 h 817323"/>
              <a:gd name="connsiteX150" fmla="*/ 526093 w 792271"/>
              <a:gd name="connsiteY150" fmla="*/ 266178 h 817323"/>
              <a:gd name="connsiteX151" fmla="*/ 522961 w 792271"/>
              <a:gd name="connsiteY151" fmla="*/ 316282 h 817323"/>
              <a:gd name="connsiteX152" fmla="*/ 519830 w 792271"/>
              <a:gd name="connsiteY152" fmla="*/ 325677 h 817323"/>
              <a:gd name="connsiteX153" fmla="*/ 516698 w 792271"/>
              <a:gd name="connsiteY153" fmla="*/ 338203 h 817323"/>
              <a:gd name="connsiteX154" fmla="*/ 513567 w 792271"/>
              <a:gd name="connsiteY154" fmla="*/ 347597 h 817323"/>
              <a:gd name="connsiteX155" fmla="*/ 507304 w 792271"/>
              <a:gd name="connsiteY155" fmla="*/ 375781 h 817323"/>
              <a:gd name="connsiteX156" fmla="*/ 504172 w 792271"/>
              <a:gd name="connsiteY156" fmla="*/ 388307 h 817323"/>
              <a:gd name="connsiteX157" fmla="*/ 501041 w 792271"/>
              <a:gd name="connsiteY157" fmla="*/ 397701 h 817323"/>
              <a:gd name="connsiteX158" fmla="*/ 494778 w 792271"/>
              <a:gd name="connsiteY158" fmla="*/ 425885 h 817323"/>
              <a:gd name="connsiteX159" fmla="*/ 485383 w 792271"/>
              <a:gd name="connsiteY159" fmla="*/ 435279 h 817323"/>
              <a:gd name="connsiteX160" fmla="*/ 472857 w 792271"/>
              <a:gd name="connsiteY160" fmla="*/ 454068 h 817323"/>
              <a:gd name="connsiteX161" fmla="*/ 469726 w 792271"/>
              <a:gd name="connsiteY161" fmla="*/ 488515 h 817323"/>
              <a:gd name="connsiteX162" fmla="*/ 488515 w 792271"/>
              <a:gd name="connsiteY162" fmla="*/ 497910 h 817323"/>
              <a:gd name="connsiteX163" fmla="*/ 507304 w 792271"/>
              <a:gd name="connsiteY163" fmla="*/ 507304 h 817323"/>
              <a:gd name="connsiteX164" fmla="*/ 535487 w 792271"/>
              <a:gd name="connsiteY164" fmla="*/ 507304 h 817323"/>
              <a:gd name="connsiteX165" fmla="*/ 541750 w 792271"/>
              <a:gd name="connsiteY165" fmla="*/ 513567 h 817323"/>
              <a:gd name="connsiteX0" fmla="*/ 541750 w 792271"/>
              <a:gd name="connsiteY0" fmla="*/ 513567 h 817323"/>
              <a:gd name="connsiteX1" fmla="*/ 557408 w 792271"/>
              <a:gd name="connsiteY1" fmla="*/ 501041 h 817323"/>
              <a:gd name="connsiteX2" fmla="*/ 576197 w 792271"/>
              <a:gd name="connsiteY2" fmla="*/ 488515 h 817323"/>
              <a:gd name="connsiteX3" fmla="*/ 573065 w 792271"/>
              <a:gd name="connsiteY3" fmla="*/ 479121 h 817323"/>
              <a:gd name="connsiteX4" fmla="*/ 554276 w 792271"/>
              <a:gd name="connsiteY4" fmla="*/ 472858 h 817323"/>
              <a:gd name="connsiteX5" fmla="*/ 554276 w 792271"/>
              <a:gd name="connsiteY5" fmla="*/ 444674 h 817323"/>
              <a:gd name="connsiteX6" fmla="*/ 563671 w 792271"/>
              <a:gd name="connsiteY6" fmla="*/ 438411 h 817323"/>
              <a:gd name="connsiteX7" fmla="*/ 572935 w 792271"/>
              <a:gd name="connsiteY7" fmla="*/ 417990 h 817323"/>
              <a:gd name="connsiteX8" fmla="*/ 594986 w 792271"/>
              <a:gd name="connsiteY8" fmla="*/ 400833 h 817323"/>
              <a:gd name="connsiteX9" fmla="*/ 607512 w 792271"/>
              <a:gd name="connsiteY9" fmla="*/ 382044 h 817323"/>
              <a:gd name="connsiteX10" fmla="*/ 620038 w 792271"/>
              <a:gd name="connsiteY10" fmla="*/ 363255 h 817323"/>
              <a:gd name="connsiteX11" fmla="*/ 629433 w 792271"/>
              <a:gd name="connsiteY11" fmla="*/ 356992 h 817323"/>
              <a:gd name="connsiteX12" fmla="*/ 645090 w 792271"/>
              <a:gd name="connsiteY12" fmla="*/ 360123 h 817323"/>
              <a:gd name="connsiteX13" fmla="*/ 657747 w 792271"/>
              <a:gd name="connsiteY13" fmla="*/ 359993 h 817323"/>
              <a:gd name="connsiteX14" fmla="*/ 673404 w 792271"/>
              <a:gd name="connsiteY14" fmla="*/ 373269 h 817323"/>
              <a:gd name="connsiteX15" fmla="*/ 678037 w 792271"/>
              <a:gd name="connsiteY15" fmla="*/ 381163 h 817323"/>
              <a:gd name="connsiteX16" fmla="*/ 685049 w 792271"/>
              <a:gd name="connsiteY16" fmla="*/ 387426 h 817323"/>
              <a:gd name="connsiteX17" fmla="*/ 732772 w 792271"/>
              <a:gd name="connsiteY17" fmla="*/ 400833 h 817323"/>
              <a:gd name="connsiteX18" fmla="*/ 742167 w 792271"/>
              <a:gd name="connsiteY18" fmla="*/ 410227 h 817323"/>
              <a:gd name="connsiteX19" fmla="*/ 729641 w 792271"/>
              <a:gd name="connsiteY19" fmla="*/ 435279 h 817323"/>
              <a:gd name="connsiteX20" fmla="*/ 698326 w 792271"/>
              <a:gd name="connsiteY20" fmla="*/ 457200 h 817323"/>
              <a:gd name="connsiteX21" fmla="*/ 688931 w 792271"/>
              <a:gd name="connsiteY21" fmla="*/ 466594 h 817323"/>
              <a:gd name="connsiteX22" fmla="*/ 692063 w 792271"/>
              <a:gd name="connsiteY22" fmla="*/ 488515 h 817323"/>
              <a:gd name="connsiteX23" fmla="*/ 704589 w 792271"/>
              <a:gd name="connsiteY23" fmla="*/ 491647 h 817323"/>
              <a:gd name="connsiteX24" fmla="*/ 723378 w 792271"/>
              <a:gd name="connsiteY24" fmla="*/ 497910 h 817323"/>
              <a:gd name="connsiteX25" fmla="*/ 732772 w 792271"/>
              <a:gd name="connsiteY25" fmla="*/ 507304 h 817323"/>
              <a:gd name="connsiteX26" fmla="*/ 751561 w 792271"/>
              <a:gd name="connsiteY26" fmla="*/ 519830 h 817323"/>
              <a:gd name="connsiteX27" fmla="*/ 764087 w 792271"/>
              <a:gd name="connsiteY27" fmla="*/ 538619 h 817323"/>
              <a:gd name="connsiteX28" fmla="*/ 773482 w 792271"/>
              <a:gd name="connsiteY28" fmla="*/ 548014 h 817323"/>
              <a:gd name="connsiteX29" fmla="*/ 779745 w 792271"/>
              <a:gd name="connsiteY29" fmla="*/ 560540 h 817323"/>
              <a:gd name="connsiteX30" fmla="*/ 792271 w 792271"/>
              <a:gd name="connsiteY30" fmla="*/ 579329 h 817323"/>
              <a:gd name="connsiteX31" fmla="*/ 789139 w 792271"/>
              <a:gd name="connsiteY31" fmla="*/ 598118 h 817323"/>
              <a:gd name="connsiteX32" fmla="*/ 779745 w 792271"/>
              <a:gd name="connsiteY32" fmla="*/ 601249 h 817323"/>
              <a:gd name="connsiteX33" fmla="*/ 767219 w 792271"/>
              <a:gd name="connsiteY33" fmla="*/ 604381 h 817323"/>
              <a:gd name="connsiteX34" fmla="*/ 754693 w 792271"/>
              <a:gd name="connsiteY34" fmla="*/ 623170 h 817323"/>
              <a:gd name="connsiteX35" fmla="*/ 735904 w 792271"/>
              <a:gd name="connsiteY35" fmla="*/ 626301 h 817323"/>
              <a:gd name="connsiteX36" fmla="*/ 704589 w 792271"/>
              <a:gd name="connsiteY36" fmla="*/ 635696 h 817323"/>
              <a:gd name="connsiteX37" fmla="*/ 588723 w 792271"/>
              <a:gd name="connsiteY37" fmla="*/ 638827 h 817323"/>
              <a:gd name="connsiteX38" fmla="*/ 569934 w 792271"/>
              <a:gd name="connsiteY38" fmla="*/ 667011 h 817323"/>
              <a:gd name="connsiteX39" fmla="*/ 566802 w 792271"/>
              <a:gd name="connsiteY39" fmla="*/ 676405 h 817323"/>
              <a:gd name="connsiteX40" fmla="*/ 554276 w 792271"/>
              <a:gd name="connsiteY40" fmla="*/ 695194 h 817323"/>
              <a:gd name="connsiteX41" fmla="*/ 548013 w 792271"/>
              <a:gd name="connsiteY41" fmla="*/ 704589 h 817323"/>
              <a:gd name="connsiteX42" fmla="*/ 532356 w 792271"/>
              <a:gd name="connsiteY42" fmla="*/ 732773 h 817323"/>
              <a:gd name="connsiteX43" fmla="*/ 519830 w 792271"/>
              <a:gd name="connsiteY43" fmla="*/ 764088 h 817323"/>
              <a:gd name="connsiteX44" fmla="*/ 513567 w 792271"/>
              <a:gd name="connsiteY44" fmla="*/ 773482 h 817323"/>
              <a:gd name="connsiteX45" fmla="*/ 507304 w 792271"/>
              <a:gd name="connsiteY45" fmla="*/ 792271 h 817323"/>
              <a:gd name="connsiteX46" fmla="*/ 504172 w 792271"/>
              <a:gd name="connsiteY46" fmla="*/ 801666 h 817323"/>
              <a:gd name="connsiteX47" fmla="*/ 501041 w 792271"/>
              <a:gd name="connsiteY47" fmla="*/ 811060 h 817323"/>
              <a:gd name="connsiteX48" fmla="*/ 485383 w 792271"/>
              <a:gd name="connsiteY48" fmla="*/ 798534 h 817323"/>
              <a:gd name="connsiteX49" fmla="*/ 466594 w 792271"/>
              <a:gd name="connsiteY49" fmla="*/ 817323 h 817323"/>
              <a:gd name="connsiteX50" fmla="*/ 441542 w 792271"/>
              <a:gd name="connsiteY50" fmla="*/ 814192 h 817323"/>
              <a:gd name="connsiteX51" fmla="*/ 435279 w 792271"/>
              <a:gd name="connsiteY51" fmla="*/ 804797 h 817323"/>
              <a:gd name="connsiteX52" fmla="*/ 425885 w 792271"/>
              <a:gd name="connsiteY52" fmla="*/ 795403 h 817323"/>
              <a:gd name="connsiteX53" fmla="*/ 419622 w 792271"/>
              <a:gd name="connsiteY53" fmla="*/ 786008 h 817323"/>
              <a:gd name="connsiteX54" fmla="*/ 410227 w 792271"/>
              <a:gd name="connsiteY54" fmla="*/ 776614 h 817323"/>
              <a:gd name="connsiteX55" fmla="*/ 403964 w 792271"/>
              <a:gd name="connsiteY55" fmla="*/ 767219 h 817323"/>
              <a:gd name="connsiteX56" fmla="*/ 394569 w 792271"/>
              <a:gd name="connsiteY56" fmla="*/ 757825 h 817323"/>
              <a:gd name="connsiteX57" fmla="*/ 372649 w 792271"/>
              <a:gd name="connsiteY57" fmla="*/ 732773 h 817323"/>
              <a:gd name="connsiteX58" fmla="*/ 366386 w 792271"/>
              <a:gd name="connsiteY58" fmla="*/ 723378 h 817323"/>
              <a:gd name="connsiteX59" fmla="*/ 306887 w 792271"/>
              <a:gd name="connsiteY59" fmla="*/ 713984 h 817323"/>
              <a:gd name="connsiteX60" fmla="*/ 294361 w 792271"/>
              <a:gd name="connsiteY60" fmla="*/ 660748 h 817323"/>
              <a:gd name="connsiteX61" fmla="*/ 288098 w 792271"/>
              <a:gd name="connsiteY61" fmla="*/ 651353 h 817323"/>
              <a:gd name="connsiteX62" fmla="*/ 269309 w 792271"/>
              <a:gd name="connsiteY62" fmla="*/ 641959 h 817323"/>
              <a:gd name="connsiteX63" fmla="*/ 256783 w 792271"/>
              <a:gd name="connsiteY63" fmla="*/ 645090 h 817323"/>
              <a:gd name="connsiteX64" fmla="*/ 228600 w 792271"/>
              <a:gd name="connsiteY64" fmla="*/ 654485 h 817323"/>
              <a:gd name="connsiteX65" fmla="*/ 219205 w 792271"/>
              <a:gd name="connsiteY65" fmla="*/ 660748 h 817323"/>
              <a:gd name="connsiteX66" fmla="*/ 212942 w 792271"/>
              <a:gd name="connsiteY66" fmla="*/ 670142 h 817323"/>
              <a:gd name="connsiteX67" fmla="*/ 206679 w 792271"/>
              <a:gd name="connsiteY67" fmla="*/ 688931 h 817323"/>
              <a:gd name="connsiteX68" fmla="*/ 200416 w 792271"/>
              <a:gd name="connsiteY68" fmla="*/ 707721 h 817323"/>
              <a:gd name="connsiteX69" fmla="*/ 191022 w 792271"/>
              <a:gd name="connsiteY69" fmla="*/ 710852 h 817323"/>
              <a:gd name="connsiteX70" fmla="*/ 169101 w 792271"/>
              <a:gd name="connsiteY70" fmla="*/ 701458 h 817323"/>
              <a:gd name="connsiteX71" fmla="*/ 162838 w 792271"/>
              <a:gd name="connsiteY71" fmla="*/ 695194 h 817323"/>
              <a:gd name="connsiteX72" fmla="*/ 159706 w 792271"/>
              <a:gd name="connsiteY72" fmla="*/ 685800 h 817323"/>
              <a:gd name="connsiteX73" fmla="*/ 153443 w 792271"/>
              <a:gd name="connsiteY73" fmla="*/ 651353 h 817323"/>
              <a:gd name="connsiteX74" fmla="*/ 147180 w 792271"/>
              <a:gd name="connsiteY74" fmla="*/ 632564 h 817323"/>
              <a:gd name="connsiteX75" fmla="*/ 122128 w 792271"/>
              <a:gd name="connsiteY75" fmla="*/ 629433 h 817323"/>
              <a:gd name="connsiteX76" fmla="*/ 115865 w 792271"/>
              <a:gd name="connsiteY76" fmla="*/ 610644 h 817323"/>
              <a:gd name="connsiteX77" fmla="*/ 93945 w 792271"/>
              <a:gd name="connsiteY77" fmla="*/ 582460 h 817323"/>
              <a:gd name="connsiteX78" fmla="*/ 78287 w 792271"/>
              <a:gd name="connsiteY78" fmla="*/ 566803 h 817323"/>
              <a:gd name="connsiteX79" fmla="*/ 72024 w 792271"/>
              <a:gd name="connsiteY79" fmla="*/ 557408 h 817323"/>
              <a:gd name="connsiteX80" fmla="*/ 43841 w 792271"/>
              <a:gd name="connsiteY80" fmla="*/ 541751 h 817323"/>
              <a:gd name="connsiteX81" fmla="*/ 34446 w 792271"/>
              <a:gd name="connsiteY81" fmla="*/ 535488 h 817323"/>
              <a:gd name="connsiteX82" fmla="*/ 25052 w 792271"/>
              <a:gd name="connsiteY82" fmla="*/ 532356 h 817323"/>
              <a:gd name="connsiteX83" fmla="*/ 15657 w 792271"/>
              <a:gd name="connsiteY83" fmla="*/ 522962 h 817323"/>
              <a:gd name="connsiteX84" fmla="*/ 12526 w 792271"/>
              <a:gd name="connsiteY84" fmla="*/ 513567 h 817323"/>
              <a:gd name="connsiteX85" fmla="*/ 25052 w 792271"/>
              <a:gd name="connsiteY85" fmla="*/ 494778 h 817323"/>
              <a:gd name="connsiteX86" fmla="*/ 28183 w 792271"/>
              <a:gd name="connsiteY86" fmla="*/ 454068 h 817323"/>
              <a:gd name="connsiteX87" fmla="*/ 31315 w 792271"/>
              <a:gd name="connsiteY87" fmla="*/ 422753 h 817323"/>
              <a:gd name="connsiteX88" fmla="*/ 37578 w 792271"/>
              <a:gd name="connsiteY88" fmla="*/ 403964 h 817323"/>
              <a:gd name="connsiteX89" fmla="*/ 34446 w 792271"/>
              <a:gd name="connsiteY89" fmla="*/ 388307 h 817323"/>
              <a:gd name="connsiteX90" fmla="*/ 25052 w 792271"/>
              <a:gd name="connsiteY90" fmla="*/ 382044 h 817323"/>
              <a:gd name="connsiteX91" fmla="*/ 31315 w 792271"/>
              <a:gd name="connsiteY91" fmla="*/ 341334 h 817323"/>
              <a:gd name="connsiteX92" fmla="*/ 21920 w 792271"/>
              <a:gd name="connsiteY92" fmla="*/ 319414 h 817323"/>
              <a:gd name="connsiteX93" fmla="*/ 12526 w 792271"/>
              <a:gd name="connsiteY93" fmla="*/ 316282 h 817323"/>
              <a:gd name="connsiteX94" fmla="*/ 6263 w 792271"/>
              <a:gd name="connsiteY94" fmla="*/ 306888 h 817323"/>
              <a:gd name="connsiteX95" fmla="*/ 0 w 792271"/>
              <a:gd name="connsiteY95" fmla="*/ 288099 h 817323"/>
              <a:gd name="connsiteX96" fmla="*/ 3131 w 792271"/>
              <a:gd name="connsiteY96" fmla="*/ 259915 h 817323"/>
              <a:gd name="connsiteX97" fmla="*/ 25052 w 792271"/>
              <a:gd name="connsiteY97" fmla="*/ 260535 h 817323"/>
              <a:gd name="connsiteX98" fmla="*/ 43841 w 792271"/>
              <a:gd name="connsiteY98" fmla="*/ 278704 h 817323"/>
              <a:gd name="connsiteX99" fmla="*/ 46972 w 792271"/>
              <a:gd name="connsiteY99" fmla="*/ 288099 h 817323"/>
              <a:gd name="connsiteX100" fmla="*/ 56367 w 792271"/>
              <a:gd name="connsiteY100" fmla="*/ 291230 h 817323"/>
              <a:gd name="connsiteX101" fmla="*/ 100208 w 792271"/>
              <a:gd name="connsiteY101" fmla="*/ 288099 h 817323"/>
              <a:gd name="connsiteX102" fmla="*/ 118997 w 792271"/>
              <a:gd name="connsiteY102" fmla="*/ 272441 h 817323"/>
              <a:gd name="connsiteX103" fmla="*/ 122128 w 792271"/>
              <a:gd name="connsiteY103" fmla="*/ 263047 h 817323"/>
              <a:gd name="connsiteX104" fmla="*/ 118997 w 792271"/>
              <a:gd name="connsiteY104" fmla="*/ 237994 h 817323"/>
              <a:gd name="connsiteX105" fmla="*/ 106471 w 792271"/>
              <a:gd name="connsiteY105" fmla="*/ 219205 h 817323"/>
              <a:gd name="connsiteX106" fmla="*/ 97076 w 792271"/>
              <a:gd name="connsiteY106" fmla="*/ 200416 h 817323"/>
              <a:gd name="connsiteX107" fmla="*/ 128391 w 792271"/>
              <a:gd name="connsiteY107" fmla="*/ 184759 h 817323"/>
              <a:gd name="connsiteX108" fmla="*/ 137786 w 792271"/>
              <a:gd name="connsiteY108" fmla="*/ 175364 h 817323"/>
              <a:gd name="connsiteX109" fmla="*/ 153443 w 792271"/>
              <a:gd name="connsiteY109" fmla="*/ 159707 h 817323"/>
              <a:gd name="connsiteX110" fmla="*/ 172233 w 792271"/>
              <a:gd name="connsiteY110" fmla="*/ 153444 h 817323"/>
              <a:gd name="connsiteX111" fmla="*/ 178496 w 792271"/>
              <a:gd name="connsiteY111" fmla="*/ 144049 h 817323"/>
              <a:gd name="connsiteX112" fmla="*/ 184759 w 792271"/>
              <a:gd name="connsiteY112" fmla="*/ 115866 h 817323"/>
              <a:gd name="connsiteX113" fmla="*/ 187890 w 792271"/>
              <a:gd name="connsiteY113" fmla="*/ 100208 h 817323"/>
              <a:gd name="connsiteX114" fmla="*/ 191022 w 792271"/>
              <a:gd name="connsiteY114" fmla="*/ 78288 h 817323"/>
              <a:gd name="connsiteX115" fmla="*/ 187760 w 792271"/>
              <a:gd name="connsiteY115" fmla="*/ 54737 h 817323"/>
              <a:gd name="connsiteX116" fmla="*/ 214345 w 792271"/>
              <a:gd name="connsiteY116" fmla="*/ 48245 h 817323"/>
              <a:gd name="connsiteX117" fmla="*/ 264351 w 792271"/>
              <a:gd name="connsiteY117" fmla="*/ 43482 h 817323"/>
              <a:gd name="connsiteX118" fmla="*/ 284967 w 792271"/>
              <a:gd name="connsiteY118" fmla="*/ 62630 h 817323"/>
              <a:gd name="connsiteX119" fmla="*/ 297493 w 792271"/>
              <a:gd name="connsiteY119" fmla="*/ 81419 h 817323"/>
              <a:gd name="connsiteX120" fmla="*/ 316282 w 792271"/>
              <a:gd name="connsiteY120" fmla="*/ 87682 h 817323"/>
              <a:gd name="connsiteX121" fmla="*/ 356991 w 792271"/>
              <a:gd name="connsiteY121" fmla="*/ 93945 h 817323"/>
              <a:gd name="connsiteX122" fmla="*/ 397701 w 792271"/>
              <a:gd name="connsiteY122" fmla="*/ 90814 h 817323"/>
              <a:gd name="connsiteX123" fmla="*/ 419622 w 792271"/>
              <a:gd name="connsiteY123" fmla="*/ 65762 h 817323"/>
              <a:gd name="connsiteX124" fmla="*/ 429016 w 792271"/>
              <a:gd name="connsiteY124" fmla="*/ 59499 h 817323"/>
              <a:gd name="connsiteX125" fmla="*/ 438411 w 792271"/>
              <a:gd name="connsiteY125" fmla="*/ 68893 h 817323"/>
              <a:gd name="connsiteX126" fmla="*/ 441542 w 792271"/>
              <a:gd name="connsiteY126" fmla="*/ 78288 h 817323"/>
              <a:gd name="connsiteX127" fmla="*/ 457200 w 792271"/>
              <a:gd name="connsiteY127" fmla="*/ 75156 h 817323"/>
              <a:gd name="connsiteX128" fmla="*/ 466594 w 792271"/>
              <a:gd name="connsiteY128" fmla="*/ 68893 h 817323"/>
              <a:gd name="connsiteX129" fmla="*/ 469726 w 792271"/>
              <a:gd name="connsiteY129" fmla="*/ 59499 h 817323"/>
              <a:gd name="connsiteX130" fmla="*/ 475989 w 792271"/>
              <a:gd name="connsiteY130" fmla="*/ 50104 h 817323"/>
              <a:gd name="connsiteX131" fmla="*/ 482252 w 792271"/>
              <a:gd name="connsiteY131" fmla="*/ 37578 h 817323"/>
              <a:gd name="connsiteX132" fmla="*/ 510435 w 792271"/>
              <a:gd name="connsiteY132" fmla="*/ 25052 h 817323"/>
              <a:gd name="connsiteX133" fmla="*/ 519830 w 792271"/>
              <a:gd name="connsiteY133" fmla="*/ 18789 h 817323"/>
              <a:gd name="connsiteX134" fmla="*/ 538619 w 792271"/>
              <a:gd name="connsiteY134" fmla="*/ 3131 h 817323"/>
              <a:gd name="connsiteX135" fmla="*/ 548013 w 792271"/>
              <a:gd name="connsiteY135" fmla="*/ 0 h 817323"/>
              <a:gd name="connsiteX136" fmla="*/ 563671 w 792271"/>
              <a:gd name="connsiteY136" fmla="*/ 21921 h 817323"/>
              <a:gd name="connsiteX137" fmla="*/ 563671 w 792271"/>
              <a:gd name="connsiteY137" fmla="*/ 21921 h 817323"/>
              <a:gd name="connsiteX138" fmla="*/ 573065 w 792271"/>
              <a:gd name="connsiteY138" fmla="*/ 28184 h 817323"/>
              <a:gd name="connsiteX139" fmla="*/ 591854 w 792271"/>
              <a:gd name="connsiteY139" fmla="*/ 46973 h 817323"/>
              <a:gd name="connsiteX140" fmla="*/ 573065 w 792271"/>
              <a:gd name="connsiteY140" fmla="*/ 84551 h 817323"/>
              <a:gd name="connsiteX141" fmla="*/ 566802 w 792271"/>
              <a:gd name="connsiteY141" fmla="*/ 93945 h 817323"/>
              <a:gd name="connsiteX142" fmla="*/ 560539 w 792271"/>
              <a:gd name="connsiteY142" fmla="*/ 103340 h 817323"/>
              <a:gd name="connsiteX143" fmla="*/ 557408 w 792271"/>
              <a:gd name="connsiteY143" fmla="*/ 112734 h 817323"/>
              <a:gd name="connsiteX144" fmla="*/ 554276 w 792271"/>
              <a:gd name="connsiteY144" fmla="*/ 165970 h 817323"/>
              <a:gd name="connsiteX145" fmla="*/ 535487 w 792271"/>
              <a:gd name="connsiteY145" fmla="*/ 175364 h 817323"/>
              <a:gd name="connsiteX146" fmla="*/ 519830 w 792271"/>
              <a:gd name="connsiteY146" fmla="*/ 194153 h 817323"/>
              <a:gd name="connsiteX147" fmla="*/ 513567 w 792271"/>
              <a:gd name="connsiteY147" fmla="*/ 212942 h 817323"/>
              <a:gd name="connsiteX148" fmla="*/ 510435 w 792271"/>
              <a:gd name="connsiteY148" fmla="*/ 222337 h 817323"/>
              <a:gd name="connsiteX149" fmla="*/ 513567 w 792271"/>
              <a:gd name="connsiteY149" fmla="*/ 247389 h 817323"/>
              <a:gd name="connsiteX150" fmla="*/ 526093 w 792271"/>
              <a:gd name="connsiteY150" fmla="*/ 266178 h 817323"/>
              <a:gd name="connsiteX151" fmla="*/ 522961 w 792271"/>
              <a:gd name="connsiteY151" fmla="*/ 316282 h 817323"/>
              <a:gd name="connsiteX152" fmla="*/ 519830 w 792271"/>
              <a:gd name="connsiteY152" fmla="*/ 325677 h 817323"/>
              <a:gd name="connsiteX153" fmla="*/ 516698 w 792271"/>
              <a:gd name="connsiteY153" fmla="*/ 338203 h 817323"/>
              <a:gd name="connsiteX154" fmla="*/ 513567 w 792271"/>
              <a:gd name="connsiteY154" fmla="*/ 347597 h 817323"/>
              <a:gd name="connsiteX155" fmla="*/ 507304 w 792271"/>
              <a:gd name="connsiteY155" fmla="*/ 375781 h 817323"/>
              <a:gd name="connsiteX156" fmla="*/ 504172 w 792271"/>
              <a:gd name="connsiteY156" fmla="*/ 388307 h 817323"/>
              <a:gd name="connsiteX157" fmla="*/ 501041 w 792271"/>
              <a:gd name="connsiteY157" fmla="*/ 397701 h 817323"/>
              <a:gd name="connsiteX158" fmla="*/ 494778 w 792271"/>
              <a:gd name="connsiteY158" fmla="*/ 425885 h 817323"/>
              <a:gd name="connsiteX159" fmla="*/ 485383 w 792271"/>
              <a:gd name="connsiteY159" fmla="*/ 435279 h 817323"/>
              <a:gd name="connsiteX160" fmla="*/ 472857 w 792271"/>
              <a:gd name="connsiteY160" fmla="*/ 454068 h 817323"/>
              <a:gd name="connsiteX161" fmla="*/ 469726 w 792271"/>
              <a:gd name="connsiteY161" fmla="*/ 488515 h 817323"/>
              <a:gd name="connsiteX162" fmla="*/ 488515 w 792271"/>
              <a:gd name="connsiteY162" fmla="*/ 497910 h 817323"/>
              <a:gd name="connsiteX163" fmla="*/ 507304 w 792271"/>
              <a:gd name="connsiteY163" fmla="*/ 507304 h 817323"/>
              <a:gd name="connsiteX164" fmla="*/ 535487 w 792271"/>
              <a:gd name="connsiteY164" fmla="*/ 507304 h 817323"/>
              <a:gd name="connsiteX165" fmla="*/ 541750 w 792271"/>
              <a:gd name="connsiteY165" fmla="*/ 513567 h 817323"/>
              <a:gd name="connsiteX0" fmla="*/ 541750 w 792271"/>
              <a:gd name="connsiteY0" fmla="*/ 513567 h 817323"/>
              <a:gd name="connsiteX1" fmla="*/ 557408 w 792271"/>
              <a:gd name="connsiteY1" fmla="*/ 501041 h 817323"/>
              <a:gd name="connsiteX2" fmla="*/ 576197 w 792271"/>
              <a:gd name="connsiteY2" fmla="*/ 488515 h 817323"/>
              <a:gd name="connsiteX3" fmla="*/ 573065 w 792271"/>
              <a:gd name="connsiteY3" fmla="*/ 479121 h 817323"/>
              <a:gd name="connsiteX4" fmla="*/ 554276 w 792271"/>
              <a:gd name="connsiteY4" fmla="*/ 472858 h 817323"/>
              <a:gd name="connsiteX5" fmla="*/ 554276 w 792271"/>
              <a:gd name="connsiteY5" fmla="*/ 444674 h 817323"/>
              <a:gd name="connsiteX6" fmla="*/ 563671 w 792271"/>
              <a:gd name="connsiteY6" fmla="*/ 438411 h 817323"/>
              <a:gd name="connsiteX7" fmla="*/ 572935 w 792271"/>
              <a:gd name="connsiteY7" fmla="*/ 417990 h 817323"/>
              <a:gd name="connsiteX8" fmla="*/ 594986 w 792271"/>
              <a:gd name="connsiteY8" fmla="*/ 400833 h 817323"/>
              <a:gd name="connsiteX9" fmla="*/ 607512 w 792271"/>
              <a:gd name="connsiteY9" fmla="*/ 382044 h 817323"/>
              <a:gd name="connsiteX10" fmla="*/ 620038 w 792271"/>
              <a:gd name="connsiteY10" fmla="*/ 363255 h 817323"/>
              <a:gd name="connsiteX11" fmla="*/ 629433 w 792271"/>
              <a:gd name="connsiteY11" fmla="*/ 356992 h 817323"/>
              <a:gd name="connsiteX12" fmla="*/ 645090 w 792271"/>
              <a:gd name="connsiteY12" fmla="*/ 360123 h 817323"/>
              <a:gd name="connsiteX13" fmla="*/ 657747 w 792271"/>
              <a:gd name="connsiteY13" fmla="*/ 359993 h 817323"/>
              <a:gd name="connsiteX14" fmla="*/ 673404 w 792271"/>
              <a:gd name="connsiteY14" fmla="*/ 373269 h 817323"/>
              <a:gd name="connsiteX15" fmla="*/ 678037 w 792271"/>
              <a:gd name="connsiteY15" fmla="*/ 381163 h 817323"/>
              <a:gd name="connsiteX16" fmla="*/ 685049 w 792271"/>
              <a:gd name="connsiteY16" fmla="*/ 387426 h 817323"/>
              <a:gd name="connsiteX17" fmla="*/ 732772 w 792271"/>
              <a:gd name="connsiteY17" fmla="*/ 400833 h 817323"/>
              <a:gd name="connsiteX18" fmla="*/ 742167 w 792271"/>
              <a:gd name="connsiteY18" fmla="*/ 410227 h 817323"/>
              <a:gd name="connsiteX19" fmla="*/ 729641 w 792271"/>
              <a:gd name="connsiteY19" fmla="*/ 435279 h 817323"/>
              <a:gd name="connsiteX20" fmla="*/ 698326 w 792271"/>
              <a:gd name="connsiteY20" fmla="*/ 457200 h 817323"/>
              <a:gd name="connsiteX21" fmla="*/ 688931 w 792271"/>
              <a:gd name="connsiteY21" fmla="*/ 466594 h 817323"/>
              <a:gd name="connsiteX22" fmla="*/ 692063 w 792271"/>
              <a:gd name="connsiteY22" fmla="*/ 488515 h 817323"/>
              <a:gd name="connsiteX23" fmla="*/ 704589 w 792271"/>
              <a:gd name="connsiteY23" fmla="*/ 491647 h 817323"/>
              <a:gd name="connsiteX24" fmla="*/ 723378 w 792271"/>
              <a:gd name="connsiteY24" fmla="*/ 497910 h 817323"/>
              <a:gd name="connsiteX25" fmla="*/ 732772 w 792271"/>
              <a:gd name="connsiteY25" fmla="*/ 507304 h 817323"/>
              <a:gd name="connsiteX26" fmla="*/ 751561 w 792271"/>
              <a:gd name="connsiteY26" fmla="*/ 519830 h 817323"/>
              <a:gd name="connsiteX27" fmla="*/ 764087 w 792271"/>
              <a:gd name="connsiteY27" fmla="*/ 538619 h 817323"/>
              <a:gd name="connsiteX28" fmla="*/ 773482 w 792271"/>
              <a:gd name="connsiteY28" fmla="*/ 548014 h 817323"/>
              <a:gd name="connsiteX29" fmla="*/ 779745 w 792271"/>
              <a:gd name="connsiteY29" fmla="*/ 560540 h 817323"/>
              <a:gd name="connsiteX30" fmla="*/ 792271 w 792271"/>
              <a:gd name="connsiteY30" fmla="*/ 579329 h 817323"/>
              <a:gd name="connsiteX31" fmla="*/ 789139 w 792271"/>
              <a:gd name="connsiteY31" fmla="*/ 598118 h 817323"/>
              <a:gd name="connsiteX32" fmla="*/ 779745 w 792271"/>
              <a:gd name="connsiteY32" fmla="*/ 601249 h 817323"/>
              <a:gd name="connsiteX33" fmla="*/ 767219 w 792271"/>
              <a:gd name="connsiteY33" fmla="*/ 604381 h 817323"/>
              <a:gd name="connsiteX34" fmla="*/ 754693 w 792271"/>
              <a:gd name="connsiteY34" fmla="*/ 623170 h 817323"/>
              <a:gd name="connsiteX35" fmla="*/ 735904 w 792271"/>
              <a:gd name="connsiteY35" fmla="*/ 626301 h 817323"/>
              <a:gd name="connsiteX36" fmla="*/ 704589 w 792271"/>
              <a:gd name="connsiteY36" fmla="*/ 635696 h 817323"/>
              <a:gd name="connsiteX37" fmla="*/ 588723 w 792271"/>
              <a:gd name="connsiteY37" fmla="*/ 638827 h 817323"/>
              <a:gd name="connsiteX38" fmla="*/ 569934 w 792271"/>
              <a:gd name="connsiteY38" fmla="*/ 667011 h 817323"/>
              <a:gd name="connsiteX39" fmla="*/ 566802 w 792271"/>
              <a:gd name="connsiteY39" fmla="*/ 676405 h 817323"/>
              <a:gd name="connsiteX40" fmla="*/ 554276 w 792271"/>
              <a:gd name="connsiteY40" fmla="*/ 695194 h 817323"/>
              <a:gd name="connsiteX41" fmla="*/ 548013 w 792271"/>
              <a:gd name="connsiteY41" fmla="*/ 704589 h 817323"/>
              <a:gd name="connsiteX42" fmla="*/ 532356 w 792271"/>
              <a:gd name="connsiteY42" fmla="*/ 732773 h 817323"/>
              <a:gd name="connsiteX43" fmla="*/ 519830 w 792271"/>
              <a:gd name="connsiteY43" fmla="*/ 764088 h 817323"/>
              <a:gd name="connsiteX44" fmla="*/ 513567 w 792271"/>
              <a:gd name="connsiteY44" fmla="*/ 773482 h 817323"/>
              <a:gd name="connsiteX45" fmla="*/ 507304 w 792271"/>
              <a:gd name="connsiteY45" fmla="*/ 792271 h 817323"/>
              <a:gd name="connsiteX46" fmla="*/ 504172 w 792271"/>
              <a:gd name="connsiteY46" fmla="*/ 801666 h 817323"/>
              <a:gd name="connsiteX47" fmla="*/ 501041 w 792271"/>
              <a:gd name="connsiteY47" fmla="*/ 811060 h 817323"/>
              <a:gd name="connsiteX48" fmla="*/ 485383 w 792271"/>
              <a:gd name="connsiteY48" fmla="*/ 798534 h 817323"/>
              <a:gd name="connsiteX49" fmla="*/ 466594 w 792271"/>
              <a:gd name="connsiteY49" fmla="*/ 817323 h 817323"/>
              <a:gd name="connsiteX50" fmla="*/ 441542 w 792271"/>
              <a:gd name="connsiteY50" fmla="*/ 814192 h 817323"/>
              <a:gd name="connsiteX51" fmla="*/ 435279 w 792271"/>
              <a:gd name="connsiteY51" fmla="*/ 804797 h 817323"/>
              <a:gd name="connsiteX52" fmla="*/ 425885 w 792271"/>
              <a:gd name="connsiteY52" fmla="*/ 795403 h 817323"/>
              <a:gd name="connsiteX53" fmla="*/ 419622 w 792271"/>
              <a:gd name="connsiteY53" fmla="*/ 786008 h 817323"/>
              <a:gd name="connsiteX54" fmla="*/ 410227 w 792271"/>
              <a:gd name="connsiteY54" fmla="*/ 776614 h 817323"/>
              <a:gd name="connsiteX55" fmla="*/ 403964 w 792271"/>
              <a:gd name="connsiteY55" fmla="*/ 767219 h 817323"/>
              <a:gd name="connsiteX56" fmla="*/ 394569 w 792271"/>
              <a:gd name="connsiteY56" fmla="*/ 757825 h 817323"/>
              <a:gd name="connsiteX57" fmla="*/ 372649 w 792271"/>
              <a:gd name="connsiteY57" fmla="*/ 732773 h 817323"/>
              <a:gd name="connsiteX58" fmla="*/ 366386 w 792271"/>
              <a:gd name="connsiteY58" fmla="*/ 723378 h 817323"/>
              <a:gd name="connsiteX59" fmla="*/ 306887 w 792271"/>
              <a:gd name="connsiteY59" fmla="*/ 713984 h 817323"/>
              <a:gd name="connsiteX60" fmla="*/ 294361 w 792271"/>
              <a:gd name="connsiteY60" fmla="*/ 660748 h 817323"/>
              <a:gd name="connsiteX61" fmla="*/ 288098 w 792271"/>
              <a:gd name="connsiteY61" fmla="*/ 651353 h 817323"/>
              <a:gd name="connsiteX62" fmla="*/ 269309 w 792271"/>
              <a:gd name="connsiteY62" fmla="*/ 641959 h 817323"/>
              <a:gd name="connsiteX63" fmla="*/ 256783 w 792271"/>
              <a:gd name="connsiteY63" fmla="*/ 645090 h 817323"/>
              <a:gd name="connsiteX64" fmla="*/ 228600 w 792271"/>
              <a:gd name="connsiteY64" fmla="*/ 654485 h 817323"/>
              <a:gd name="connsiteX65" fmla="*/ 219205 w 792271"/>
              <a:gd name="connsiteY65" fmla="*/ 660748 h 817323"/>
              <a:gd name="connsiteX66" fmla="*/ 212942 w 792271"/>
              <a:gd name="connsiteY66" fmla="*/ 670142 h 817323"/>
              <a:gd name="connsiteX67" fmla="*/ 206679 w 792271"/>
              <a:gd name="connsiteY67" fmla="*/ 688931 h 817323"/>
              <a:gd name="connsiteX68" fmla="*/ 200416 w 792271"/>
              <a:gd name="connsiteY68" fmla="*/ 707721 h 817323"/>
              <a:gd name="connsiteX69" fmla="*/ 191022 w 792271"/>
              <a:gd name="connsiteY69" fmla="*/ 710852 h 817323"/>
              <a:gd name="connsiteX70" fmla="*/ 169101 w 792271"/>
              <a:gd name="connsiteY70" fmla="*/ 701458 h 817323"/>
              <a:gd name="connsiteX71" fmla="*/ 162838 w 792271"/>
              <a:gd name="connsiteY71" fmla="*/ 695194 h 817323"/>
              <a:gd name="connsiteX72" fmla="*/ 159706 w 792271"/>
              <a:gd name="connsiteY72" fmla="*/ 685800 h 817323"/>
              <a:gd name="connsiteX73" fmla="*/ 153443 w 792271"/>
              <a:gd name="connsiteY73" fmla="*/ 651353 h 817323"/>
              <a:gd name="connsiteX74" fmla="*/ 147180 w 792271"/>
              <a:gd name="connsiteY74" fmla="*/ 632564 h 817323"/>
              <a:gd name="connsiteX75" fmla="*/ 122128 w 792271"/>
              <a:gd name="connsiteY75" fmla="*/ 629433 h 817323"/>
              <a:gd name="connsiteX76" fmla="*/ 115865 w 792271"/>
              <a:gd name="connsiteY76" fmla="*/ 610644 h 817323"/>
              <a:gd name="connsiteX77" fmla="*/ 93945 w 792271"/>
              <a:gd name="connsiteY77" fmla="*/ 582460 h 817323"/>
              <a:gd name="connsiteX78" fmla="*/ 78287 w 792271"/>
              <a:gd name="connsiteY78" fmla="*/ 566803 h 817323"/>
              <a:gd name="connsiteX79" fmla="*/ 72024 w 792271"/>
              <a:gd name="connsiteY79" fmla="*/ 557408 h 817323"/>
              <a:gd name="connsiteX80" fmla="*/ 43841 w 792271"/>
              <a:gd name="connsiteY80" fmla="*/ 541751 h 817323"/>
              <a:gd name="connsiteX81" fmla="*/ 34446 w 792271"/>
              <a:gd name="connsiteY81" fmla="*/ 535488 h 817323"/>
              <a:gd name="connsiteX82" fmla="*/ 25052 w 792271"/>
              <a:gd name="connsiteY82" fmla="*/ 532356 h 817323"/>
              <a:gd name="connsiteX83" fmla="*/ 15657 w 792271"/>
              <a:gd name="connsiteY83" fmla="*/ 522962 h 817323"/>
              <a:gd name="connsiteX84" fmla="*/ 12526 w 792271"/>
              <a:gd name="connsiteY84" fmla="*/ 513567 h 817323"/>
              <a:gd name="connsiteX85" fmla="*/ 25052 w 792271"/>
              <a:gd name="connsiteY85" fmla="*/ 494778 h 817323"/>
              <a:gd name="connsiteX86" fmla="*/ 28183 w 792271"/>
              <a:gd name="connsiteY86" fmla="*/ 454068 h 817323"/>
              <a:gd name="connsiteX87" fmla="*/ 31315 w 792271"/>
              <a:gd name="connsiteY87" fmla="*/ 422753 h 817323"/>
              <a:gd name="connsiteX88" fmla="*/ 37578 w 792271"/>
              <a:gd name="connsiteY88" fmla="*/ 403964 h 817323"/>
              <a:gd name="connsiteX89" fmla="*/ 34446 w 792271"/>
              <a:gd name="connsiteY89" fmla="*/ 388307 h 817323"/>
              <a:gd name="connsiteX90" fmla="*/ 25052 w 792271"/>
              <a:gd name="connsiteY90" fmla="*/ 382044 h 817323"/>
              <a:gd name="connsiteX91" fmla="*/ 31315 w 792271"/>
              <a:gd name="connsiteY91" fmla="*/ 341334 h 817323"/>
              <a:gd name="connsiteX92" fmla="*/ 21920 w 792271"/>
              <a:gd name="connsiteY92" fmla="*/ 319414 h 817323"/>
              <a:gd name="connsiteX93" fmla="*/ 12526 w 792271"/>
              <a:gd name="connsiteY93" fmla="*/ 316282 h 817323"/>
              <a:gd name="connsiteX94" fmla="*/ 6263 w 792271"/>
              <a:gd name="connsiteY94" fmla="*/ 306888 h 817323"/>
              <a:gd name="connsiteX95" fmla="*/ 0 w 792271"/>
              <a:gd name="connsiteY95" fmla="*/ 288099 h 817323"/>
              <a:gd name="connsiteX96" fmla="*/ 3131 w 792271"/>
              <a:gd name="connsiteY96" fmla="*/ 259915 h 817323"/>
              <a:gd name="connsiteX97" fmla="*/ 25052 w 792271"/>
              <a:gd name="connsiteY97" fmla="*/ 260535 h 817323"/>
              <a:gd name="connsiteX98" fmla="*/ 43841 w 792271"/>
              <a:gd name="connsiteY98" fmla="*/ 278704 h 817323"/>
              <a:gd name="connsiteX99" fmla="*/ 46972 w 792271"/>
              <a:gd name="connsiteY99" fmla="*/ 288099 h 817323"/>
              <a:gd name="connsiteX100" fmla="*/ 56367 w 792271"/>
              <a:gd name="connsiteY100" fmla="*/ 291230 h 817323"/>
              <a:gd name="connsiteX101" fmla="*/ 100208 w 792271"/>
              <a:gd name="connsiteY101" fmla="*/ 288099 h 817323"/>
              <a:gd name="connsiteX102" fmla="*/ 118997 w 792271"/>
              <a:gd name="connsiteY102" fmla="*/ 272441 h 817323"/>
              <a:gd name="connsiteX103" fmla="*/ 122128 w 792271"/>
              <a:gd name="connsiteY103" fmla="*/ 263047 h 817323"/>
              <a:gd name="connsiteX104" fmla="*/ 118997 w 792271"/>
              <a:gd name="connsiteY104" fmla="*/ 237994 h 817323"/>
              <a:gd name="connsiteX105" fmla="*/ 106471 w 792271"/>
              <a:gd name="connsiteY105" fmla="*/ 219205 h 817323"/>
              <a:gd name="connsiteX106" fmla="*/ 97076 w 792271"/>
              <a:gd name="connsiteY106" fmla="*/ 200416 h 817323"/>
              <a:gd name="connsiteX107" fmla="*/ 128391 w 792271"/>
              <a:gd name="connsiteY107" fmla="*/ 184759 h 817323"/>
              <a:gd name="connsiteX108" fmla="*/ 137786 w 792271"/>
              <a:gd name="connsiteY108" fmla="*/ 175364 h 817323"/>
              <a:gd name="connsiteX109" fmla="*/ 153443 w 792271"/>
              <a:gd name="connsiteY109" fmla="*/ 159707 h 817323"/>
              <a:gd name="connsiteX110" fmla="*/ 172233 w 792271"/>
              <a:gd name="connsiteY110" fmla="*/ 153444 h 817323"/>
              <a:gd name="connsiteX111" fmla="*/ 178496 w 792271"/>
              <a:gd name="connsiteY111" fmla="*/ 144049 h 817323"/>
              <a:gd name="connsiteX112" fmla="*/ 184759 w 792271"/>
              <a:gd name="connsiteY112" fmla="*/ 115866 h 817323"/>
              <a:gd name="connsiteX113" fmla="*/ 187890 w 792271"/>
              <a:gd name="connsiteY113" fmla="*/ 100208 h 817323"/>
              <a:gd name="connsiteX114" fmla="*/ 191022 w 792271"/>
              <a:gd name="connsiteY114" fmla="*/ 78288 h 817323"/>
              <a:gd name="connsiteX115" fmla="*/ 187760 w 792271"/>
              <a:gd name="connsiteY115" fmla="*/ 54737 h 817323"/>
              <a:gd name="connsiteX116" fmla="*/ 214345 w 792271"/>
              <a:gd name="connsiteY116" fmla="*/ 48245 h 817323"/>
              <a:gd name="connsiteX117" fmla="*/ 264351 w 792271"/>
              <a:gd name="connsiteY117" fmla="*/ 43482 h 817323"/>
              <a:gd name="connsiteX118" fmla="*/ 284967 w 792271"/>
              <a:gd name="connsiteY118" fmla="*/ 62630 h 817323"/>
              <a:gd name="connsiteX119" fmla="*/ 297493 w 792271"/>
              <a:gd name="connsiteY119" fmla="*/ 81419 h 817323"/>
              <a:gd name="connsiteX120" fmla="*/ 316282 w 792271"/>
              <a:gd name="connsiteY120" fmla="*/ 87682 h 817323"/>
              <a:gd name="connsiteX121" fmla="*/ 356991 w 792271"/>
              <a:gd name="connsiteY121" fmla="*/ 93945 h 817323"/>
              <a:gd name="connsiteX122" fmla="*/ 397701 w 792271"/>
              <a:gd name="connsiteY122" fmla="*/ 90814 h 817323"/>
              <a:gd name="connsiteX123" fmla="*/ 419622 w 792271"/>
              <a:gd name="connsiteY123" fmla="*/ 65762 h 817323"/>
              <a:gd name="connsiteX124" fmla="*/ 429016 w 792271"/>
              <a:gd name="connsiteY124" fmla="*/ 59499 h 817323"/>
              <a:gd name="connsiteX125" fmla="*/ 438411 w 792271"/>
              <a:gd name="connsiteY125" fmla="*/ 68893 h 817323"/>
              <a:gd name="connsiteX126" fmla="*/ 441542 w 792271"/>
              <a:gd name="connsiteY126" fmla="*/ 78288 h 817323"/>
              <a:gd name="connsiteX127" fmla="*/ 457200 w 792271"/>
              <a:gd name="connsiteY127" fmla="*/ 75156 h 817323"/>
              <a:gd name="connsiteX128" fmla="*/ 466594 w 792271"/>
              <a:gd name="connsiteY128" fmla="*/ 68893 h 817323"/>
              <a:gd name="connsiteX129" fmla="*/ 469726 w 792271"/>
              <a:gd name="connsiteY129" fmla="*/ 59499 h 817323"/>
              <a:gd name="connsiteX130" fmla="*/ 475989 w 792271"/>
              <a:gd name="connsiteY130" fmla="*/ 50104 h 817323"/>
              <a:gd name="connsiteX131" fmla="*/ 482252 w 792271"/>
              <a:gd name="connsiteY131" fmla="*/ 37578 h 817323"/>
              <a:gd name="connsiteX132" fmla="*/ 510435 w 792271"/>
              <a:gd name="connsiteY132" fmla="*/ 25052 h 817323"/>
              <a:gd name="connsiteX133" fmla="*/ 519830 w 792271"/>
              <a:gd name="connsiteY133" fmla="*/ 18789 h 817323"/>
              <a:gd name="connsiteX134" fmla="*/ 538619 w 792271"/>
              <a:gd name="connsiteY134" fmla="*/ 3131 h 817323"/>
              <a:gd name="connsiteX135" fmla="*/ 548013 w 792271"/>
              <a:gd name="connsiteY135" fmla="*/ 0 h 817323"/>
              <a:gd name="connsiteX136" fmla="*/ 563671 w 792271"/>
              <a:gd name="connsiteY136" fmla="*/ 21921 h 817323"/>
              <a:gd name="connsiteX137" fmla="*/ 563671 w 792271"/>
              <a:gd name="connsiteY137" fmla="*/ 21921 h 817323"/>
              <a:gd name="connsiteX138" fmla="*/ 573065 w 792271"/>
              <a:gd name="connsiteY138" fmla="*/ 28184 h 817323"/>
              <a:gd name="connsiteX139" fmla="*/ 591854 w 792271"/>
              <a:gd name="connsiteY139" fmla="*/ 46973 h 817323"/>
              <a:gd name="connsiteX140" fmla="*/ 573065 w 792271"/>
              <a:gd name="connsiteY140" fmla="*/ 84551 h 817323"/>
              <a:gd name="connsiteX141" fmla="*/ 566802 w 792271"/>
              <a:gd name="connsiteY141" fmla="*/ 93945 h 817323"/>
              <a:gd name="connsiteX142" fmla="*/ 560539 w 792271"/>
              <a:gd name="connsiteY142" fmla="*/ 103340 h 817323"/>
              <a:gd name="connsiteX143" fmla="*/ 557408 w 792271"/>
              <a:gd name="connsiteY143" fmla="*/ 112734 h 817323"/>
              <a:gd name="connsiteX144" fmla="*/ 554276 w 792271"/>
              <a:gd name="connsiteY144" fmla="*/ 165970 h 817323"/>
              <a:gd name="connsiteX145" fmla="*/ 535487 w 792271"/>
              <a:gd name="connsiteY145" fmla="*/ 175364 h 817323"/>
              <a:gd name="connsiteX146" fmla="*/ 531736 w 792271"/>
              <a:gd name="connsiteY146" fmla="*/ 198916 h 817323"/>
              <a:gd name="connsiteX147" fmla="*/ 513567 w 792271"/>
              <a:gd name="connsiteY147" fmla="*/ 212942 h 817323"/>
              <a:gd name="connsiteX148" fmla="*/ 510435 w 792271"/>
              <a:gd name="connsiteY148" fmla="*/ 222337 h 817323"/>
              <a:gd name="connsiteX149" fmla="*/ 513567 w 792271"/>
              <a:gd name="connsiteY149" fmla="*/ 247389 h 817323"/>
              <a:gd name="connsiteX150" fmla="*/ 526093 w 792271"/>
              <a:gd name="connsiteY150" fmla="*/ 266178 h 817323"/>
              <a:gd name="connsiteX151" fmla="*/ 522961 w 792271"/>
              <a:gd name="connsiteY151" fmla="*/ 316282 h 817323"/>
              <a:gd name="connsiteX152" fmla="*/ 519830 w 792271"/>
              <a:gd name="connsiteY152" fmla="*/ 325677 h 817323"/>
              <a:gd name="connsiteX153" fmla="*/ 516698 w 792271"/>
              <a:gd name="connsiteY153" fmla="*/ 338203 h 817323"/>
              <a:gd name="connsiteX154" fmla="*/ 513567 w 792271"/>
              <a:gd name="connsiteY154" fmla="*/ 347597 h 817323"/>
              <a:gd name="connsiteX155" fmla="*/ 507304 w 792271"/>
              <a:gd name="connsiteY155" fmla="*/ 375781 h 817323"/>
              <a:gd name="connsiteX156" fmla="*/ 504172 w 792271"/>
              <a:gd name="connsiteY156" fmla="*/ 388307 h 817323"/>
              <a:gd name="connsiteX157" fmla="*/ 501041 w 792271"/>
              <a:gd name="connsiteY157" fmla="*/ 397701 h 817323"/>
              <a:gd name="connsiteX158" fmla="*/ 494778 w 792271"/>
              <a:gd name="connsiteY158" fmla="*/ 425885 h 817323"/>
              <a:gd name="connsiteX159" fmla="*/ 485383 w 792271"/>
              <a:gd name="connsiteY159" fmla="*/ 435279 h 817323"/>
              <a:gd name="connsiteX160" fmla="*/ 472857 w 792271"/>
              <a:gd name="connsiteY160" fmla="*/ 454068 h 817323"/>
              <a:gd name="connsiteX161" fmla="*/ 469726 w 792271"/>
              <a:gd name="connsiteY161" fmla="*/ 488515 h 817323"/>
              <a:gd name="connsiteX162" fmla="*/ 488515 w 792271"/>
              <a:gd name="connsiteY162" fmla="*/ 497910 h 817323"/>
              <a:gd name="connsiteX163" fmla="*/ 507304 w 792271"/>
              <a:gd name="connsiteY163" fmla="*/ 507304 h 817323"/>
              <a:gd name="connsiteX164" fmla="*/ 535487 w 792271"/>
              <a:gd name="connsiteY164" fmla="*/ 507304 h 817323"/>
              <a:gd name="connsiteX165" fmla="*/ 541750 w 792271"/>
              <a:gd name="connsiteY165" fmla="*/ 513567 h 817323"/>
              <a:gd name="connsiteX0" fmla="*/ 541750 w 792271"/>
              <a:gd name="connsiteY0" fmla="*/ 513567 h 817323"/>
              <a:gd name="connsiteX1" fmla="*/ 557408 w 792271"/>
              <a:gd name="connsiteY1" fmla="*/ 501041 h 817323"/>
              <a:gd name="connsiteX2" fmla="*/ 576197 w 792271"/>
              <a:gd name="connsiteY2" fmla="*/ 488515 h 817323"/>
              <a:gd name="connsiteX3" fmla="*/ 573065 w 792271"/>
              <a:gd name="connsiteY3" fmla="*/ 479121 h 817323"/>
              <a:gd name="connsiteX4" fmla="*/ 554276 w 792271"/>
              <a:gd name="connsiteY4" fmla="*/ 472858 h 817323"/>
              <a:gd name="connsiteX5" fmla="*/ 554276 w 792271"/>
              <a:gd name="connsiteY5" fmla="*/ 444674 h 817323"/>
              <a:gd name="connsiteX6" fmla="*/ 563671 w 792271"/>
              <a:gd name="connsiteY6" fmla="*/ 438411 h 817323"/>
              <a:gd name="connsiteX7" fmla="*/ 572935 w 792271"/>
              <a:gd name="connsiteY7" fmla="*/ 417990 h 817323"/>
              <a:gd name="connsiteX8" fmla="*/ 594986 w 792271"/>
              <a:gd name="connsiteY8" fmla="*/ 400833 h 817323"/>
              <a:gd name="connsiteX9" fmla="*/ 607512 w 792271"/>
              <a:gd name="connsiteY9" fmla="*/ 382044 h 817323"/>
              <a:gd name="connsiteX10" fmla="*/ 620038 w 792271"/>
              <a:gd name="connsiteY10" fmla="*/ 363255 h 817323"/>
              <a:gd name="connsiteX11" fmla="*/ 629433 w 792271"/>
              <a:gd name="connsiteY11" fmla="*/ 356992 h 817323"/>
              <a:gd name="connsiteX12" fmla="*/ 645090 w 792271"/>
              <a:gd name="connsiteY12" fmla="*/ 360123 h 817323"/>
              <a:gd name="connsiteX13" fmla="*/ 657747 w 792271"/>
              <a:gd name="connsiteY13" fmla="*/ 359993 h 817323"/>
              <a:gd name="connsiteX14" fmla="*/ 673404 w 792271"/>
              <a:gd name="connsiteY14" fmla="*/ 373269 h 817323"/>
              <a:gd name="connsiteX15" fmla="*/ 678037 w 792271"/>
              <a:gd name="connsiteY15" fmla="*/ 381163 h 817323"/>
              <a:gd name="connsiteX16" fmla="*/ 685049 w 792271"/>
              <a:gd name="connsiteY16" fmla="*/ 387426 h 817323"/>
              <a:gd name="connsiteX17" fmla="*/ 732772 w 792271"/>
              <a:gd name="connsiteY17" fmla="*/ 400833 h 817323"/>
              <a:gd name="connsiteX18" fmla="*/ 742167 w 792271"/>
              <a:gd name="connsiteY18" fmla="*/ 410227 h 817323"/>
              <a:gd name="connsiteX19" fmla="*/ 729641 w 792271"/>
              <a:gd name="connsiteY19" fmla="*/ 435279 h 817323"/>
              <a:gd name="connsiteX20" fmla="*/ 698326 w 792271"/>
              <a:gd name="connsiteY20" fmla="*/ 457200 h 817323"/>
              <a:gd name="connsiteX21" fmla="*/ 688931 w 792271"/>
              <a:gd name="connsiteY21" fmla="*/ 466594 h 817323"/>
              <a:gd name="connsiteX22" fmla="*/ 692063 w 792271"/>
              <a:gd name="connsiteY22" fmla="*/ 488515 h 817323"/>
              <a:gd name="connsiteX23" fmla="*/ 704589 w 792271"/>
              <a:gd name="connsiteY23" fmla="*/ 491647 h 817323"/>
              <a:gd name="connsiteX24" fmla="*/ 723378 w 792271"/>
              <a:gd name="connsiteY24" fmla="*/ 497910 h 817323"/>
              <a:gd name="connsiteX25" fmla="*/ 732772 w 792271"/>
              <a:gd name="connsiteY25" fmla="*/ 507304 h 817323"/>
              <a:gd name="connsiteX26" fmla="*/ 751561 w 792271"/>
              <a:gd name="connsiteY26" fmla="*/ 519830 h 817323"/>
              <a:gd name="connsiteX27" fmla="*/ 764087 w 792271"/>
              <a:gd name="connsiteY27" fmla="*/ 538619 h 817323"/>
              <a:gd name="connsiteX28" fmla="*/ 773482 w 792271"/>
              <a:gd name="connsiteY28" fmla="*/ 548014 h 817323"/>
              <a:gd name="connsiteX29" fmla="*/ 779745 w 792271"/>
              <a:gd name="connsiteY29" fmla="*/ 560540 h 817323"/>
              <a:gd name="connsiteX30" fmla="*/ 792271 w 792271"/>
              <a:gd name="connsiteY30" fmla="*/ 579329 h 817323"/>
              <a:gd name="connsiteX31" fmla="*/ 789139 w 792271"/>
              <a:gd name="connsiteY31" fmla="*/ 598118 h 817323"/>
              <a:gd name="connsiteX32" fmla="*/ 779745 w 792271"/>
              <a:gd name="connsiteY32" fmla="*/ 601249 h 817323"/>
              <a:gd name="connsiteX33" fmla="*/ 767219 w 792271"/>
              <a:gd name="connsiteY33" fmla="*/ 604381 h 817323"/>
              <a:gd name="connsiteX34" fmla="*/ 754693 w 792271"/>
              <a:gd name="connsiteY34" fmla="*/ 623170 h 817323"/>
              <a:gd name="connsiteX35" fmla="*/ 735904 w 792271"/>
              <a:gd name="connsiteY35" fmla="*/ 626301 h 817323"/>
              <a:gd name="connsiteX36" fmla="*/ 704589 w 792271"/>
              <a:gd name="connsiteY36" fmla="*/ 635696 h 817323"/>
              <a:gd name="connsiteX37" fmla="*/ 588723 w 792271"/>
              <a:gd name="connsiteY37" fmla="*/ 638827 h 817323"/>
              <a:gd name="connsiteX38" fmla="*/ 569934 w 792271"/>
              <a:gd name="connsiteY38" fmla="*/ 667011 h 817323"/>
              <a:gd name="connsiteX39" fmla="*/ 566802 w 792271"/>
              <a:gd name="connsiteY39" fmla="*/ 676405 h 817323"/>
              <a:gd name="connsiteX40" fmla="*/ 554276 w 792271"/>
              <a:gd name="connsiteY40" fmla="*/ 695194 h 817323"/>
              <a:gd name="connsiteX41" fmla="*/ 548013 w 792271"/>
              <a:gd name="connsiteY41" fmla="*/ 704589 h 817323"/>
              <a:gd name="connsiteX42" fmla="*/ 532356 w 792271"/>
              <a:gd name="connsiteY42" fmla="*/ 732773 h 817323"/>
              <a:gd name="connsiteX43" fmla="*/ 519830 w 792271"/>
              <a:gd name="connsiteY43" fmla="*/ 764088 h 817323"/>
              <a:gd name="connsiteX44" fmla="*/ 513567 w 792271"/>
              <a:gd name="connsiteY44" fmla="*/ 773482 h 817323"/>
              <a:gd name="connsiteX45" fmla="*/ 507304 w 792271"/>
              <a:gd name="connsiteY45" fmla="*/ 792271 h 817323"/>
              <a:gd name="connsiteX46" fmla="*/ 504172 w 792271"/>
              <a:gd name="connsiteY46" fmla="*/ 801666 h 817323"/>
              <a:gd name="connsiteX47" fmla="*/ 501041 w 792271"/>
              <a:gd name="connsiteY47" fmla="*/ 811060 h 817323"/>
              <a:gd name="connsiteX48" fmla="*/ 485383 w 792271"/>
              <a:gd name="connsiteY48" fmla="*/ 798534 h 817323"/>
              <a:gd name="connsiteX49" fmla="*/ 466594 w 792271"/>
              <a:gd name="connsiteY49" fmla="*/ 817323 h 817323"/>
              <a:gd name="connsiteX50" fmla="*/ 441542 w 792271"/>
              <a:gd name="connsiteY50" fmla="*/ 814192 h 817323"/>
              <a:gd name="connsiteX51" fmla="*/ 435279 w 792271"/>
              <a:gd name="connsiteY51" fmla="*/ 804797 h 817323"/>
              <a:gd name="connsiteX52" fmla="*/ 425885 w 792271"/>
              <a:gd name="connsiteY52" fmla="*/ 795403 h 817323"/>
              <a:gd name="connsiteX53" fmla="*/ 419622 w 792271"/>
              <a:gd name="connsiteY53" fmla="*/ 786008 h 817323"/>
              <a:gd name="connsiteX54" fmla="*/ 410227 w 792271"/>
              <a:gd name="connsiteY54" fmla="*/ 776614 h 817323"/>
              <a:gd name="connsiteX55" fmla="*/ 403964 w 792271"/>
              <a:gd name="connsiteY55" fmla="*/ 767219 h 817323"/>
              <a:gd name="connsiteX56" fmla="*/ 394569 w 792271"/>
              <a:gd name="connsiteY56" fmla="*/ 757825 h 817323"/>
              <a:gd name="connsiteX57" fmla="*/ 372649 w 792271"/>
              <a:gd name="connsiteY57" fmla="*/ 732773 h 817323"/>
              <a:gd name="connsiteX58" fmla="*/ 366386 w 792271"/>
              <a:gd name="connsiteY58" fmla="*/ 723378 h 817323"/>
              <a:gd name="connsiteX59" fmla="*/ 306887 w 792271"/>
              <a:gd name="connsiteY59" fmla="*/ 713984 h 817323"/>
              <a:gd name="connsiteX60" fmla="*/ 294361 w 792271"/>
              <a:gd name="connsiteY60" fmla="*/ 660748 h 817323"/>
              <a:gd name="connsiteX61" fmla="*/ 288098 w 792271"/>
              <a:gd name="connsiteY61" fmla="*/ 651353 h 817323"/>
              <a:gd name="connsiteX62" fmla="*/ 269309 w 792271"/>
              <a:gd name="connsiteY62" fmla="*/ 641959 h 817323"/>
              <a:gd name="connsiteX63" fmla="*/ 256783 w 792271"/>
              <a:gd name="connsiteY63" fmla="*/ 645090 h 817323"/>
              <a:gd name="connsiteX64" fmla="*/ 228600 w 792271"/>
              <a:gd name="connsiteY64" fmla="*/ 654485 h 817323"/>
              <a:gd name="connsiteX65" fmla="*/ 219205 w 792271"/>
              <a:gd name="connsiteY65" fmla="*/ 660748 h 817323"/>
              <a:gd name="connsiteX66" fmla="*/ 212942 w 792271"/>
              <a:gd name="connsiteY66" fmla="*/ 670142 h 817323"/>
              <a:gd name="connsiteX67" fmla="*/ 206679 w 792271"/>
              <a:gd name="connsiteY67" fmla="*/ 688931 h 817323"/>
              <a:gd name="connsiteX68" fmla="*/ 200416 w 792271"/>
              <a:gd name="connsiteY68" fmla="*/ 707721 h 817323"/>
              <a:gd name="connsiteX69" fmla="*/ 191022 w 792271"/>
              <a:gd name="connsiteY69" fmla="*/ 710852 h 817323"/>
              <a:gd name="connsiteX70" fmla="*/ 169101 w 792271"/>
              <a:gd name="connsiteY70" fmla="*/ 701458 h 817323"/>
              <a:gd name="connsiteX71" fmla="*/ 162838 w 792271"/>
              <a:gd name="connsiteY71" fmla="*/ 695194 h 817323"/>
              <a:gd name="connsiteX72" fmla="*/ 159706 w 792271"/>
              <a:gd name="connsiteY72" fmla="*/ 685800 h 817323"/>
              <a:gd name="connsiteX73" fmla="*/ 153443 w 792271"/>
              <a:gd name="connsiteY73" fmla="*/ 651353 h 817323"/>
              <a:gd name="connsiteX74" fmla="*/ 147180 w 792271"/>
              <a:gd name="connsiteY74" fmla="*/ 632564 h 817323"/>
              <a:gd name="connsiteX75" fmla="*/ 122128 w 792271"/>
              <a:gd name="connsiteY75" fmla="*/ 629433 h 817323"/>
              <a:gd name="connsiteX76" fmla="*/ 115865 w 792271"/>
              <a:gd name="connsiteY76" fmla="*/ 610644 h 817323"/>
              <a:gd name="connsiteX77" fmla="*/ 93945 w 792271"/>
              <a:gd name="connsiteY77" fmla="*/ 582460 h 817323"/>
              <a:gd name="connsiteX78" fmla="*/ 78287 w 792271"/>
              <a:gd name="connsiteY78" fmla="*/ 566803 h 817323"/>
              <a:gd name="connsiteX79" fmla="*/ 72024 w 792271"/>
              <a:gd name="connsiteY79" fmla="*/ 557408 h 817323"/>
              <a:gd name="connsiteX80" fmla="*/ 43841 w 792271"/>
              <a:gd name="connsiteY80" fmla="*/ 541751 h 817323"/>
              <a:gd name="connsiteX81" fmla="*/ 34446 w 792271"/>
              <a:gd name="connsiteY81" fmla="*/ 535488 h 817323"/>
              <a:gd name="connsiteX82" fmla="*/ 25052 w 792271"/>
              <a:gd name="connsiteY82" fmla="*/ 532356 h 817323"/>
              <a:gd name="connsiteX83" fmla="*/ 15657 w 792271"/>
              <a:gd name="connsiteY83" fmla="*/ 522962 h 817323"/>
              <a:gd name="connsiteX84" fmla="*/ 12526 w 792271"/>
              <a:gd name="connsiteY84" fmla="*/ 513567 h 817323"/>
              <a:gd name="connsiteX85" fmla="*/ 25052 w 792271"/>
              <a:gd name="connsiteY85" fmla="*/ 494778 h 817323"/>
              <a:gd name="connsiteX86" fmla="*/ 28183 w 792271"/>
              <a:gd name="connsiteY86" fmla="*/ 454068 h 817323"/>
              <a:gd name="connsiteX87" fmla="*/ 31315 w 792271"/>
              <a:gd name="connsiteY87" fmla="*/ 422753 h 817323"/>
              <a:gd name="connsiteX88" fmla="*/ 37578 w 792271"/>
              <a:gd name="connsiteY88" fmla="*/ 403964 h 817323"/>
              <a:gd name="connsiteX89" fmla="*/ 34446 w 792271"/>
              <a:gd name="connsiteY89" fmla="*/ 388307 h 817323"/>
              <a:gd name="connsiteX90" fmla="*/ 25052 w 792271"/>
              <a:gd name="connsiteY90" fmla="*/ 382044 h 817323"/>
              <a:gd name="connsiteX91" fmla="*/ 31315 w 792271"/>
              <a:gd name="connsiteY91" fmla="*/ 341334 h 817323"/>
              <a:gd name="connsiteX92" fmla="*/ 21920 w 792271"/>
              <a:gd name="connsiteY92" fmla="*/ 319414 h 817323"/>
              <a:gd name="connsiteX93" fmla="*/ 12526 w 792271"/>
              <a:gd name="connsiteY93" fmla="*/ 316282 h 817323"/>
              <a:gd name="connsiteX94" fmla="*/ 6263 w 792271"/>
              <a:gd name="connsiteY94" fmla="*/ 306888 h 817323"/>
              <a:gd name="connsiteX95" fmla="*/ 0 w 792271"/>
              <a:gd name="connsiteY95" fmla="*/ 288099 h 817323"/>
              <a:gd name="connsiteX96" fmla="*/ 3131 w 792271"/>
              <a:gd name="connsiteY96" fmla="*/ 259915 h 817323"/>
              <a:gd name="connsiteX97" fmla="*/ 25052 w 792271"/>
              <a:gd name="connsiteY97" fmla="*/ 260535 h 817323"/>
              <a:gd name="connsiteX98" fmla="*/ 43841 w 792271"/>
              <a:gd name="connsiteY98" fmla="*/ 278704 h 817323"/>
              <a:gd name="connsiteX99" fmla="*/ 46972 w 792271"/>
              <a:gd name="connsiteY99" fmla="*/ 288099 h 817323"/>
              <a:gd name="connsiteX100" fmla="*/ 56367 w 792271"/>
              <a:gd name="connsiteY100" fmla="*/ 291230 h 817323"/>
              <a:gd name="connsiteX101" fmla="*/ 100208 w 792271"/>
              <a:gd name="connsiteY101" fmla="*/ 288099 h 817323"/>
              <a:gd name="connsiteX102" fmla="*/ 118997 w 792271"/>
              <a:gd name="connsiteY102" fmla="*/ 272441 h 817323"/>
              <a:gd name="connsiteX103" fmla="*/ 122128 w 792271"/>
              <a:gd name="connsiteY103" fmla="*/ 263047 h 817323"/>
              <a:gd name="connsiteX104" fmla="*/ 118997 w 792271"/>
              <a:gd name="connsiteY104" fmla="*/ 237994 h 817323"/>
              <a:gd name="connsiteX105" fmla="*/ 106471 w 792271"/>
              <a:gd name="connsiteY105" fmla="*/ 219205 h 817323"/>
              <a:gd name="connsiteX106" fmla="*/ 97076 w 792271"/>
              <a:gd name="connsiteY106" fmla="*/ 200416 h 817323"/>
              <a:gd name="connsiteX107" fmla="*/ 128391 w 792271"/>
              <a:gd name="connsiteY107" fmla="*/ 184759 h 817323"/>
              <a:gd name="connsiteX108" fmla="*/ 137786 w 792271"/>
              <a:gd name="connsiteY108" fmla="*/ 175364 h 817323"/>
              <a:gd name="connsiteX109" fmla="*/ 153443 w 792271"/>
              <a:gd name="connsiteY109" fmla="*/ 159707 h 817323"/>
              <a:gd name="connsiteX110" fmla="*/ 172233 w 792271"/>
              <a:gd name="connsiteY110" fmla="*/ 153444 h 817323"/>
              <a:gd name="connsiteX111" fmla="*/ 178496 w 792271"/>
              <a:gd name="connsiteY111" fmla="*/ 144049 h 817323"/>
              <a:gd name="connsiteX112" fmla="*/ 184759 w 792271"/>
              <a:gd name="connsiteY112" fmla="*/ 115866 h 817323"/>
              <a:gd name="connsiteX113" fmla="*/ 187890 w 792271"/>
              <a:gd name="connsiteY113" fmla="*/ 100208 h 817323"/>
              <a:gd name="connsiteX114" fmla="*/ 191022 w 792271"/>
              <a:gd name="connsiteY114" fmla="*/ 78288 h 817323"/>
              <a:gd name="connsiteX115" fmla="*/ 187760 w 792271"/>
              <a:gd name="connsiteY115" fmla="*/ 54737 h 817323"/>
              <a:gd name="connsiteX116" fmla="*/ 214345 w 792271"/>
              <a:gd name="connsiteY116" fmla="*/ 48245 h 817323"/>
              <a:gd name="connsiteX117" fmla="*/ 264351 w 792271"/>
              <a:gd name="connsiteY117" fmla="*/ 43482 h 817323"/>
              <a:gd name="connsiteX118" fmla="*/ 284967 w 792271"/>
              <a:gd name="connsiteY118" fmla="*/ 62630 h 817323"/>
              <a:gd name="connsiteX119" fmla="*/ 297493 w 792271"/>
              <a:gd name="connsiteY119" fmla="*/ 81419 h 817323"/>
              <a:gd name="connsiteX120" fmla="*/ 316282 w 792271"/>
              <a:gd name="connsiteY120" fmla="*/ 87682 h 817323"/>
              <a:gd name="connsiteX121" fmla="*/ 356991 w 792271"/>
              <a:gd name="connsiteY121" fmla="*/ 93945 h 817323"/>
              <a:gd name="connsiteX122" fmla="*/ 397701 w 792271"/>
              <a:gd name="connsiteY122" fmla="*/ 90814 h 817323"/>
              <a:gd name="connsiteX123" fmla="*/ 419622 w 792271"/>
              <a:gd name="connsiteY123" fmla="*/ 65762 h 817323"/>
              <a:gd name="connsiteX124" fmla="*/ 429016 w 792271"/>
              <a:gd name="connsiteY124" fmla="*/ 59499 h 817323"/>
              <a:gd name="connsiteX125" fmla="*/ 438411 w 792271"/>
              <a:gd name="connsiteY125" fmla="*/ 68893 h 817323"/>
              <a:gd name="connsiteX126" fmla="*/ 441542 w 792271"/>
              <a:gd name="connsiteY126" fmla="*/ 78288 h 817323"/>
              <a:gd name="connsiteX127" fmla="*/ 457200 w 792271"/>
              <a:gd name="connsiteY127" fmla="*/ 75156 h 817323"/>
              <a:gd name="connsiteX128" fmla="*/ 466594 w 792271"/>
              <a:gd name="connsiteY128" fmla="*/ 68893 h 817323"/>
              <a:gd name="connsiteX129" fmla="*/ 469726 w 792271"/>
              <a:gd name="connsiteY129" fmla="*/ 59499 h 817323"/>
              <a:gd name="connsiteX130" fmla="*/ 475989 w 792271"/>
              <a:gd name="connsiteY130" fmla="*/ 50104 h 817323"/>
              <a:gd name="connsiteX131" fmla="*/ 482252 w 792271"/>
              <a:gd name="connsiteY131" fmla="*/ 37578 h 817323"/>
              <a:gd name="connsiteX132" fmla="*/ 510435 w 792271"/>
              <a:gd name="connsiteY132" fmla="*/ 25052 h 817323"/>
              <a:gd name="connsiteX133" fmla="*/ 519830 w 792271"/>
              <a:gd name="connsiteY133" fmla="*/ 18789 h 817323"/>
              <a:gd name="connsiteX134" fmla="*/ 538619 w 792271"/>
              <a:gd name="connsiteY134" fmla="*/ 3131 h 817323"/>
              <a:gd name="connsiteX135" fmla="*/ 548013 w 792271"/>
              <a:gd name="connsiteY135" fmla="*/ 0 h 817323"/>
              <a:gd name="connsiteX136" fmla="*/ 563671 w 792271"/>
              <a:gd name="connsiteY136" fmla="*/ 21921 h 817323"/>
              <a:gd name="connsiteX137" fmla="*/ 563671 w 792271"/>
              <a:gd name="connsiteY137" fmla="*/ 21921 h 817323"/>
              <a:gd name="connsiteX138" fmla="*/ 573065 w 792271"/>
              <a:gd name="connsiteY138" fmla="*/ 28184 h 817323"/>
              <a:gd name="connsiteX139" fmla="*/ 591854 w 792271"/>
              <a:gd name="connsiteY139" fmla="*/ 46973 h 817323"/>
              <a:gd name="connsiteX140" fmla="*/ 573065 w 792271"/>
              <a:gd name="connsiteY140" fmla="*/ 84551 h 817323"/>
              <a:gd name="connsiteX141" fmla="*/ 566802 w 792271"/>
              <a:gd name="connsiteY141" fmla="*/ 93945 h 817323"/>
              <a:gd name="connsiteX142" fmla="*/ 560539 w 792271"/>
              <a:gd name="connsiteY142" fmla="*/ 103340 h 817323"/>
              <a:gd name="connsiteX143" fmla="*/ 557408 w 792271"/>
              <a:gd name="connsiteY143" fmla="*/ 112734 h 817323"/>
              <a:gd name="connsiteX144" fmla="*/ 554276 w 792271"/>
              <a:gd name="connsiteY144" fmla="*/ 165970 h 817323"/>
              <a:gd name="connsiteX145" fmla="*/ 535487 w 792271"/>
              <a:gd name="connsiteY145" fmla="*/ 175364 h 817323"/>
              <a:gd name="connsiteX146" fmla="*/ 531736 w 792271"/>
              <a:gd name="connsiteY146" fmla="*/ 198916 h 817323"/>
              <a:gd name="connsiteX147" fmla="*/ 520711 w 792271"/>
              <a:gd name="connsiteY147" fmla="*/ 217704 h 817323"/>
              <a:gd name="connsiteX148" fmla="*/ 510435 w 792271"/>
              <a:gd name="connsiteY148" fmla="*/ 222337 h 817323"/>
              <a:gd name="connsiteX149" fmla="*/ 513567 w 792271"/>
              <a:gd name="connsiteY149" fmla="*/ 247389 h 817323"/>
              <a:gd name="connsiteX150" fmla="*/ 526093 w 792271"/>
              <a:gd name="connsiteY150" fmla="*/ 266178 h 817323"/>
              <a:gd name="connsiteX151" fmla="*/ 522961 w 792271"/>
              <a:gd name="connsiteY151" fmla="*/ 316282 h 817323"/>
              <a:gd name="connsiteX152" fmla="*/ 519830 w 792271"/>
              <a:gd name="connsiteY152" fmla="*/ 325677 h 817323"/>
              <a:gd name="connsiteX153" fmla="*/ 516698 w 792271"/>
              <a:gd name="connsiteY153" fmla="*/ 338203 h 817323"/>
              <a:gd name="connsiteX154" fmla="*/ 513567 w 792271"/>
              <a:gd name="connsiteY154" fmla="*/ 347597 h 817323"/>
              <a:gd name="connsiteX155" fmla="*/ 507304 w 792271"/>
              <a:gd name="connsiteY155" fmla="*/ 375781 h 817323"/>
              <a:gd name="connsiteX156" fmla="*/ 504172 w 792271"/>
              <a:gd name="connsiteY156" fmla="*/ 388307 h 817323"/>
              <a:gd name="connsiteX157" fmla="*/ 501041 w 792271"/>
              <a:gd name="connsiteY157" fmla="*/ 397701 h 817323"/>
              <a:gd name="connsiteX158" fmla="*/ 494778 w 792271"/>
              <a:gd name="connsiteY158" fmla="*/ 425885 h 817323"/>
              <a:gd name="connsiteX159" fmla="*/ 485383 w 792271"/>
              <a:gd name="connsiteY159" fmla="*/ 435279 h 817323"/>
              <a:gd name="connsiteX160" fmla="*/ 472857 w 792271"/>
              <a:gd name="connsiteY160" fmla="*/ 454068 h 817323"/>
              <a:gd name="connsiteX161" fmla="*/ 469726 w 792271"/>
              <a:gd name="connsiteY161" fmla="*/ 488515 h 817323"/>
              <a:gd name="connsiteX162" fmla="*/ 488515 w 792271"/>
              <a:gd name="connsiteY162" fmla="*/ 497910 h 817323"/>
              <a:gd name="connsiteX163" fmla="*/ 507304 w 792271"/>
              <a:gd name="connsiteY163" fmla="*/ 507304 h 817323"/>
              <a:gd name="connsiteX164" fmla="*/ 535487 w 792271"/>
              <a:gd name="connsiteY164" fmla="*/ 507304 h 817323"/>
              <a:gd name="connsiteX165" fmla="*/ 541750 w 792271"/>
              <a:gd name="connsiteY165" fmla="*/ 513567 h 817323"/>
              <a:gd name="connsiteX0" fmla="*/ 541750 w 792271"/>
              <a:gd name="connsiteY0" fmla="*/ 513567 h 817323"/>
              <a:gd name="connsiteX1" fmla="*/ 557408 w 792271"/>
              <a:gd name="connsiteY1" fmla="*/ 501041 h 817323"/>
              <a:gd name="connsiteX2" fmla="*/ 576197 w 792271"/>
              <a:gd name="connsiteY2" fmla="*/ 488515 h 817323"/>
              <a:gd name="connsiteX3" fmla="*/ 573065 w 792271"/>
              <a:gd name="connsiteY3" fmla="*/ 479121 h 817323"/>
              <a:gd name="connsiteX4" fmla="*/ 554276 w 792271"/>
              <a:gd name="connsiteY4" fmla="*/ 472858 h 817323"/>
              <a:gd name="connsiteX5" fmla="*/ 554276 w 792271"/>
              <a:gd name="connsiteY5" fmla="*/ 444674 h 817323"/>
              <a:gd name="connsiteX6" fmla="*/ 563671 w 792271"/>
              <a:gd name="connsiteY6" fmla="*/ 438411 h 817323"/>
              <a:gd name="connsiteX7" fmla="*/ 572935 w 792271"/>
              <a:gd name="connsiteY7" fmla="*/ 417990 h 817323"/>
              <a:gd name="connsiteX8" fmla="*/ 594986 w 792271"/>
              <a:gd name="connsiteY8" fmla="*/ 400833 h 817323"/>
              <a:gd name="connsiteX9" fmla="*/ 607512 w 792271"/>
              <a:gd name="connsiteY9" fmla="*/ 382044 h 817323"/>
              <a:gd name="connsiteX10" fmla="*/ 620038 w 792271"/>
              <a:gd name="connsiteY10" fmla="*/ 363255 h 817323"/>
              <a:gd name="connsiteX11" fmla="*/ 629433 w 792271"/>
              <a:gd name="connsiteY11" fmla="*/ 356992 h 817323"/>
              <a:gd name="connsiteX12" fmla="*/ 645090 w 792271"/>
              <a:gd name="connsiteY12" fmla="*/ 360123 h 817323"/>
              <a:gd name="connsiteX13" fmla="*/ 657747 w 792271"/>
              <a:gd name="connsiteY13" fmla="*/ 359993 h 817323"/>
              <a:gd name="connsiteX14" fmla="*/ 673404 w 792271"/>
              <a:gd name="connsiteY14" fmla="*/ 373269 h 817323"/>
              <a:gd name="connsiteX15" fmla="*/ 678037 w 792271"/>
              <a:gd name="connsiteY15" fmla="*/ 381163 h 817323"/>
              <a:gd name="connsiteX16" fmla="*/ 685049 w 792271"/>
              <a:gd name="connsiteY16" fmla="*/ 387426 h 817323"/>
              <a:gd name="connsiteX17" fmla="*/ 732772 w 792271"/>
              <a:gd name="connsiteY17" fmla="*/ 400833 h 817323"/>
              <a:gd name="connsiteX18" fmla="*/ 742167 w 792271"/>
              <a:gd name="connsiteY18" fmla="*/ 410227 h 817323"/>
              <a:gd name="connsiteX19" fmla="*/ 729641 w 792271"/>
              <a:gd name="connsiteY19" fmla="*/ 435279 h 817323"/>
              <a:gd name="connsiteX20" fmla="*/ 698326 w 792271"/>
              <a:gd name="connsiteY20" fmla="*/ 457200 h 817323"/>
              <a:gd name="connsiteX21" fmla="*/ 688931 w 792271"/>
              <a:gd name="connsiteY21" fmla="*/ 466594 h 817323"/>
              <a:gd name="connsiteX22" fmla="*/ 692063 w 792271"/>
              <a:gd name="connsiteY22" fmla="*/ 488515 h 817323"/>
              <a:gd name="connsiteX23" fmla="*/ 704589 w 792271"/>
              <a:gd name="connsiteY23" fmla="*/ 491647 h 817323"/>
              <a:gd name="connsiteX24" fmla="*/ 723378 w 792271"/>
              <a:gd name="connsiteY24" fmla="*/ 497910 h 817323"/>
              <a:gd name="connsiteX25" fmla="*/ 732772 w 792271"/>
              <a:gd name="connsiteY25" fmla="*/ 507304 h 817323"/>
              <a:gd name="connsiteX26" fmla="*/ 751561 w 792271"/>
              <a:gd name="connsiteY26" fmla="*/ 519830 h 817323"/>
              <a:gd name="connsiteX27" fmla="*/ 764087 w 792271"/>
              <a:gd name="connsiteY27" fmla="*/ 538619 h 817323"/>
              <a:gd name="connsiteX28" fmla="*/ 773482 w 792271"/>
              <a:gd name="connsiteY28" fmla="*/ 548014 h 817323"/>
              <a:gd name="connsiteX29" fmla="*/ 779745 w 792271"/>
              <a:gd name="connsiteY29" fmla="*/ 560540 h 817323"/>
              <a:gd name="connsiteX30" fmla="*/ 792271 w 792271"/>
              <a:gd name="connsiteY30" fmla="*/ 579329 h 817323"/>
              <a:gd name="connsiteX31" fmla="*/ 789139 w 792271"/>
              <a:gd name="connsiteY31" fmla="*/ 598118 h 817323"/>
              <a:gd name="connsiteX32" fmla="*/ 779745 w 792271"/>
              <a:gd name="connsiteY32" fmla="*/ 601249 h 817323"/>
              <a:gd name="connsiteX33" fmla="*/ 767219 w 792271"/>
              <a:gd name="connsiteY33" fmla="*/ 604381 h 817323"/>
              <a:gd name="connsiteX34" fmla="*/ 754693 w 792271"/>
              <a:gd name="connsiteY34" fmla="*/ 623170 h 817323"/>
              <a:gd name="connsiteX35" fmla="*/ 735904 w 792271"/>
              <a:gd name="connsiteY35" fmla="*/ 626301 h 817323"/>
              <a:gd name="connsiteX36" fmla="*/ 704589 w 792271"/>
              <a:gd name="connsiteY36" fmla="*/ 635696 h 817323"/>
              <a:gd name="connsiteX37" fmla="*/ 588723 w 792271"/>
              <a:gd name="connsiteY37" fmla="*/ 638827 h 817323"/>
              <a:gd name="connsiteX38" fmla="*/ 569934 w 792271"/>
              <a:gd name="connsiteY38" fmla="*/ 667011 h 817323"/>
              <a:gd name="connsiteX39" fmla="*/ 566802 w 792271"/>
              <a:gd name="connsiteY39" fmla="*/ 676405 h 817323"/>
              <a:gd name="connsiteX40" fmla="*/ 554276 w 792271"/>
              <a:gd name="connsiteY40" fmla="*/ 695194 h 817323"/>
              <a:gd name="connsiteX41" fmla="*/ 548013 w 792271"/>
              <a:gd name="connsiteY41" fmla="*/ 704589 h 817323"/>
              <a:gd name="connsiteX42" fmla="*/ 532356 w 792271"/>
              <a:gd name="connsiteY42" fmla="*/ 732773 h 817323"/>
              <a:gd name="connsiteX43" fmla="*/ 519830 w 792271"/>
              <a:gd name="connsiteY43" fmla="*/ 764088 h 817323"/>
              <a:gd name="connsiteX44" fmla="*/ 513567 w 792271"/>
              <a:gd name="connsiteY44" fmla="*/ 773482 h 817323"/>
              <a:gd name="connsiteX45" fmla="*/ 507304 w 792271"/>
              <a:gd name="connsiteY45" fmla="*/ 792271 h 817323"/>
              <a:gd name="connsiteX46" fmla="*/ 504172 w 792271"/>
              <a:gd name="connsiteY46" fmla="*/ 801666 h 817323"/>
              <a:gd name="connsiteX47" fmla="*/ 501041 w 792271"/>
              <a:gd name="connsiteY47" fmla="*/ 811060 h 817323"/>
              <a:gd name="connsiteX48" fmla="*/ 485383 w 792271"/>
              <a:gd name="connsiteY48" fmla="*/ 798534 h 817323"/>
              <a:gd name="connsiteX49" fmla="*/ 466594 w 792271"/>
              <a:gd name="connsiteY49" fmla="*/ 817323 h 817323"/>
              <a:gd name="connsiteX50" fmla="*/ 441542 w 792271"/>
              <a:gd name="connsiteY50" fmla="*/ 814192 h 817323"/>
              <a:gd name="connsiteX51" fmla="*/ 435279 w 792271"/>
              <a:gd name="connsiteY51" fmla="*/ 804797 h 817323"/>
              <a:gd name="connsiteX52" fmla="*/ 425885 w 792271"/>
              <a:gd name="connsiteY52" fmla="*/ 795403 h 817323"/>
              <a:gd name="connsiteX53" fmla="*/ 419622 w 792271"/>
              <a:gd name="connsiteY53" fmla="*/ 786008 h 817323"/>
              <a:gd name="connsiteX54" fmla="*/ 410227 w 792271"/>
              <a:gd name="connsiteY54" fmla="*/ 776614 h 817323"/>
              <a:gd name="connsiteX55" fmla="*/ 403964 w 792271"/>
              <a:gd name="connsiteY55" fmla="*/ 767219 h 817323"/>
              <a:gd name="connsiteX56" fmla="*/ 394569 w 792271"/>
              <a:gd name="connsiteY56" fmla="*/ 757825 h 817323"/>
              <a:gd name="connsiteX57" fmla="*/ 372649 w 792271"/>
              <a:gd name="connsiteY57" fmla="*/ 732773 h 817323"/>
              <a:gd name="connsiteX58" fmla="*/ 366386 w 792271"/>
              <a:gd name="connsiteY58" fmla="*/ 723378 h 817323"/>
              <a:gd name="connsiteX59" fmla="*/ 306887 w 792271"/>
              <a:gd name="connsiteY59" fmla="*/ 713984 h 817323"/>
              <a:gd name="connsiteX60" fmla="*/ 294361 w 792271"/>
              <a:gd name="connsiteY60" fmla="*/ 660748 h 817323"/>
              <a:gd name="connsiteX61" fmla="*/ 288098 w 792271"/>
              <a:gd name="connsiteY61" fmla="*/ 651353 h 817323"/>
              <a:gd name="connsiteX62" fmla="*/ 269309 w 792271"/>
              <a:gd name="connsiteY62" fmla="*/ 641959 h 817323"/>
              <a:gd name="connsiteX63" fmla="*/ 256783 w 792271"/>
              <a:gd name="connsiteY63" fmla="*/ 645090 h 817323"/>
              <a:gd name="connsiteX64" fmla="*/ 228600 w 792271"/>
              <a:gd name="connsiteY64" fmla="*/ 654485 h 817323"/>
              <a:gd name="connsiteX65" fmla="*/ 219205 w 792271"/>
              <a:gd name="connsiteY65" fmla="*/ 660748 h 817323"/>
              <a:gd name="connsiteX66" fmla="*/ 212942 w 792271"/>
              <a:gd name="connsiteY66" fmla="*/ 670142 h 817323"/>
              <a:gd name="connsiteX67" fmla="*/ 206679 w 792271"/>
              <a:gd name="connsiteY67" fmla="*/ 688931 h 817323"/>
              <a:gd name="connsiteX68" fmla="*/ 200416 w 792271"/>
              <a:gd name="connsiteY68" fmla="*/ 707721 h 817323"/>
              <a:gd name="connsiteX69" fmla="*/ 191022 w 792271"/>
              <a:gd name="connsiteY69" fmla="*/ 710852 h 817323"/>
              <a:gd name="connsiteX70" fmla="*/ 169101 w 792271"/>
              <a:gd name="connsiteY70" fmla="*/ 701458 h 817323"/>
              <a:gd name="connsiteX71" fmla="*/ 162838 w 792271"/>
              <a:gd name="connsiteY71" fmla="*/ 695194 h 817323"/>
              <a:gd name="connsiteX72" fmla="*/ 159706 w 792271"/>
              <a:gd name="connsiteY72" fmla="*/ 685800 h 817323"/>
              <a:gd name="connsiteX73" fmla="*/ 153443 w 792271"/>
              <a:gd name="connsiteY73" fmla="*/ 651353 h 817323"/>
              <a:gd name="connsiteX74" fmla="*/ 147180 w 792271"/>
              <a:gd name="connsiteY74" fmla="*/ 632564 h 817323"/>
              <a:gd name="connsiteX75" fmla="*/ 122128 w 792271"/>
              <a:gd name="connsiteY75" fmla="*/ 629433 h 817323"/>
              <a:gd name="connsiteX76" fmla="*/ 115865 w 792271"/>
              <a:gd name="connsiteY76" fmla="*/ 610644 h 817323"/>
              <a:gd name="connsiteX77" fmla="*/ 93945 w 792271"/>
              <a:gd name="connsiteY77" fmla="*/ 582460 h 817323"/>
              <a:gd name="connsiteX78" fmla="*/ 78287 w 792271"/>
              <a:gd name="connsiteY78" fmla="*/ 566803 h 817323"/>
              <a:gd name="connsiteX79" fmla="*/ 72024 w 792271"/>
              <a:gd name="connsiteY79" fmla="*/ 557408 h 817323"/>
              <a:gd name="connsiteX80" fmla="*/ 43841 w 792271"/>
              <a:gd name="connsiteY80" fmla="*/ 541751 h 817323"/>
              <a:gd name="connsiteX81" fmla="*/ 34446 w 792271"/>
              <a:gd name="connsiteY81" fmla="*/ 535488 h 817323"/>
              <a:gd name="connsiteX82" fmla="*/ 25052 w 792271"/>
              <a:gd name="connsiteY82" fmla="*/ 532356 h 817323"/>
              <a:gd name="connsiteX83" fmla="*/ 15657 w 792271"/>
              <a:gd name="connsiteY83" fmla="*/ 522962 h 817323"/>
              <a:gd name="connsiteX84" fmla="*/ 12526 w 792271"/>
              <a:gd name="connsiteY84" fmla="*/ 513567 h 817323"/>
              <a:gd name="connsiteX85" fmla="*/ 25052 w 792271"/>
              <a:gd name="connsiteY85" fmla="*/ 494778 h 817323"/>
              <a:gd name="connsiteX86" fmla="*/ 28183 w 792271"/>
              <a:gd name="connsiteY86" fmla="*/ 454068 h 817323"/>
              <a:gd name="connsiteX87" fmla="*/ 31315 w 792271"/>
              <a:gd name="connsiteY87" fmla="*/ 422753 h 817323"/>
              <a:gd name="connsiteX88" fmla="*/ 37578 w 792271"/>
              <a:gd name="connsiteY88" fmla="*/ 403964 h 817323"/>
              <a:gd name="connsiteX89" fmla="*/ 34446 w 792271"/>
              <a:gd name="connsiteY89" fmla="*/ 388307 h 817323"/>
              <a:gd name="connsiteX90" fmla="*/ 25052 w 792271"/>
              <a:gd name="connsiteY90" fmla="*/ 382044 h 817323"/>
              <a:gd name="connsiteX91" fmla="*/ 31315 w 792271"/>
              <a:gd name="connsiteY91" fmla="*/ 341334 h 817323"/>
              <a:gd name="connsiteX92" fmla="*/ 21920 w 792271"/>
              <a:gd name="connsiteY92" fmla="*/ 319414 h 817323"/>
              <a:gd name="connsiteX93" fmla="*/ 12526 w 792271"/>
              <a:gd name="connsiteY93" fmla="*/ 316282 h 817323"/>
              <a:gd name="connsiteX94" fmla="*/ 6263 w 792271"/>
              <a:gd name="connsiteY94" fmla="*/ 306888 h 817323"/>
              <a:gd name="connsiteX95" fmla="*/ 0 w 792271"/>
              <a:gd name="connsiteY95" fmla="*/ 288099 h 817323"/>
              <a:gd name="connsiteX96" fmla="*/ 3131 w 792271"/>
              <a:gd name="connsiteY96" fmla="*/ 259915 h 817323"/>
              <a:gd name="connsiteX97" fmla="*/ 25052 w 792271"/>
              <a:gd name="connsiteY97" fmla="*/ 260535 h 817323"/>
              <a:gd name="connsiteX98" fmla="*/ 43841 w 792271"/>
              <a:gd name="connsiteY98" fmla="*/ 278704 h 817323"/>
              <a:gd name="connsiteX99" fmla="*/ 46972 w 792271"/>
              <a:gd name="connsiteY99" fmla="*/ 288099 h 817323"/>
              <a:gd name="connsiteX100" fmla="*/ 56367 w 792271"/>
              <a:gd name="connsiteY100" fmla="*/ 291230 h 817323"/>
              <a:gd name="connsiteX101" fmla="*/ 100208 w 792271"/>
              <a:gd name="connsiteY101" fmla="*/ 288099 h 817323"/>
              <a:gd name="connsiteX102" fmla="*/ 118997 w 792271"/>
              <a:gd name="connsiteY102" fmla="*/ 272441 h 817323"/>
              <a:gd name="connsiteX103" fmla="*/ 122128 w 792271"/>
              <a:gd name="connsiteY103" fmla="*/ 263047 h 817323"/>
              <a:gd name="connsiteX104" fmla="*/ 118997 w 792271"/>
              <a:gd name="connsiteY104" fmla="*/ 237994 h 817323"/>
              <a:gd name="connsiteX105" fmla="*/ 106471 w 792271"/>
              <a:gd name="connsiteY105" fmla="*/ 219205 h 817323"/>
              <a:gd name="connsiteX106" fmla="*/ 97076 w 792271"/>
              <a:gd name="connsiteY106" fmla="*/ 200416 h 817323"/>
              <a:gd name="connsiteX107" fmla="*/ 128391 w 792271"/>
              <a:gd name="connsiteY107" fmla="*/ 184759 h 817323"/>
              <a:gd name="connsiteX108" fmla="*/ 137786 w 792271"/>
              <a:gd name="connsiteY108" fmla="*/ 175364 h 817323"/>
              <a:gd name="connsiteX109" fmla="*/ 153443 w 792271"/>
              <a:gd name="connsiteY109" fmla="*/ 159707 h 817323"/>
              <a:gd name="connsiteX110" fmla="*/ 172233 w 792271"/>
              <a:gd name="connsiteY110" fmla="*/ 153444 h 817323"/>
              <a:gd name="connsiteX111" fmla="*/ 178496 w 792271"/>
              <a:gd name="connsiteY111" fmla="*/ 144049 h 817323"/>
              <a:gd name="connsiteX112" fmla="*/ 184759 w 792271"/>
              <a:gd name="connsiteY112" fmla="*/ 115866 h 817323"/>
              <a:gd name="connsiteX113" fmla="*/ 187890 w 792271"/>
              <a:gd name="connsiteY113" fmla="*/ 100208 h 817323"/>
              <a:gd name="connsiteX114" fmla="*/ 191022 w 792271"/>
              <a:gd name="connsiteY114" fmla="*/ 78288 h 817323"/>
              <a:gd name="connsiteX115" fmla="*/ 187760 w 792271"/>
              <a:gd name="connsiteY115" fmla="*/ 54737 h 817323"/>
              <a:gd name="connsiteX116" fmla="*/ 214345 w 792271"/>
              <a:gd name="connsiteY116" fmla="*/ 48245 h 817323"/>
              <a:gd name="connsiteX117" fmla="*/ 264351 w 792271"/>
              <a:gd name="connsiteY117" fmla="*/ 43482 h 817323"/>
              <a:gd name="connsiteX118" fmla="*/ 284967 w 792271"/>
              <a:gd name="connsiteY118" fmla="*/ 62630 h 817323"/>
              <a:gd name="connsiteX119" fmla="*/ 297493 w 792271"/>
              <a:gd name="connsiteY119" fmla="*/ 81419 h 817323"/>
              <a:gd name="connsiteX120" fmla="*/ 316282 w 792271"/>
              <a:gd name="connsiteY120" fmla="*/ 87682 h 817323"/>
              <a:gd name="connsiteX121" fmla="*/ 356991 w 792271"/>
              <a:gd name="connsiteY121" fmla="*/ 93945 h 817323"/>
              <a:gd name="connsiteX122" fmla="*/ 397701 w 792271"/>
              <a:gd name="connsiteY122" fmla="*/ 90814 h 817323"/>
              <a:gd name="connsiteX123" fmla="*/ 419622 w 792271"/>
              <a:gd name="connsiteY123" fmla="*/ 65762 h 817323"/>
              <a:gd name="connsiteX124" fmla="*/ 429016 w 792271"/>
              <a:gd name="connsiteY124" fmla="*/ 59499 h 817323"/>
              <a:gd name="connsiteX125" fmla="*/ 438411 w 792271"/>
              <a:gd name="connsiteY125" fmla="*/ 68893 h 817323"/>
              <a:gd name="connsiteX126" fmla="*/ 441542 w 792271"/>
              <a:gd name="connsiteY126" fmla="*/ 78288 h 817323"/>
              <a:gd name="connsiteX127" fmla="*/ 457200 w 792271"/>
              <a:gd name="connsiteY127" fmla="*/ 75156 h 817323"/>
              <a:gd name="connsiteX128" fmla="*/ 466594 w 792271"/>
              <a:gd name="connsiteY128" fmla="*/ 68893 h 817323"/>
              <a:gd name="connsiteX129" fmla="*/ 469726 w 792271"/>
              <a:gd name="connsiteY129" fmla="*/ 59499 h 817323"/>
              <a:gd name="connsiteX130" fmla="*/ 475989 w 792271"/>
              <a:gd name="connsiteY130" fmla="*/ 50104 h 817323"/>
              <a:gd name="connsiteX131" fmla="*/ 482252 w 792271"/>
              <a:gd name="connsiteY131" fmla="*/ 37578 h 817323"/>
              <a:gd name="connsiteX132" fmla="*/ 510435 w 792271"/>
              <a:gd name="connsiteY132" fmla="*/ 25052 h 817323"/>
              <a:gd name="connsiteX133" fmla="*/ 519830 w 792271"/>
              <a:gd name="connsiteY133" fmla="*/ 18789 h 817323"/>
              <a:gd name="connsiteX134" fmla="*/ 538619 w 792271"/>
              <a:gd name="connsiteY134" fmla="*/ 3131 h 817323"/>
              <a:gd name="connsiteX135" fmla="*/ 548013 w 792271"/>
              <a:gd name="connsiteY135" fmla="*/ 0 h 817323"/>
              <a:gd name="connsiteX136" fmla="*/ 563671 w 792271"/>
              <a:gd name="connsiteY136" fmla="*/ 21921 h 817323"/>
              <a:gd name="connsiteX137" fmla="*/ 563671 w 792271"/>
              <a:gd name="connsiteY137" fmla="*/ 21921 h 817323"/>
              <a:gd name="connsiteX138" fmla="*/ 573065 w 792271"/>
              <a:gd name="connsiteY138" fmla="*/ 28184 h 817323"/>
              <a:gd name="connsiteX139" fmla="*/ 591854 w 792271"/>
              <a:gd name="connsiteY139" fmla="*/ 46973 h 817323"/>
              <a:gd name="connsiteX140" fmla="*/ 573065 w 792271"/>
              <a:gd name="connsiteY140" fmla="*/ 84551 h 817323"/>
              <a:gd name="connsiteX141" fmla="*/ 566802 w 792271"/>
              <a:gd name="connsiteY141" fmla="*/ 93945 h 817323"/>
              <a:gd name="connsiteX142" fmla="*/ 560539 w 792271"/>
              <a:gd name="connsiteY142" fmla="*/ 103340 h 817323"/>
              <a:gd name="connsiteX143" fmla="*/ 557408 w 792271"/>
              <a:gd name="connsiteY143" fmla="*/ 112734 h 817323"/>
              <a:gd name="connsiteX144" fmla="*/ 554276 w 792271"/>
              <a:gd name="connsiteY144" fmla="*/ 165970 h 817323"/>
              <a:gd name="connsiteX145" fmla="*/ 535487 w 792271"/>
              <a:gd name="connsiteY145" fmla="*/ 175364 h 817323"/>
              <a:gd name="connsiteX146" fmla="*/ 531736 w 792271"/>
              <a:gd name="connsiteY146" fmla="*/ 198916 h 817323"/>
              <a:gd name="connsiteX147" fmla="*/ 520711 w 792271"/>
              <a:gd name="connsiteY147" fmla="*/ 217704 h 817323"/>
              <a:gd name="connsiteX148" fmla="*/ 510435 w 792271"/>
              <a:gd name="connsiteY148" fmla="*/ 222337 h 817323"/>
              <a:gd name="connsiteX149" fmla="*/ 513567 w 792271"/>
              <a:gd name="connsiteY149" fmla="*/ 247389 h 817323"/>
              <a:gd name="connsiteX150" fmla="*/ 526093 w 792271"/>
              <a:gd name="connsiteY150" fmla="*/ 266178 h 817323"/>
              <a:gd name="connsiteX151" fmla="*/ 522961 w 792271"/>
              <a:gd name="connsiteY151" fmla="*/ 316282 h 817323"/>
              <a:gd name="connsiteX152" fmla="*/ 519830 w 792271"/>
              <a:gd name="connsiteY152" fmla="*/ 325677 h 817323"/>
              <a:gd name="connsiteX153" fmla="*/ 516698 w 792271"/>
              <a:gd name="connsiteY153" fmla="*/ 338203 h 817323"/>
              <a:gd name="connsiteX154" fmla="*/ 513567 w 792271"/>
              <a:gd name="connsiteY154" fmla="*/ 347597 h 817323"/>
              <a:gd name="connsiteX155" fmla="*/ 507304 w 792271"/>
              <a:gd name="connsiteY155" fmla="*/ 375781 h 817323"/>
              <a:gd name="connsiteX156" fmla="*/ 504172 w 792271"/>
              <a:gd name="connsiteY156" fmla="*/ 388307 h 817323"/>
              <a:gd name="connsiteX157" fmla="*/ 501041 w 792271"/>
              <a:gd name="connsiteY157" fmla="*/ 397701 h 817323"/>
              <a:gd name="connsiteX158" fmla="*/ 494778 w 792271"/>
              <a:gd name="connsiteY158" fmla="*/ 425885 h 817323"/>
              <a:gd name="connsiteX159" fmla="*/ 485383 w 792271"/>
              <a:gd name="connsiteY159" fmla="*/ 435279 h 817323"/>
              <a:gd name="connsiteX160" fmla="*/ 472857 w 792271"/>
              <a:gd name="connsiteY160" fmla="*/ 454068 h 817323"/>
              <a:gd name="connsiteX161" fmla="*/ 469726 w 792271"/>
              <a:gd name="connsiteY161" fmla="*/ 488515 h 817323"/>
              <a:gd name="connsiteX162" fmla="*/ 488515 w 792271"/>
              <a:gd name="connsiteY162" fmla="*/ 497910 h 817323"/>
              <a:gd name="connsiteX163" fmla="*/ 507304 w 792271"/>
              <a:gd name="connsiteY163" fmla="*/ 507304 h 817323"/>
              <a:gd name="connsiteX164" fmla="*/ 535487 w 792271"/>
              <a:gd name="connsiteY164" fmla="*/ 493017 h 817323"/>
              <a:gd name="connsiteX165" fmla="*/ 541750 w 792271"/>
              <a:gd name="connsiteY165" fmla="*/ 513567 h 817323"/>
              <a:gd name="connsiteX0" fmla="*/ 541750 w 792271"/>
              <a:gd name="connsiteY0" fmla="*/ 513567 h 817323"/>
              <a:gd name="connsiteX1" fmla="*/ 557408 w 792271"/>
              <a:gd name="connsiteY1" fmla="*/ 501041 h 817323"/>
              <a:gd name="connsiteX2" fmla="*/ 576197 w 792271"/>
              <a:gd name="connsiteY2" fmla="*/ 488515 h 817323"/>
              <a:gd name="connsiteX3" fmla="*/ 573065 w 792271"/>
              <a:gd name="connsiteY3" fmla="*/ 479121 h 817323"/>
              <a:gd name="connsiteX4" fmla="*/ 554276 w 792271"/>
              <a:gd name="connsiteY4" fmla="*/ 472858 h 817323"/>
              <a:gd name="connsiteX5" fmla="*/ 554276 w 792271"/>
              <a:gd name="connsiteY5" fmla="*/ 444674 h 817323"/>
              <a:gd name="connsiteX6" fmla="*/ 563671 w 792271"/>
              <a:gd name="connsiteY6" fmla="*/ 438411 h 817323"/>
              <a:gd name="connsiteX7" fmla="*/ 572935 w 792271"/>
              <a:gd name="connsiteY7" fmla="*/ 417990 h 817323"/>
              <a:gd name="connsiteX8" fmla="*/ 594986 w 792271"/>
              <a:gd name="connsiteY8" fmla="*/ 400833 h 817323"/>
              <a:gd name="connsiteX9" fmla="*/ 607512 w 792271"/>
              <a:gd name="connsiteY9" fmla="*/ 382044 h 817323"/>
              <a:gd name="connsiteX10" fmla="*/ 620038 w 792271"/>
              <a:gd name="connsiteY10" fmla="*/ 363255 h 817323"/>
              <a:gd name="connsiteX11" fmla="*/ 629433 w 792271"/>
              <a:gd name="connsiteY11" fmla="*/ 356992 h 817323"/>
              <a:gd name="connsiteX12" fmla="*/ 645090 w 792271"/>
              <a:gd name="connsiteY12" fmla="*/ 360123 h 817323"/>
              <a:gd name="connsiteX13" fmla="*/ 657747 w 792271"/>
              <a:gd name="connsiteY13" fmla="*/ 359993 h 817323"/>
              <a:gd name="connsiteX14" fmla="*/ 673404 w 792271"/>
              <a:gd name="connsiteY14" fmla="*/ 373269 h 817323"/>
              <a:gd name="connsiteX15" fmla="*/ 678037 w 792271"/>
              <a:gd name="connsiteY15" fmla="*/ 381163 h 817323"/>
              <a:gd name="connsiteX16" fmla="*/ 685049 w 792271"/>
              <a:gd name="connsiteY16" fmla="*/ 387426 h 817323"/>
              <a:gd name="connsiteX17" fmla="*/ 732772 w 792271"/>
              <a:gd name="connsiteY17" fmla="*/ 400833 h 817323"/>
              <a:gd name="connsiteX18" fmla="*/ 742167 w 792271"/>
              <a:gd name="connsiteY18" fmla="*/ 410227 h 817323"/>
              <a:gd name="connsiteX19" fmla="*/ 729641 w 792271"/>
              <a:gd name="connsiteY19" fmla="*/ 435279 h 817323"/>
              <a:gd name="connsiteX20" fmla="*/ 698326 w 792271"/>
              <a:gd name="connsiteY20" fmla="*/ 457200 h 817323"/>
              <a:gd name="connsiteX21" fmla="*/ 688931 w 792271"/>
              <a:gd name="connsiteY21" fmla="*/ 466594 h 817323"/>
              <a:gd name="connsiteX22" fmla="*/ 692063 w 792271"/>
              <a:gd name="connsiteY22" fmla="*/ 488515 h 817323"/>
              <a:gd name="connsiteX23" fmla="*/ 704589 w 792271"/>
              <a:gd name="connsiteY23" fmla="*/ 491647 h 817323"/>
              <a:gd name="connsiteX24" fmla="*/ 723378 w 792271"/>
              <a:gd name="connsiteY24" fmla="*/ 497910 h 817323"/>
              <a:gd name="connsiteX25" fmla="*/ 732772 w 792271"/>
              <a:gd name="connsiteY25" fmla="*/ 507304 h 817323"/>
              <a:gd name="connsiteX26" fmla="*/ 751561 w 792271"/>
              <a:gd name="connsiteY26" fmla="*/ 519830 h 817323"/>
              <a:gd name="connsiteX27" fmla="*/ 764087 w 792271"/>
              <a:gd name="connsiteY27" fmla="*/ 538619 h 817323"/>
              <a:gd name="connsiteX28" fmla="*/ 773482 w 792271"/>
              <a:gd name="connsiteY28" fmla="*/ 548014 h 817323"/>
              <a:gd name="connsiteX29" fmla="*/ 779745 w 792271"/>
              <a:gd name="connsiteY29" fmla="*/ 560540 h 817323"/>
              <a:gd name="connsiteX30" fmla="*/ 792271 w 792271"/>
              <a:gd name="connsiteY30" fmla="*/ 579329 h 817323"/>
              <a:gd name="connsiteX31" fmla="*/ 789139 w 792271"/>
              <a:gd name="connsiteY31" fmla="*/ 598118 h 817323"/>
              <a:gd name="connsiteX32" fmla="*/ 779745 w 792271"/>
              <a:gd name="connsiteY32" fmla="*/ 601249 h 817323"/>
              <a:gd name="connsiteX33" fmla="*/ 767219 w 792271"/>
              <a:gd name="connsiteY33" fmla="*/ 604381 h 817323"/>
              <a:gd name="connsiteX34" fmla="*/ 754693 w 792271"/>
              <a:gd name="connsiteY34" fmla="*/ 623170 h 817323"/>
              <a:gd name="connsiteX35" fmla="*/ 735904 w 792271"/>
              <a:gd name="connsiteY35" fmla="*/ 626301 h 817323"/>
              <a:gd name="connsiteX36" fmla="*/ 704589 w 792271"/>
              <a:gd name="connsiteY36" fmla="*/ 635696 h 817323"/>
              <a:gd name="connsiteX37" fmla="*/ 588723 w 792271"/>
              <a:gd name="connsiteY37" fmla="*/ 638827 h 817323"/>
              <a:gd name="connsiteX38" fmla="*/ 569934 w 792271"/>
              <a:gd name="connsiteY38" fmla="*/ 667011 h 817323"/>
              <a:gd name="connsiteX39" fmla="*/ 566802 w 792271"/>
              <a:gd name="connsiteY39" fmla="*/ 676405 h 817323"/>
              <a:gd name="connsiteX40" fmla="*/ 554276 w 792271"/>
              <a:gd name="connsiteY40" fmla="*/ 695194 h 817323"/>
              <a:gd name="connsiteX41" fmla="*/ 548013 w 792271"/>
              <a:gd name="connsiteY41" fmla="*/ 704589 h 817323"/>
              <a:gd name="connsiteX42" fmla="*/ 532356 w 792271"/>
              <a:gd name="connsiteY42" fmla="*/ 732773 h 817323"/>
              <a:gd name="connsiteX43" fmla="*/ 519830 w 792271"/>
              <a:gd name="connsiteY43" fmla="*/ 764088 h 817323"/>
              <a:gd name="connsiteX44" fmla="*/ 513567 w 792271"/>
              <a:gd name="connsiteY44" fmla="*/ 773482 h 817323"/>
              <a:gd name="connsiteX45" fmla="*/ 507304 w 792271"/>
              <a:gd name="connsiteY45" fmla="*/ 792271 h 817323"/>
              <a:gd name="connsiteX46" fmla="*/ 504172 w 792271"/>
              <a:gd name="connsiteY46" fmla="*/ 801666 h 817323"/>
              <a:gd name="connsiteX47" fmla="*/ 501041 w 792271"/>
              <a:gd name="connsiteY47" fmla="*/ 811060 h 817323"/>
              <a:gd name="connsiteX48" fmla="*/ 485383 w 792271"/>
              <a:gd name="connsiteY48" fmla="*/ 798534 h 817323"/>
              <a:gd name="connsiteX49" fmla="*/ 466594 w 792271"/>
              <a:gd name="connsiteY49" fmla="*/ 817323 h 817323"/>
              <a:gd name="connsiteX50" fmla="*/ 441542 w 792271"/>
              <a:gd name="connsiteY50" fmla="*/ 814192 h 817323"/>
              <a:gd name="connsiteX51" fmla="*/ 435279 w 792271"/>
              <a:gd name="connsiteY51" fmla="*/ 804797 h 817323"/>
              <a:gd name="connsiteX52" fmla="*/ 425885 w 792271"/>
              <a:gd name="connsiteY52" fmla="*/ 795403 h 817323"/>
              <a:gd name="connsiteX53" fmla="*/ 419622 w 792271"/>
              <a:gd name="connsiteY53" fmla="*/ 786008 h 817323"/>
              <a:gd name="connsiteX54" fmla="*/ 410227 w 792271"/>
              <a:gd name="connsiteY54" fmla="*/ 776614 h 817323"/>
              <a:gd name="connsiteX55" fmla="*/ 403964 w 792271"/>
              <a:gd name="connsiteY55" fmla="*/ 767219 h 817323"/>
              <a:gd name="connsiteX56" fmla="*/ 394569 w 792271"/>
              <a:gd name="connsiteY56" fmla="*/ 757825 h 817323"/>
              <a:gd name="connsiteX57" fmla="*/ 372649 w 792271"/>
              <a:gd name="connsiteY57" fmla="*/ 732773 h 817323"/>
              <a:gd name="connsiteX58" fmla="*/ 366386 w 792271"/>
              <a:gd name="connsiteY58" fmla="*/ 723378 h 817323"/>
              <a:gd name="connsiteX59" fmla="*/ 306887 w 792271"/>
              <a:gd name="connsiteY59" fmla="*/ 713984 h 817323"/>
              <a:gd name="connsiteX60" fmla="*/ 294361 w 792271"/>
              <a:gd name="connsiteY60" fmla="*/ 660748 h 817323"/>
              <a:gd name="connsiteX61" fmla="*/ 288098 w 792271"/>
              <a:gd name="connsiteY61" fmla="*/ 651353 h 817323"/>
              <a:gd name="connsiteX62" fmla="*/ 269309 w 792271"/>
              <a:gd name="connsiteY62" fmla="*/ 641959 h 817323"/>
              <a:gd name="connsiteX63" fmla="*/ 256783 w 792271"/>
              <a:gd name="connsiteY63" fmla="*/ 645090 h 817323"/>
              <a:gd name="connsiteX64" fmla="*/ 228600 w 792271"/>
              <a:gd name="connsiteY64" fmla="*/ 654485 h 817323"/>
              <a:gd name="connsiteX65" fmla="*/ 219205 w 792271"/>
              <a:gd name="connsiteY65" fmla="*/ 660748 h 817323"/>
              <a:gd name="connsiteX66" fmla="*/ 212942 w 792271"/>
              <a:gd name="connsiteY66" fmla="*/ 670142 h 817323"/>
              <a:gd name="connsiteX67" fmla="*/ 206679 w 792271"/>
              <a:gd name="connsiteY67" fmla="*/ 688931 h 817323"/>
              <a:gd name="connsiteX68" fmla="*/ 200416 w 792271"/>
              <a:gd name="connsiteY68" fmla="*/ 707721 h 817323"/>
              <a:gd name="connsiteX69" fmla="*/ 191022 w 792271"/>
              <a:gd name="connsiteY69" fmla="*/ 710852 h 817323"/>
              <a:gd name="connsiteX70" fmla="*/ 169101 w 792271"/>
              <a:gd name="connsiteY70" fmla="*/ 701458 h 817323"/>
              <a:gd name="connsiteX71" fmla="*/ 162838 w 792271"/>
              <a:gd name="connsiteY71" fmla="*/ 695194 h 817323"/>
              <a:gd name="connsiteX72" fmla="*/ 159706 w 792271"/>
              <a:gd name="connsiteY72" fmla="*/ 685800 h 817323"/>
              <a:gd name="connsiteX73" fmla="*/ 153443 w 792271"/>
              <a:gd name="connsiteY73" fmla="*/ 651353 h 817323"/>
              <a:gd name="connsiteX74" fmla="*/ 147180 w 792271"/>
              <a:gd name="connsiteY74" fmla="*/ 632564 h 817323"/>
              <a:gd name="connsiteX75" fmla="*/ 122128 w 792271"/>
              <a:gd name="connsiteY75" fmla="*/ 629433 h 817323"/>
              <a:gd name="connsiteX76" fmla="*/ 115865 w 792271"/>
              <a:gd name="connsiteY76" fmla="*/ 610644 h 817323"/>
              <a:gd name="connsiteX77" fmla="*/ 93945 w 792271"/>
              <a:gd name="connsiteY77" fmla="*/ 582460 h 817323"/>
              <a:gd name="connsiteX78" fmla="*/ 78287 w 792271"/>
              <a:gd name="connsiteY78" fmla="*/ 566803 h 817323"/>
              <a:gd name="connsiteX79" fmla="*/ 72024 w 792271"/>
              <a:gd name="connsiteY79" fmla="*/ 557408 h 817323"/>
              <a:gd name="connsiteX80" fmla="*/ 43841 w 792271"/>
              <a:gd name="connsiteY80" fmla="*/ 541751 h 817323"/>
              <a:gd name="connsiteX81" fmla="*/ 34446 w 792271"/>
              <a:gd name="connsiteY81" fmla="*/ 535488 h 817323"/>
              <a:gd name="connsiteX82" fmla="*/ 25052 w 792271"/>
              <a:gd name="connsiteY82" fmla="*/ 532356 h 817323"/>
              <a:gd name="connsiteX83" fmla="*/ 15657 w 792271"/>
              <a:gd name="connsiteY83" fmla="*/ 522962 h 817323"/>
              <a:gd name="connsiteX84" fmla="*/ 12526 w 792271"/>
              <a:gd name="connsiteY84" fmla="*/ 513567 h 817323"/>
              <a:gd name="connsiteX85" fmla="*/ 25052 w 792271"/>
              <a:gd name="connsiteY85" fmla="*/ 494778 h 817323"/>
              <a:gd name="connsiteX86" fmla="*/ 28183 w 792271"/>
              <a:gd name="connsiteY86" fmla="*/ 454068 h 817323"/>
              <a:gd name="connsiteX87" fmla="*/ 31315 w 792271"/>
              <a:gd name="connsiteY87" fmla="*/ 422753 h 817323"/>
              <a:gd name="connsiteX88" fmla="*/ 37578 w 792271"/>
              <a:gd name="connsiteY88" fmla="*/ 403964 h 817323"/>
              <a:gd name="connsiteX89" fmla="*/ 34446 w 792271"/>
              <a:gd name="connsiteY89" fmla="*/ 388307 h 817323"/>
              <a:gd name="connsiteX90" fmla="*/ 25052 w 792271"/>
              <a:gd name="connsiteY90" fmla="*/ 382044 h 817323"/>
              <a:gd name="connsiteX91" fmla="*/ 31315 w 792271"/>
              <a:gd name="connsiteY91" fmla="*/ 341334 h 817323"/>
              <a:gd name="connsiteX92" fmla="*/ 21920 w 792271"/>
              <a:gd name="connsiteY92" fmla="*/ 319414 h 817323"/>
              <a:gd name="connsiteX93" fmla="*/ 12526 w 792271"/>
              <a:gd name="connsiteY93" fmla="*/ 316282 h 817323"/>
              <a:gd name="connsiteX94" fmla="*/ 6263 w 792271"/>
              <a:gd name="connsiteY94" fmla="*/ 306888 h 817323"/>
              <a:gd name="connsiteX95" fmla="*/ 0 w 792271"/>
              <a:gd name="connsiteY95" fmla="*/ 288099 h 817323"/>
              <a:gd name="connsiteX96" fmla="*/ 3131 w 792271"/>
              <a:gd name="connsiteY96" fmla="*/ 259915 h 817323"/>
              <a:gd name="connsiteX97" fmla="*/ 25052 w 792271"/>
              <a:gd name="connsiteY97" fmla="*/ 260535 h 817323"/>
              <a:gd name="connsiteX98" fmla="*/ 43841 w 792271"/>
              <a:gd name="connsiteY98" fmla="*/ 278704 h 817323"/>
              <a:gd name="connsiteX99" fmla="*/ 46972 w 792271"/>
              <a:gd name="connsiteY99" fmla="*/ 288099 h 817323"/>
              <a:gd name="connsiteX100" fmla="*/ 56367 w 792271"/>
              <a:gd name="connsiteY100" fmla="*/ 291230 h 817323"/>
              <a:gd name="connsiteX101" fmla="*/ 100208 w 792271"/>
              <a:gd name="connsiteY101" fmla="*/ 288099 h 817323"/>
              <a:gd name="connsiteX102" fmla="*/ 118997 w 792271"/>
              <a:gd name="connsiteY102" fmla="*/ 272441 h 817323"/>
              <a:gd name="connsiteX103" fmla="*/ 122128 w 792271"/>
              <a:gd name="connsiteY103" fmla="*/ 263047 h 817323"/>
              <a:gd name="connsiteX104" fmla="*/ 118997 w 792271"/>
              <a:gd name="connsiteY104" fmla="*/ 237994 h 817323"/>
              <a:gd name="connsiteX105" fmla="*/ 106471 w 792271"/>
              <a:gd name="connsiteY105" fmla="*/ 219205 h 817323"/>
              <a:gd name="connsiteX106" fmla="*/ 97076 w 792271"/>
              <a:gd name="connsiteY106" fmla="*/ 200416 h 817323"/>
              <a:gd name="connsiteX107" fmla="*/ 128391 w 792271"/>
              <a:gd name="connsiteY107" fmla="*/ 184759 h 817323"/>
              <a:gd name="connsiteX108" fmla="*/ 137786 w 792271"/>
              <a:gd name="connsiteY108" fmla="*/ 175364 h 817323"/>
              <a:gd name="connsiteX109" fmla="*/ 153443 w 792271"/>
              <a:gd name="connsiteY109" fmla="*/ 159707 h 817323"/>
              <a:gd name="connsiteX110" fmla="*/ 172233 w 792271"/>
              <a:gd name="connsiteY110" fmla="*/ 153444 h 817323"/>
              <a:gd name="connsiteX111" fmla="*/ 178496 w 792271"/>
              <a:gd name="connsiteY111" fmla="*/ 144049 h 817323"/>
              <a:gd name="connsiteX112" fmla="*/ 184759 w 792271"/>
              <a:gd name="connsiteY112" fmla="*/ 115866 h 817323"/>
              <a:gd name="connsiteX113" fmla="*/ 187890 w 792271"/>
              <a:gd name="connsiteY113" fmla="*/ 100208 h 817323"/>
              <a:gd name="connsiteX114" fmla="*/ 191022 w 792271"/>
              <a:gd name="connsiteY114" fmla="*/ 78288 h 817323"/>
              <a:gd name="connsiteX115" fmla="*/ 187760 w 792271"/>
              <a:gd name="connsiteY115" fmla="*/ 54737 h 817323"/>
              <a:gd name="connsiteX116" fmla="*/ 214345 w 792271"/>
              <a:gd name="connsiteY116" fmla="*/ 48245 h 817323"/>
              <a:gd name="connsiteX117" fmla="*/ 264351 w 792271"/>
              <a:gd name="connsiteY117" fmla="*/ 43482 h 817323"/>
              <a:gd name="connsiteX118" fmla="*/ 284967 w 792271"/>
              <a:gd name="connsiteY118" fmla="*/ 62630 h 817323"/>
              <a:gd name="connsiteX119" fmla="*/ 297493 w 792271"/>
              <a:gd name="connsiteY119" fmla="*/ 81419 h 817323"/>
              <a:gd name="connsiteX120" fmla="*/ 316282 w 792271"/>
              <a:gd name="connsiteY120" fmla="*/ 87682 h 817323"/>
              <a:gd name="connsiteX121" fmla="*/ 356991 w 792271"/>
              <a:gd name="connsiteY121" fmla="*/ 93945 h 817323"/>
              <a:gd name="connsiteX122" fmla="*/ 397701 w 792271"/>
              <a:gd name="connsiteY122" fmla="*/ 90814 h 817323"/>
              <a:gd name="connsiteX123" fmla="*/ 419622 w 792271"/>
              <a:gd name="connsiteY123" fmla="*/ 65762 h 817323"/>
              <a:gd name="connsiteX124" fmla="*/ 429016 w 792271"/>
              <a:gd name="connsiteY124" fmla="*/ 59499 h 817323"/>
              <a:gd name="connsiteX125" fmla="*/ 438411 w 792271"/>
              <a:gd name="connsiteY125" fmla="*/ 68893 h 817323"/>
              <a:gd name="connsiteX126" fmla="*/ 441542 w 792271"/>
              <a:gd name="connsiteY126" fmla="*/ 78288 h 817323"/>
              <a:gd name="connsiteX127" fmla="*/ 457200 w 792271"/>
              <a:gd name="connsiteY127" fmla="*/ 75156 h 817323"/>
              <a:gd name="connsiteX128" fmla="*/ 466594 w 792271"/>
              <a:gd name="connsiteY128" fmla="*/ 68893 h 817323"/>
              <a:gd name="connsiteX129" fmla="*/ 469726 w 792271"/>
              <a:gd name="connsiteY129" fmla="*/ 59499 h 817323"/>
              <a:gd name="connsiteX130" fmla="*/ 475989 w 792271"/>
              <a:gd name="connsiteY130" fmla="*/ 50104 h 817323"/>
              <a:gd name="connsiteX131" fmla="*/ 482252 w 792271"/>
              <a:gd name="connsiteY131" fmla="*/ 37578 h 817323"/>
              <a:gd name="connsiteX132" fmla="*/ 510435 w 792271"/>
              <a:gd name="connsiteY132" fmla="*/ 25052 h 817323"/>
              <a:gd name="connsiteX133" fmla="*/ 519830 w 792271"/>
              <a:gd name="connsiteY133" fmla="*/ 18789 h 817323"/>
              <a:gd name="connsiteX134" fmla="*/ 538619 w 792271"/>
              <a:gd name="connsiteY134" fmla="*/ 3131 h 817323"/>
              <a:gd name="connsiteX135" fmla="*/ 548013 w 792271"/>
              <a:gd name="connsiteY135" fmla="*/ 0 h 817323"/>
              <a:gd name="connsiteX136" fmla="*/ 563671 w 792271"/>
              <a:gd name="connsiteY136" fmla="*/ 21921 h 817323"/>
              <a:gd name="connsiteX137" fmla="*/ 563671 w 792271"/>
              <a:gd name="connsiteY137" fmla="*/ 21921 h 817323"/>
              <a:gd name="connsiteX138" fmla="*/ 573065 w 792271"/>
              <a:gd name="connsiteY138" fmla="*/ 28184 h 817323"/>
              <a:gd name="connsiteX139" fmla="*/ 591854 w 792271"/>
              <a:gd name="connsiteY139" fmla="*/ 46973 h 817323"/>
              <a:gd name="connsiteX140" fmla="*/ 592964 w 792271"/>
              <a:gd name="connsiteY140" fmla="*/ 88726 h 817323"/>
              <a:gd name="connsiteX141" fmla="*/ 573065 w 792271"/>
              <a:gd name="connsiteY141" fmla="*/ 84551 h 817323"/>
              <a:gd name="connsiteX142" fmla="*/ 566802 w 792271"/>
              <a:gd name="connsiteY142" fmla="*/ 93945 h 817323"/>
              <a:gd name="connsiteX143" fmla="*/ 560539 w 792271"/>
              <a:gd name="connsiteY143" fmla="*/ 103340 h 817323"/>
              <a:gd name="connsiteX144" fmla="*/ 557408 w 792271"/>
              <a:gd name="connsiteY144" fmla="*/ 112734 h 817323"/>
              <a:gd name="connsiteX145" fmla="*/ 554276 w 792271"/>
              <a:gd name="connsiteY145" fmla="*/ 165970 h 817323"/>
              <a:gd name="connsiteX146" fmla="*/ 535487 w 792271"/>
              <a:gd name="connsiteY146" fmla="*/ 175364 h 817323"/>
              <a:gd name="connsiteX147" fmla="*/ 531736 w 792271"/>
              <a:gd name="connsiteY147" fmla="*/ 198916 h 817323"/>
              <a:gd name="connsiteX148" fmla="*/ 520711 w 792271"/>
              <a:gd name="connsiteY148" fmla="*/ 217704 h 817323"/>
              <a:gd name="connsiteX149" fmla="*/ 510435 w 792271"/>
              <a:gd name="connsiteY149" fmla="*/ 222337 h 817323"/>
              <a:gd name="connsiteX150" fmla="*/ 513567 w 792271"/>
              <a:gd name="connsiteY150" fmla="*/ 247389 h 817323"/>
              <a:gd name="connsiteX151" fmla="*/ 526093 w 792271"/>
              <a:gd name="connsiteY151" fmla="*/ 266178 h 817323"/>
              <a:gd name="connsiteX152" fmla="*/ 522961 w 792271"/>
              <a:gd name="connsiteY152" fmla="*/ 316282 h 817323"/>
              <a:gd name="connsiteX153" fmla="*/ 519830 w 792271"/>
              <a:gd name="connsiteY153" fmla="*/ 325677 h 817323"/>
              <a:gd name="connsiteX154" fmla="*/ 516698 w 792271"/>
              <a:gd name="connsiteY154" fmla="*/ 338203 h 817323"/>
              <a:gd name="connsiteX155" fmla="*/ 513567 w 792271"/>
              <a:gd name="connsiteY155" fmla="*/ 347597 h 817323"/>
              <a:gd name="connsiteX156" fmla="*/ 507304 w 792271"/>
              <a:gd name="connsiteY156" fmla="*/ 375781 h 817323"/>
              <a:gd name="connsiteX157" fmla="*/ 504172 w 792271"/>
              <a:gd name="connsiteY157" fmla="*/ 388307 h 817323"/>
              <a:gd name="connsiteX158" fmla="*/ 501041 w 792271"/>
              <a:gd name="connsiteY158" fmla="*/ 397701 h 817323"/>
              <a:gd name="connsiteX159" fmla="*/ 494778 w 792271"/>
              <a:gd name="connsiteY159" fmla="*/ 425885 h 817323"/>
              <a:gd name="connsiteX160" fmla="*/ 485383 w 792271"/>
              <a:gd name="connsiteY160" fmla="*/ 435279 h 817323"/>
              <a:gd name="connsiteX161" fmla="*/ 472857 w 792271"/>
              <a:gd name="connsiteY161" fmla="*/ 454068 h 817323"/>
              <a:gd name="connsiteX162" fmla="*/ 469726 w 792271"/>
              <a:gd name="connsiteY162" fmla="*/ 488515 h 817323"/>
              <a:gd name="connsiteX163" fmla="*/ 488515 w 792271"/>
              <a:gd name="connsiteY163" fmla="*/ 497910 h 817323"/>
              <a:gd name="connsiteX164" fmla="*/ 507304 w 792271"/>
              <a:gd name="connsiteY164" fmla="*/ 507304 h 817323"/>
              <a:gd name="connsiteX165" fmla="*/ 535487 w 792271"/>
              <a:gd name="connsiteY165" fmla="*/ 493017 h 817323"/>
              <a:gd name="connsiteX166" fmla="*/ 541750 w 792271"/>
              <a:gd name="connsiteY166" fmla="*/ 513567 h 817323"/>
              <a:gd name="connsiteX0" fmla="*/ 541750 w 792271"/>
              <a:gd name="connsiteY0" fmla="*/ 513567 h 817323"/>
              <a:gd name="connsiteX1" fmla="*/ 557408 w 792271"/>
              <a:gd name="connsiteY1" fmla="*/ 501041 h 817323"/>
              <a:gd name="connsiteX2" fmla="*/ 576197 w 792271"/>
              <a:gd name="connsiteY2" fmla="*/ 488515 h 817323"/>
              <a:gd name="connsiteX3" fmla="*/ 573065 w 792271"/>
              <a:gd name="connsiteY3" fmla="*/ 479121 h 817323"/>
              <a:gd name="connsiteX4" fmla="*/ 554276 w 792271"/>
              <a:gd name="connsiteY4" fmla="*/ 472858 h 817323"/>
              <a:gd name="connsiteX5" fmla="*/ 554276 w 792271"/>
              <a:gd name="connsiteY5" fmla="*/ 444674 h 817323"/>
              <a:gd name="connsiteX6" fmla="*/ 563671 w 792271"/>
              <a:gd name="connsiteY6" fmla="*/ 438411 h 817323"/>
              <a:gd name="connsiteX7" fmla="*/ 572935 w 792271"/>
              <a:gd name="connsiteY7" fmla="*/ 417990 h 817323"/>
              <a:gd name="connsiteX8" fmla="*/ 594986 w 792271"/>
              <a:gd name="connsiteY8" fmla="*/ 400833 h 817323"/>
              <a:gd name="connsiteX9" fmla="*/ 607512 w 792271"/>
              <a:gd name="connsiteY9" fmla="*/ 382044 h 817323"/>
              <a:gd name="connsiteX10" fmla="*/ 620038 w 792271"/>
              <a:gd name="connsiteY10" fmla="*/ 363255 h 817323"/>
              <a:gd name="connsiteX11" fmla="*/ 629433 w 792271"/>
              <a:gd name="connsiteY11" fmla="*/ 356992 h 817323"/>
              <a:gd name="connsiteX12" fmla="*/ 645090 w 792271"/>
              <a:gd name="connsiteY12" fmla="*/ 360123 h 817323"/>
              <a:gd name="connsiteX13" fmla="*/ 657747 w 792271"/>
              <a:gd name="connsiteY13" fmla="*/ 359993 h 817323"/>
              <a:gd name="connsiteX14" fmla="*/ 673404 w 792271"/>
              <a:gd name="connsiteY14" fmla="*/ 373269 h 817323"/>
              <a:gd name="connsiteX15" fmla="*/ 678037 w 792271"/>
              <a:gd name="connsiteY15" fmla="*/ 381163 h 817323"/>
              <a:gd name="connsiteX16" fmla="*/ 685049 w 792271"/>
              <a:gd name="connsiteY16" fmla="*/ 387426 h 817323"/>
              <a:gd name="connsiteX17" fmla="*/ 732772 w 792271"/>
              <a:gd name="connsiteY17" fmla="*/ 400833 h 817323"/>
              <a:gd name="connsiteX18" fmla="*/ 742167 w 792271"/>
              <a:gd name="connsiteY18" fmla="*/ 410227 h 817323"/>
              <a:gd name="connsiteX19" fmla="*/ 729641 w 792271"/>
              <a:gd name="connsiteY19" fmla="*/ 435279 h 817323"/>
              <a:gd name="connsiteX20" fmla="*/ 698326 w 792271"/>
              <a:gd name="connsiteY20" fmla="*/ 457200 h 817323"/>
              <a:gd name="connsiteX21" fmla="*/ 688931 w 792271"/>
              <a:gd name="connsiteY21" fmla="*/ 466594 h 817323"/>
              <a:gd name="connsiteX22" fmla="*/ 692063 w 792271"/>
              <a:gd name="connsiteY22" fmla="*/ 488515 h 817323"/>
              <a:gd name="connsiteX23" fmla="*/ 704589 w 792271"/>
              <a:gd name="connsiteY23" fmla="*/ 491647 h 817323"/>
              <a:gd name="connsiteX24" fmla="*/ 723378 w 792271"/>
              <a:gd name="connsiteY24" fmla="*/ 497910 h 817323"/>
              <a:gd name="connsiteX25" fmla="*/ 732772 w 792271"/>
              <a:gd name="connsiteY25" fmla="*/ 507304 h 817323"/>
              <a:gd name="connsiteX26" fmla="*/ 751561 w 792271"/>
              <a:gd name="connsiteY26" fmla="*/ 519830 h 817323"/>
              <a:gd name="connsiteX27" fmla="*/ 764087 w 792271"/>
              <a:gd name="connsiteY27" fmla="*/ 538619 h 817323"/>
              <a:gd name="connsiteX28" fmla="*/ 773482 w 792271"/>
              <a:gd name="connsiteY28" fmla="*/ 548014 h 817323"/>
              <a:gd name="connsiteX29" fmla="*/ 779745 w 792271"/>
              <a:gd name="connsiteY29" fmla="*/ 560540 h 817323"/>
              <a:gd name="connsiteX30" fmla="*/ 792271 w 792271"/>
              <a:gd name="connsiteY30" fmla="*/ 579329 h 817323"/>
              <a:gd name="connsiteX31" fmla="*/ 789139 w 792271"/>
              <a:gd name="connsiteY31" fmla="*/ 598118 h 817323"/>
              <a:gd name="connsiteX32" fmla="*/ 779745 w 792271"/>
              <a:gd name="connsiteY32" fmla="*/ 601249 h 817323"/>
              <a:gd name="connsiteX33" fmla="*/ 767219 w 792271"/>
              <a:gd name="connsiteY33" fmla="*/ 604381 h 817323"/>
              <a:gd name="connsiteX34" fmla="*/ 754693 w 792271"/>
              <a:gd name="connsiteY34" fmla="*/ 623170 h 817323"/>
              <a:gd name="connsiteX35" fmla="*/ 735904 w 792271"/>
              <a:gd name="connsiteY35" fmla="*/ 626301 h 817323"/>
              <a:gd name="connsiteX36" fmla="*/ 704589 w 792271"/>
              <a:gd name="connsiteY36" fmla="*/ 635696 h 817323"/>
              <a:gd name="connsiteX37" fmla="*/ 588723 w 792271"/>
              <a:gd name="connsiteY37" fmla="*/ 638827 h 817323"/>
              <a:gd name="connsiteX38" fmla="*/ 569934 w 792271"/>
              <a:gd name="connsiteY38" fmla="*/ 667011 h 817323"/>
              <a:gd name="connsiteX39" fmla="*/ 566802 w 792271"/>
              <a:gd name="connsiteY39" fmla="*/ 676405 h 817323"/>
              <a:gd name="connsiteX40" fmla="*/ 554276 w 792271"/>
              <a:gd name="connsiteY40" fmla="*/ 695194 h 817323"/>
              <a:gd name="connsiteX41" fmla="*/ 548013 w 792271"/>
              <a:gd name="connsiteY41" fmla="*/ 704589 h 817323"/>
              <a:gd name="connsiteX42" fmla="*/ 532356 w 792271"/>
              <a:gd name="connsiteY42" fmla="*/ 732773 h 817323"/>
              <a:gd name="connsiteX43" fmla="*/ 519830 w 792271"/>
              <a:gd name="connsiteY43" fmla="*/ 764088 h 817323"/>
              <a:gd name="connsiteX44" fmla="*/ 513567 w 792271"/>
              <a:gd name="connsiteY44" fmla="*/ 773482 h 817323"/>
              <a:gd name="connsiteX45" fmla="*/ 507304 w 792271"/>
              <a:gd name="connsiteY45" fmla="*/ 792271 h 817323"/>
              <a:gd name="connsiteX46" fmla="*/ 504172 w 792271"/>
              <a:gd name="connsiteY46" fmla="*/ 801666 h 817323"/>
              <a:gd name="connsiteX47" fmla="*/ 501041 w 792271"/>
              <a:gd name="connsiteY47" fmla="*/ 811060 h 817323"/>
              <a:gd name="connsiteX48" fmla="*/ 485383 w 792271"/>
              <a:gd name="connsiteY48" fmla="*/ 798534 h 817323"/>
              <a:gd name="connsiteX49" fmla="*/ 466594 w 792271"/>
              <a:gd name="connsiteY49" fmla="*/ 817323 h 817323"/>
              <a:gd name="connsiteX50" fmla="*/ 441542 w 792271"/>
              <a:gd name="connsiteY50" fmla="*/ 814192 h 817323"/>
              <a:gd name="connsiteX51" fmla="*/ 435279 w 792271"/>
              <a:gd name="connsiteY51" fmla="*/ 804797 h 817323"/>
              <a:gd name="connsiteX52" fmla="*/ 425885 w 792271"/>
              <a:gd name="connsiteY52" fmla="*/ 795403 h 817323"/>
              <a:gd name="connsiteX53" fmla="*/ 419622 w 792271"/>
              <a:gd name="connsiteY53" fmla="*/ 786008 h 817323"/>
              <a:gd name="connsiteX54" fmla="*/ 410227 w 792271"/>
              <a:gd name="connsiteY54" fmla="*/ 776614 h 817323"/>
              <a:gd name="connsiteX55" fmla="*/ 403964 w 792271"/>
              <a:gd name="connsiteY55" fmla="*/ 767219 h 817323"/>
              <a:gd name="connsiteX56" fmla="*/ 394569 w 792271"/>
              <a:gd name="connsiteY56" fmla="*/ 757825 h 817323"/>
              <a:gd name="connsiteX57" fmla="*/ 372649 w 792271"/>
              <a:gd name="connsiteY57" fmla="*/ 732773 h 817323"/>
              <a:gd name="connsiteX58" fmla="*/ 366386 w 792271"/>
              <a:gd name="connsiteY58" fmla="*/ 723378 h 817323"/>
              <a:gd name="connsiteX59" fmla="*/ 306887 w 792271"/>
              <a:gd name="connsiteY59" fmla="*/ 713984 h 817323"/>
              <a:gd name="connsiteX60" fmla="*/ 294361 w 792271"/>
              <a:gd name="connsiteY60" fmla="*/ 660748 h 817323"/>
              <a:gd name="connsiteX61" fmla="*/ 288098 w 792271"/>
              <a:gd name="connsiteY61" fmla="*/ 651353 h 817323"/>
              <a:gd name="connsiteX62" fmla="*/ 269309 w 792271"/>
              <a:gd name="connsiteY62" fmla="*/ 641959 h 817323"/>
              <a:gd name="connsiteX63" fmla="*/ 256783 w 792271"/>
              <a:gd name="connsiteY63" fmla="*/ 645090 h 817323"/>
              <a:gd name="connsiteX64" fmla="*/ 228600 w 792271"/>
              <a:gd name="connsiteY64" fmla="*/ 654485 h 817323"/>
              <a:gd name="connsiteX65" fmla="*/ 219205 w 792271"/>
              <a:gd name="connsiteY65" fmla="*/ 660748 h 817323"/>
              <a:gd name="connsiteX66" fmla="*/ 212942 w 792271"/>
              <a:gd name="connsiteY66" fmla="*/ 670142 h 817323"/>
              <a:gd name="connsiteX67" fmla="*/ 206679 w 792271"/>
              <a:gd name="connsiteY67" fmla="*/ 688931 h 817323"/>
              <a:gd name="connsiteX68" fmla="*/ 200416 w 792271"/>
              <a:gd name="connsiteY68" fmla="*/ 707721 h 817323"/>
              <a:gd name="connsiteX69" fmla="*/ 191022 w 792271"/>
              <a:gd name="connsiteY69" fmla="*/ 710852 h 817323"/>
              <a:gd name="connsiteX70" fmla="*/ 169101 w 792271"/>
              <a:gd name="connsiteY70" fmla="*/ 701458 h 817323"/>
              <a:gd name="connsiteX71" fmla="*/ 162838 w 792271"/>
              <a:gd name="connsiteY71" fmla="*/ 695194 h 817323"/>
              <a:gd name="connsiteX72" fmla="*/ 159706 w 792271"/>
              <a:gd name="connsiteY72" fmla="*/ 685800 h 817323"/>
              <a:gd name="connsiteX73" fmla="*/ 153443 w 792271"/>
              <a:gd name="connsiteY73" fmla="*/ 651353 h 817323"/>
              <a:gd name="connsiteX74" fmla="*/ 147180 w 792271"/>
              <a:gd name="connsiteY74" fmla="*/ 632564 h 817323"/>
              <a:gd name="connsiteX75" fmla="*/ 122128 w 792271"/>
              <a:gd name="connsiteY75" fmla="*/ 629433 h 817323"/>
              <a:gd name="connsiteX76" fmla="*/ 115865 w 792271"/>
              <a:gd name="connsiteY76" fmla="*/ 610644 h 817323"/>
              <a:gd name="connsiteX77" fmla="*/ 93945 w 792271"/>
              <a:gd name="connsiteY77" fmla="*/ 582460 h 817323"/>
              <a:gd name="connsiteX78" fmla="*/ 78287 w 792271"/>
              <a:gd name="connsiteY78" fmla="*/ 566803 h 817323"/>
              <a:gd name="connsiteX79" fmla="*/ 72024 w 792271"/>
              <a:gd name="connsiteY79" fmla="*/ 557408 h 817323"/>
              <a:gd name="connsiteX80" fmla="*/ 43841 w 792271"/>
              <a:gd name="connsiteY80" fmla="*/ 541751 h 817323"/>
              <a:gd name="connsiteX81" fmla="*/ 34446 w 792271"/>
              <a:gd name="connsiteY81" fmla="*/ 535488 h 817323"/>
              <a:gd name="connsiteX82" fmla="*/ 25052 w 792271"/>
              <a:gd name="connsiteY82" fmla="*/ 532356 h 817323"/>
              <a:gd name="connsiteX83" fmla="*/ 15657 w 792271"/>
              <a:gd name="connsiteY83" fmla="*/ 522962 h 817323"/>
              <a:gd name="connsiteX84" fmla="*/ 12526 w 792271"/>
              <a:gd name="connsiteY84" fmla="*/ 513567 h 817323"/>
              <a:gd name="connsiteX85" fmla="*/ 25052 w 792271"/>
              <a:gd name="connsiteY85" fmla="*/ 494778 h 817323"/>
              <a:gd name="connsiteX86" fmla="*/ 28183 w 792271"/>
              <a:gd name="connsiteY86" fmla="*/ 454068 h 817323"/>
              <a:gd name="connsiteX87" fmla="*/ 31315 w 792271"/>
              <a:gd name="connsiteY87" fmla="*/ 422753 h 817323"/>
              <a:gd name="connsiteX88" fmla="*/ 37578 w 792271"/>
              <a:gd name="connsiteY88" fmla="*/ 403964 h 817323"/>
              <a:gd name="connsiteX89" fmla="*/ 34446 w 792271"/>
              <a:gd name="connsiteY89" fmla="*/ 388307 h 817323"/>
              <a:gd name="connsiteX90" fmla="*/ 25052 w 792271"/>
              <a:gd name="connsiteY90" fmla="*/ 382044 h 817323"/>
              <a:gd name="connsiteX91" fmla="*/ 31315 w 792271"/>
              <a:gd name="connsiteY91" fmla="*/ 341334 h 817323"/>
              <a:gd name="connsiteX92" fmla="*/ 21920 w 792271"/>
              <a:gd name="connsiteY92" fmla="*/ 319414 h 817323"/>
              <a:gd name="connsiteX93" fmla="*/ 12526 w 792271"/>
              <a:gd name="connsiteY93" fmla="*/ 316282 h 817323"/>
              <a:gd name="connsiteX94" fmla="*/ 6263 w 792271"/>
              <a:gd name="connsiteY94" fmla="*/ 306888 h 817323"/>
              <a:gd name="connsiteX95" fmla="*/ 0 w 792271"/>
              <a:gd name="connsiteY95" fmla="*/ 288099 h 817323"/>
              <a:gd name="connsiteX96" fmla="*/ 3131 w 792271"/>
              <a:gd name="connsiteY96" fmla="*/ 259915 h 817323"/>
              <a:gd name="connsiteX97" fmla="*/ 25052 w 792271"/>
              <a:gd name="connsiteY97" fmla="*/ 260535 h 817323"/>
              <a:gd name="connsiteX98" fmla="*/ 43841 w 792271"/>
              <a:gd name="connsiteY98" fmla="*/ 278704 h 817323"/>
              <a:gd name="connsiteX99" fmla="*/ 46972 w 792271"/>
              <a:gd name="connsiteY99" fmla="*/ 288099 h 817323"/>
              <a:gd name="connsiteX100" fmla="*/ 56367 w 792271"/>
              <a:gd name="connsiteY100" fmla="*/ 291230 h 817323"/>
              <a:gd name="connsiteX101" fmla="*/ 100208 w 792271"/>
              <a:gd name="connsiteY101" fmla="*/ 288099 h 817323"/>
              <a:gd name="connsiteX102" fmla="*/ 118997 w 792271"/>
              <a:gd name="connsiteY102" fmla="*/ 272441 h 817323"/>
              <a:gd name="connsiteX103" fmla="*/ 122128 w 792271"/>
              <a:gd name="connsiteY103" fmla="*/ 263047 h 817323"/>
              <a:gd name="connsiteX104" fmla="*/ 118997 w 792271"/>
              <a:gd name="connsiteY104" fmla="*/ 237994 h 817323"/>
              <a:gd name="connsiteX105" fmla="*/ 106471 w 792271"/>
              <a:gd name="connsiteY105" fmla="*/ 219205 h 817323"/>
              <a:gd name="connsiteX106" fmla="*/ 97076 w 792271"/>
              <a:gd name="connsiteY106" fmla="*/ 200416 h 817323"/>
              <a:gd name="connsiteX107" fmla="*/ 128391 w 792271"/>
              <a:gd name="connsiteY107" fmla="*/ 184759 h 817323"/>
              <a:gd name="connsiteX108" fmla="*/ 137786 w 792271"/>
              <a:gd name="connsiteY108" fmla="*/ 175364 h 817323"/>
              <a:gd name="connsiteX109" fmla="*/ 153443 w 792271"/>
              <a:gd name="connsiteY109" fmla="*/ 159707 h 817323"/>
              <a:gd name="connsiteX110" fmla="*/ 172233 w 792271"/>
              <a:gd name="connsiteY110" fmla="*/ 153444 h 817323"/>
              <a:gd name="connsiteX111" fmla="*/ 178496 w 792271"/>
              <a:gd name="connsiteY111" fmla="*/ 144049 h 817323"/>
              <a:gd name="connsiteX112" fmla="*/ 184759 w 792271"/>
              <a:gd name="connsiteY112" fmla="*/ 115866 h 817323"/>
              <a:gd name="connsiteX113" fmla="*/ 187890 w 792271"/>
              <a:gd name="connsiteY113" fmla="*/ 100208 h 817323"/>
              <a:gd name="connsiteX114" fmla="*/ 191022 w 792271"/>
              <a:gd name="connsiteY114" fmla="*/ 78288 h 817323"/>
              <a:gd name="connsiteX115" fmla="*/ 187760 w 792271"/>
              <a:gd name="connsiteY115" fmla="*/ 54737 h 817323"/>
              <a:gd name="connsiteX116" fmla="*/ 214345 w 792271"/>
              <a:gd name="connsiteY116" fmla="*/ 48245 h 817323"/>
              <a:gd name="connsiteX117" fmla="*/ 264351 w 792271"/>
              <a:gd name="connsiteY117" fmla="*/ 43482 h 817323"/>
              <a:gd name="connsiteX118" fmla="*/ 284967 w 792271"/>
              <a:gd name="connsiteY118" fmla="*/ 62630 h 817323"/>
              <a:gd name="connsiteX119" fmla="*/ 297493 w 792271"/>
              <a:gd name="connsiteY119" fmla="*/ 81419 h 817323"/>
              <a:gd name="connsiteX120" fmla="*/ 316282 w 792271"/>
              <a:gd name="connsiteY120" fmla="*/ 87682 h 817323"/>
              <a:gd name="connsiteX121" fmla="*/ 356991 w 792271"/>
              <a:gd name="connsiteY121" fmla="*/ 93945 h 817323"/>
              <a:gd name="connsiteX122" fmla="*/ 397701 w 792271"/>
              <a:gd name="connsiteY122" fmla="*/ 90814 h 817323"/>
              <a:gd name="connsiteX123" fmla="*/ 419622 w 792271"/>
              <a:gd name="connsiteY123" fmla="*/ 65762 h 817323"/>
              <a:gd name="connsiteX124" fmla="*/ 429016 w 792271"/>
              <a:gd name="connsiteY124" fmla="*/ 59499 h 817323"/>
              <a:gd name="connsiteX125" fmla="*/ 438411 w 792271"/>
              <a:gd name="connsiteY125" fmla="*/ 68893 h 817323"/>
              <a:gd name="connsiteX126" fmla="*/ 441542 w 792271"/>
              <a:gd name="connsiteY126" fmla="*/ 78288 h 817323"/>
              <a:gd name="connsiteX127" fmla="*/ 457200 w 792271"/>
              <a:gd name="connsiteY127" fmla="*/ 75156 h 817323"/>
              <a:gd name="connsiteX128" fmla="*/ 466594 w 792271"/>
              <a:gd name="connsiteY128" fmla="*/ 68893 h 817323"/>
              <a:gd name="connsiteX129" fmla="*/ 469726 w 792271"/>
              <a:gd name="connsiteY129" fmla="*/ 59499 h 817323"/>
              <a:gd name="connsiteX130" fmla="*/ 475989 w 792271"/>
              <a:gd name="connsiteY130" fmla="*/ 50104 h 817323"/>
              <a:gd name="connsiteX131" fmla="*/ 482252 w 792271"/>
              <a:gd name="connsiteY131" fmla="*/ 37578 h 817323"/>
              <a:gd name="connsiteX132" fmla="*/ 510435 w 792271"/>
              <a:gd name="connsiteY132" fmla="*/ 25052 h 817323"/>
              <a:gd name="connsiteX133" fmla="*/ 519830 w 792271"/>
              <a:gd name="connsiteY133" fmla="*/ 18789 h 817323"/>
              <a:gd name="connsiteX134" fmla="*/ 538619 w 792271"/>
              <a:gd name="connsiteY134" fmla="*/ 3131 h 817323"/>
              <a:gd name="connsiteX135" fmla="*/ 548013 w 792271"/>
              <a:gd name="connsiteY135" fmla="*/ 0 h 817323"/>
              <a:gd name="connsiteX136" fmla="*/ 563671 w 792271"/>
              <a:gd name="connsiteY136" fmla="*/ 21921 h 817323"/>
              <a:gd name="connsiteX137" fmla="*/ 563671 w 792271"/>
              <a:gd name="connsiteY137" fmla="*/ 21921 h 817323"/>
              <a:gd name="connsiteX138" fmla="*/ 573065 w 792271"/>
              <a:gd name="connsiteY138" fmla="*/ 28184 h 817323"/>
              <a:gd name="connsiteX139" fmla="*/ 591854 w 792271"/>
              <a:gd name="connsiteY139" fmla="*/ 46973 h 817323"/>
              <a:gd name="connsiteX140" fmla="*/ 592964 w 792271"/>
              <a:gd name="connsiteY140" fmla="*/ 88726 h 817323"/>
              <a:gd name="connsiteX141" fmla="*/ 573065 w 792271"/>
              <a:gd name="connsiteY141" fmla="*/ 84551 h 817323"/>
              <a:gd name="connsiteX142" fmla="*/ 578709 w 792271"/>
              <a:gd name="connsiteY142" fmla="*/ 108232 h 817323"/>
              <a:gd name="connsiteX143" fmla="*/ 560539 w 792271"/>
              <a:gd name="connsiteY143" fmla="*/ 103340 h 817323"/>
              <a:gd name="connsiteX144" fmla="*/ 557408 w 792271"/>
              <a:gd name="connsiteY144" fmla="*/ 112734 h 817323"/>
              <a:gd name="connsiteX145" fmla="*/ 554276 w 792271"/>
              <a:gd name="connsiteY145" fmla="*/ 165970 h 817323"/>
              <a:gd name="connsiteX146" fmla="*/ 535487 w 792271"/>
              <a:gd name="connsiteY146" fmla="*/ 175364 h 817323"/>
              <a:gd name="connsiteX147" fmla="*/ 531736 w 792271"/>
              <a:gd name="connsiteY147" fmla="*/ 198916 h 817323"/>
              <a:gd name="connsiteX148" fmla="*/ 520711 w 792271"/>
              <a:gd name="connsiteY148" fmla="*/ 217704 h 817323"/>
              <a:gd name="connsiteX149" fmla="*/ 510435 w 792271"/>
              <a:gd name="connsiteY149" fmla="*/ 222337 h 817323"/>
              <a:gd name="connsiteX150" fmla="*/ 513567 w 792271"/>
              <a:gd name="connsiteY150" fmla="*/ 247389 h 817323"/>
              <a:gd name="connsiteX151" fmla="*/ 526093 w 792271"/>
              <a:gd name="connsiteY151" fmla="*/ 266178 h 817323"/>
              <a:gd name="connsiteX152" fmla="*/ 522961 w 792271"/>
              <a:gd name="connsiteY152" fmla="*/ 316282 h 817323"/>
              <a:gd name="connsiteX153" fmla="*/ 519830 w 792271"/>
              <a:gd name="connsiteY153" fmla="*/ 325677 h 817323"/>
              <a:gd name="connsiteX154" fmla="*/ 516698 w 792271"/>
              <a:gd name="connsiteY154" fmla="*/ 338203 h 817323"/>
              <a:gd name="connsiteX155" fmla="*/ 513567 w 792271"/>
              <a:gd name="connsiteY155" fmla="*/ 347597 h 817323"/>
              <a:gd name="connsiteX156" fmla="*/ 507304 w 792271"/>
              <a:gd name="connsiteY156" fmla="*/ 375781 h 817323"/>
              <a:gd name="connsiteX157" fmla="*/ 504172 w 792271"/>
              <a:gd name="connsiteY157" fmla="*/ 388307 h 817323"/>
              <a:gd name="connsiteX158" fmla="*/ 501041 w 792271"/>
              <a:gd name="connsiteY158" fmla="*/ 397701 h 817323"/>
              <a:gd name="connsiteX159" fmla="*/ 494778 w 792271"/>
              <a:gd name="connsiteY159" fmla="*/ 425885 h 817323"/>
              <a:gd name="connsiteX160" fmla="*/ 485383 w 792271"/>
              <a:gd name="connsiteY160" fmla="*/ 435279 h 817323"/>
              <a:gd name="connsiteX161" fmla="*/ 472857 w 792271"/>
              <a:gd name="connsiteY161" fmla="*/ 454068 h 817323"/>
              <a:gd name="connsiteX162" fmla="*/ 469726 w 792271"/>
              <a:gd name="connsiteY162" fmla="*/ 488515 h 817323"/>
              <a:gd name="connsiteX163" fmla="*/ 488515 w 792271"/>
              <a:gd name="connsiteY163" fmla="*/ 497910 h 817323"/>
              <a:gd name="connsiteX164" fmla="*/ 507304 w 792271"/>
              <a:gd name="connsiteY164" fmla="*/ 507304 h 817323"/>
              <a:gd name="connsiteX165" fmla="*/ 535487 w 792271"/>
              <a:gd name="connsiteY165" fmla="*/ 493017 h 817323"/>
              <a:gd name="connsiteX166" fmla="*/ 541750 w 792271"/>
              <a:gd name="connsiteY166" fmla="*/ 513567 h 817323"/>
              <a:gd name="connsiteX0" fmla="*/ 541750 w 792271"/>
              <a:gd name="connsiteY0" fmla="*/ 513567 h 817323"/>
              <a:gd name="connsiteX1" fmla="*/ 557408 w 792271"/>
              <a:gd name="connsiteY1" fmla="*/ 501041 h 817323"/>
              <a:gd name="connsiteX2" fmla="*/ 576197 w 792271"/>
              <a:gd name="connsiteY2" fmla="*/ 488515 h 817323"/>
              <a:gd name="connsiteX3" fmla="*/ 573065 w 792271"/>
              <a:gd name="connsiteY3" fmla="*/ 479121 h 817323"/>
              <a:gd name="connsiteX4" fmla="*/ 554276 w 792271"/>
              <a:gd name="connsiteY4" fmla="*/ 472858 h 817323"/>
              <a:gd name="connsiteX5" fmla="*/ 554276 w 792271"/>
              <a:gd name="connsiteY5" fmla="*/ 444674 h 817323"/>
              <a:gd name="connsiteX6" fmla="*/ 563671 w 792271"/>
              <a:gd name="connsiteY6" fmla="*/ 438411 h 817323"/>
              <a:gd name="connsiteX7" fmla="*/ 572935 w 792271"/>
              <a:gd name="connsiteY7" fmla="*/ 417990 h 817323"/>
              <a:gd name="connsiteX8" fmla="*/ 594986 w 792271"/>
              <a:gd name="connsiteY8" fmla="*/ 400833 h 817323"/>
              <a:gd name="connsiteX9" fmla="*/ 607512 w 792271"/>
              <a:gd name="connsiteY9" fmla="*/ 382044 h 817323"/>
              <a:gd name="connsiteX10" fmla="*/ 620038 w 792271"/>
              <a:gd name="connsiteY10" fmla="*/ 363255 h 817323"/>
              <a:gd name="connsiteX11" fmla="*/ 629433 w 792271"/>
              <a:gd name="connsiteY11" fmla="*/ 356992 h 817323"/>
              <a:gd name="connsiteX12" fmla="*/ 645090 w 792271"/>
              <a:gd name="connsiteY12" fmla="*/ 360123 h 817323"/>
              <a:gd name="connsiteX13" fmla="*/ 657747 w 792271"/>
              <a:gd name="connsiteY13" fmla="*/ 359993 h 817323"/>
              <a:gd name="connsiteX14" fmla="*/ 673404 w 792271"/>
              <a:gd name="connsiteY14" fmla="*/ 373269 h 817323"/>
              <a:gd name="connsiteX15" fmla="*/ 678037 w 792271"/>
              <a:gd name="connsiteY15" fmla="*/ 381163 h 817323"/>
              <a:gd name="connsiteX16" fmla="*/ 685049 w 792271"/>
              <a:gd name="connsiteY16" fmla="*/ 387426 h 817323"/>
              <a:gd name="connsiteX17" fmla="*/ 732772 w 792271"/>
              <a:gd name="connsiteY17" fmla="*/ 400833 h 817323"/>
              <a:gd name="connsiteX18" fmla="*/ 742167 w 792271"/>
              <a:gd name="connsiteY18" fmla="*/ 410227 h 817323"/>
              <a:gd name="connsiteX19" fmla="*/ 729641 w 792271"/>
              <a:gd name="connsiteY19" fmla="*/ 435279 h 817323"/>
              <a:gd name="connsiteX20" fmla="*/ 698326 w 792271"/>
              <a:gd name="connsiteY20" fmla="*/ 457200 h 817323"/>
              <a:gd name="connsiteX21" fmla="*/ 688931 w 792271"/>
              <a:gd name="connsiteY21" fmla="*/ 466594 h 817323"/>
              <a:gd name="connsiteX22" fmla="*/ 692063 w 792271"/>
              <a:gd name="connsiteY22" fmla="*/ 488515 h 817323"/>
              <a:gd name="connsiteX23" fmla="*/ 704589 w 792271"/>
              <a:gd name="connsiteY23" fmla="*/ 491647 h 817323"/>
              <a:gd name="connsiteX24" fmla="*/ 723378 w 792271"/>
              <a:gd name="connsiteY24" fmla="*/ 497910 h 817323"/>
              <a:gd name="connsiteX25" fmla="*/ 732772 w 792271"/>
              <a:gd name="connsiteY25" fmla="*/ 507304 h 817323"/>
              <a:gd name="connsiteX26" fmla="*/ 751561 w 792271"/>
              <a:gd name="connsiteY26" fmla="*/ 519830 h 817323"/>
              <a:gd name="connsiteX27" fmla="*/ 764087 w 792271"/>
              <a:gd name="connsiteY27" fmla="*/ 538619 h 817323"/>
              <a:gd name="connsiteX28" fmla="*/ 773482 w 792271"/>
              <a:gd name="connsiteY28" fmla="*/ 548014 h 817323"/>
              <a:gd name="connsiteX29" fmla="*/ 779745 w 792271"/>
              <a:gd name="connsiteY29" fmla="*/ 560540 h 817323"/>
              <a:gd name="connsiteX30" fmla="*/ 792271 w 792271"/>
              <a:gd name="connsiteY30" fmla="*/ 579329 h 817323"/>
              <a:gd name="connsiteX31" fmla="*/ 789139 w 792271"/>
              <a:gd name="connsiteY31" fmla="*/ 598118 h 817323"/>
              <a:gd name="connsiteX32" fmla="*/ 779745 w 792271"/>
              <a:gd name="connsiteY32" fmla="*/ 601249 h 817323"/>
              <a:gd name="connsiteX33" fmla="*/ 767219 w 792271"/>
              <a:gd name="connsiteY33" fmla="*/ 604381 h 817323"/>
              <a:gd name="connsiteX34" fmla="*/ 754693 w 792271"/>
              <a:gd name="connsiteY34" fmla="*/ 623170 h 817323"/>
              <a:gd name="connsiteX35" fmla="*/ 735904 w 792271"/>
              <a:gd name="connsiteY35" fmla="*/ 626301 h 817323"/>
              <a:gd name="connsiteX36" fmla="*/ 704589 w 792271"/>
              <a:gd name="connsiteY36" fmla="*/ 635696 h 817323"/>
              <a:gd name="connsiteX37" fmla="*/ 588723 w 792271"/>
              <a:gd name="connsiteY37" fmla="*/ 638827 h 817323"/>
              <a:gd name="connsiteX38" fmla="*/ 569934 w 792271"/>
              <a:gd name="connsiteY38" fmla="*/ 667011 h 817323"/>
              <a:gd name="connsiteX39" fmla="*/ 566802 w 792271"/>
              <a:gd name="connsiteY39" fmla="*/ 676405 h 817323"/>
              <a:gd name="connsiteX40" fmla="*/ 554276 w 792271"/>
              <a:gd name="connsiteY40" fmla="*/ 695194 h 817323"/>
              <a:gd name="connsiteX41" fmla="*/ 548013 w 792271"/>
              <a:gd name="connsiteY41" fmla="*/ 704589 h 817323"/>
              <a:gd name="connsiteX42" fmla="*/ 532356 w 792271"/>
              <a:gd name="connsiteY42" fmla="*/ 732773 h 817323"/>
              <a:gd name="connsiteX43" fmla="*/ 519830 w 792271"/>
              <a:gd name="connsiteY43" fmla="*/ 764088 h 817323"/>
              <a:gd name="connsiteX44" fmla="*/ 513567 w 792271"/>
              <a:gd name="connsiteY44" fmla="*/ 773482 h 817323"/>
              <a:gd name="connsiteX45" fmla="*/ 507304 w 792271"/>
              <a:gd name="connsiteY45" fmla="*/ 792271 h 817323"/>
              <a:gd name="connsiteX46" fmla="*/ 504172 w 792271"/>
              <a:gd name="connsiteY46" fmla="*/ 801666 h 817323"/>
              <a:gd name="connsiteX47" fmla="*/ 501041 w 792271"/>
              <a:gd name="connsiteY47" fmla="*/ 811060 h 817323"/>
              <a:gd name="connsiteX48" fmla="*/ 485383 w 792271"/>
              <a:gd name="connsiteY48" fmla="*/ 798534 h 817323"/>
              <a:gd name="connsiteX49" fmla="*/ 466594 w 792271"/>
              <a:gd name="connsiteY49" fmla="*/ 817323 h 817323"/>
              <a:gd name="connsiteX50" fmla="*/ 441542 w 792271"/>
              <a:gd name="connsiteY50" fmla="*/ 814192 h 817323"/>
              <a:gd name="connsiteX51" fmla="*/ 435279 w 792271"/>
              <a:gd name="connsiteY51" fmla="*/ 804797 h 817323"/>
              <a:gd name="connsiteX52" fmla="*/ 425885 w 792271"/>
              <a:gd name="connsiteY52" fmla="*/ 795403 h 817323"/>
              <a:gd name="connsiteX53" fmla="*/ 419622 w 792271"/>
              <a:gd name="connsiteY53" fmla="*/ 786008 h 817323"/>
              <a:gd name="connsiteX54" fmla="*/ 410227 w 792271"/>
              <a:gd name="connsiteY54" fmla="*/ 776614 h 817323"/>
              <a:gd name="connsiteX55" fmla="*/ 403964 w 792271"/>
              <a:gd name="connsiteY55" fmla="*/ 767219 h 817323"/>
              <a:gd name="connsiteX56" fmla="*/ 394569 w 792271"/>
              <a:gd name="connsiteY56" fmla="*/ 757825 h 817323"/>
              <a:gd name="connsiteX57" fmla="*/ 372649 w 792271"/>
              <a:gd name="connsiteY57" fmla="*/ 732773 h 817323"/>
              <a:gd name="connsiteX58" fmla="*/ 366386 w 792271"/>
              <a:gd name="connsiteY58" fmla="*/ 723378 h 817323"/>
              <a:gd name="connsiteX59" fmla="*/ 306887 w 792271"/>
              <a:gd name="connsiteY59" fmla="*/ 713984 h 817323"/>
              <a:gd name="connsiteX60" fmla="*/ 294361 w 792271"/>
              <a:gd name="connsiteY60" fmla="*/ 660748 h 817323"/>
              <a:gd name="connsiteX61" fmla="*/ 288098 w 792271"/>
              <a:gd name="connsiteY61" fmla="*/ 651353 h 817323"/>
              <a:gd name="connsiteX62" fmla="*/ 269309 w 792271"/>
              <a:gd name="connsiteY62" fmla="*/ 641959 h 817323"/>
              <a:gd name="connsiteX63" fmla="*/ 256783 w 792271"/>
              <a:gd name="connsiteY63" fmla="*/ 645090 h 817323"/>
              <a:gd name="connsiteX64" fmla="*/ 228600 w 792271"/>
              <a:gd name="connsiteY64" fmla="*/ 654485 h 817323"/>
              <a:gd name="connsiteX65" fmla="*/ 219205 w 792271"/>
              <a:gd name="connsiteY65" fmla="*/ 660748 h 817323"/>
              <a:gd name="connsiteX66" fmla="*/ 212942 w 792271"/>
              <a:gd name="connsiteY66" fmla="*/ 670142 h 817323"/>
              <a:gd name="connsiteX67" fmla="*/ 206679 w 792271"/>
              <a:gd name="connsiteY67" fmla="*/ 688931 h 817323"/>
              <a:gd name="connsiteX68" fmla="*/ 200416 w 792271"/>
              <a:gd name="connsiteY68" fmla="*/ 707721 h 817323"/>
              <a:gd name="connsiteX69" fmla="*/ 191022 w 792271"/>
              <a:gd name="connsiteY69" fmla="*/ 710852 h 817323"/>
              <a:gd name="connsiteX70" fmla="*/ 169101 w 792271"/>
              <a:gd name="connsiteY70" fmla="*/ 701458 h 817323"/>
              <a:gd name="connsiteX71" fmla="*/ 162838 w 792271"/>
              <a:gd name="connsiteY71" fmla="*/ 695194 h 817323"/>
              <a:gd name="connsiteX72" fmla="*/ 159706 w 792271"/>
              <a:gd name="connsiteY72" fmla="*/ 685800 h 817323"/>
              <a:gd name="connsiteX73" fmla="*/ 153443 w 792271"/>
              <a:gd name="connsiteY73" fmla="*/ 651353 h 817323"/>
              <a:gd name="connsiteX74" fmla="*/ 147180 w 792271"/>
              <a:gd name="connsiteY74" fmla="*/ 632564 h 817323"/>
              <a:gd name="connsiteX75" fmla="*/ 122128 w 792271"/>
              <a:gd name="connsiteY75" fmla="*/ 629433 h 817323"/>
              <a:gd name="connsiteX76" fmla="*/ 115865 w 792271"/>
              <a:gd name="connsiteY76" fmla="*/ 610644 h 817323"/>
              <a:gd name="connsiteX77" fmla="*/ 93945 w 792271"/>
              <a:gd name="connsiteY77" fmla="*/ 582460 h 817323"/>
              <a:gd name="connsiteX78" fmla="*/ 78287 w 792271"/>
              <a:gd name="connsiteY78" fmla="*/ 566803 h 817323"/>
              <a:gd name="connsiteX79" fmla="*/ 72024 w 792271"/>
              <a:gd name="connsiteY79" fmla="*/ 557408 h 817323"/>
              <a:gd name="connsiteX80" fmla="*/ 43841 w 792271"/>
              <a:gd name="connsiteY80" fmla="*/ 541751 h 817323"/>
              <a:gd name="connsiteX81" fmla="*/ 34446 w 792271"/>
              <a:gd name="connsiteY81" fmla="*/ 535488 h 817323"/>
              <a:gd name="connsiteX82" fmla="*/ 25052 w 792271"/>
              <a:gd name="connsiteY82" fmla="*/ 532356 h 817323"/>
              <a:gd name="connsiteX83" fmla="*/ 15657 w 792271"/>
              <a:gd name="connsiteY83" fmla="*/ 522962 h 817323"/>
              <a:gd name="connsiteX84" fmla="*/ 12526 w 792271"/>
              <a:gd name="connsiteY84" fmla="*/ 513567 h 817323"/>
              <a:gd name="connsiteX85" fmla="*/ 25052 w 792271"/>
              <a:gd name="connsiteY85" fmla="*/ 494778 h 817323"/>
              <a:gd name="connsiteX86" fmla="*/ 28183 w 792271"/>
              <a:gd name="connsiteY86" fmla="*/ 454068 h 817323"/>
              <a:gd name="connsiteX87" fmla="*/ 31315 w 792271"/>
              <a:gd name="connsiteY87" fmla="*/ 422753 h 817323"/>
              <a:gd name="connsiteX88" fmla="*/ 37578 w 792271"/>
              <a:gd name="connsiteY88" fmla="*/ 403964 h 817323"/>
              <a:gd name="connsiteX89" fmla="*/ 34446 w 792271"/>
              <a:gd name="connsiteY89" fmla="*/ 388307 h 817323"/>
              <a:gd name="connsiteX90" fmla="*/ 25052 w 792271"/>
              <a:gd name="connsiteY90" fmla="*/ 382044 h 817323"/>
              <a:gd name="connsiteX91" fmla="*/ 31315 w 792271"/>
              <a:gd name="connsiteY91" fmla="*/ 341334 h 817323"/>
              <a:gd name="connsiteX92" fmla="*/ 21920 w 792271"/>
              <a:gd name="connsiteY92" fmla="*/ 319414 h 817323"/>
              <a:gd name="connsiteX93" fmla="*/ 12526 w 792271"/>
              <a:gd name="connsiteY93" fmla="*/ 316282 h 817323"/>
              <a:gd name="connsiteX94" fmla="*/ 6263 w 792271"/>
              <a:gd name="connsiteY94" fmla="*/ 306888 h 817323"/>
              <a:gd name="connsiteX95" fmla="*/ 0 w 792271"/>
              <a:gd name="connsiteY95" fmla="*/ 288099 h 817323"/>
              <a:gd name="connsiteX96" fmla="*/ 3131 w 792271"/>
              <a:gd name="connsiteY96" fmla="*/ 259915 h 817323"/>
              <a:gd name="connsiteX97" fmla="*/ 25052 w 792271"/>
              <a:gd name="connsiteY97" fmla="*/ 260535 h 817323"/>
              <a:gd name="connsiteX98" fmla="*/ 43841 w 792271"/>
              <a:gd name="connsiteY98" fmla="*/ 278704 h 817323"/>
              <a:gd name="connsiteX99" fmla="*/ 46972 w 792271"/>
              <a:gd name="connsiteY99" fmla="*/ 288099 h 817323"/>
              <a:gd name="connsiteX100" fmla="*/ 56367 w 792271"/>
              <a:gd name="connsiteY100" fmla="*/ 291230 h 817323"/>
              <a:gd name="connsiteX101" fmla="*/ 100208 w 792271"/>
              <a:gd name="connsiteY101" fmla="*/ 288099 h 817323"/>
              <a:gd name="connsiteX102" fmla="*/ 118997 w 792271"/>
              <a:gd name="connsiteY102" fmla="*/ 272441 h 817323"/>
              <a:gd name="connsiteX103" fmla="*/ 122128 w 792271"/>
              <a:gd name="connsiteY103" fmla="*/ 263047 h 817323"/>
              <a:gd name="connsiteX104" fmla="*/ 118997 w 792271"/>
              <a:gd name="connsiteY104" fmla="*/ 237994 h 817323"/>
              <a:gd name="connsiteX105" fmla="*/ 106471 w 792271"/>
              <a:gd name="connsiteY105" fmla="*/ 219205 h 817323"/>
              <a:gd name="connsiteX106" fmla="*/ 97076 w 792271"/>
              <a:gd name="connsiteY106" fmla="*/ 200416 h 817323"/>
              <a:gd name="connsiteX107" fmla="*/ 128391 w 792271"/>
              <a:gd name="connsiteY107" fmla="*/ 184759 h 817323"/>
              <a:gd name="connsiteX108" fmla="*/ 137786 w 792271"/>
              <a:gd name="connsiteY108" fmla="*/ 175364 h 817323"/>
              <a:gd name="connsiteX109" fmla="*/ 153443 w 792271"/>
              <a:gd name="connsiteY109" fmla="*/ 159707 h 817323"/>
              <a:gd name="connsiteX110" fmla="*/ 172233 w 792271"/>
              <a:gd name="connsiteY110" fmla="*/ 153444 h 817323"/>
              <a:gd name="connsiteX111" fmla="*/ 178496 w 792271"/>
              <a:gd name="connsiteY111" fmla="*/ 144049 h 817323"/>
              <a:gd name="connsiteX112" fmla="*/ 184759 w 792271"/>
              <a:gd name="connsiteY112" fmla="*/ 115866 h 817323"/>
              <a:gd name="connsiteX113" fmla="*/ 187890 w 792271"/>
              <a:gd name="connsiteY113" fmla="*/ 100208 h 817323"/>
              <a:gd name="connsiteX114" fmla="*/ 191022 w 792271"/>
              <a:gd name="connsiteY114" fmla="*/ 78288 h 817323"/>
              <a:gd name="connsiteX115" fmla="*/ 187760 w 792271"/>
              <a:gd name="connsiteY115" fmla="*/ 54737 h 817323"/>
              <a:gd name="connsiteX116" fmla="*/ 214345 w 792271"/>
              <a:gd name="connsiteY116" fmla="*/ 48245 h 817323"/>
              <a:gd name="connsiteX117" fmla="*/ 264351 w 792271"/>
              <a:gd name="connsiteY117" fmla="*/ 43482 h 817323"/>
              <a:gd name="connsiteX118" fmla="*/ 284967 w 792271"/>
              <a:gd name="connsiteY118" fmla="*/ 62630 h 817323"/>
              <a:gd name="connsiteX119" fmla="*/ 297493 w 792271"/>
              <a:gd name="connsiteY119" fmla="*/ 81419 h 817323"/>
              <a:gd name="connsiteX120" fmla="*/ 316282 w 792271"/>
              <a:gd name="connsiteY120" fmla="*/ 87682 h 817323"/>
              <a:gd name="connsiteX121" fmla="*/ 356991 w 792271"/>
              <a:gd name="connsiteY121" fmla="*/ 93945 h 817323"/>
              <a:gd name="connsiteX122" fmla="*/ 397701 w 792271"/>
              <a:gd name="connsiteY122" fmla="*/ 90814 h 817323"/>
              <a:gd name="connsiteX123" fmla="*/ 419622 w 792271"/>
              <a:gd name="connsiteY123" fmla="*/ 65762 h 817323"/>
              <a:gd name="connsiteX124" fmla="*/ 429016 w 792271"/>
              <a:gd name="connsiteY124" fmla="*/ 59499 h 817323"/>
              <a:gd name="connsiteX125" fmla="*/ 438411 w 792271"/>
              <a:gd name="connsiteY125" fmla="*/ 68893 h 817323"/>
              <a:gd name="connsiteX126" fmla="*/ 441542 w 792271"/>
              <a:gd name="connsiteY126" fmla="*/ 78288 h 817323"/>
              <a:gd name="connsiteX127" fmla="*/ 457200 w 792271"/>
              <a:gd name="connsiteY127" fmla="*/ 75156 h 817323"/>
              <a:gd name="connsiteX128" fmla="*/ 466594 w 792271"/>
              <a:gd name="connsiteY128" fmla="*/ 68893 h 817323"/>
              <a:gd name="connsiteX129" fmla="*/ 469726 w 792271"/>
              <a:gd name="connsiteY129" fmla="*/ 59499 h 817323"/>
              <a:gd name="connsiteX130" fmla="*/ 475989 w 792271"/>
              <a:gd name="connsiteY130" fmla="*/ 50104 h 817323"/>
              <a:gd name="connsiteX131" fmla="*/ 482252 w 792271"/>
              <a:gd name="connsiteY131" fmla="*/ 37578 h 817323"/>
              <a:gd name="connsiteX132" fmla="*/ 510435 w 792271"/>
              <a:gd name="connsiteY132" fmla="*/ 25052 h 817323"/>
              <a:gd name="connsiteX133" fmla="*/ 519830 w 792271"/>
              <a:gd name="connsiteY133" fmla="*/ 18789 h 817323"/>
              <a:gd name="connsiteX134" fmla="*/ 538619 w 792271"/>
              <a:gd name="connsiteY134" fmla="*/ 3131 h 817323"/>
              <a:gd name="connsiteX135" fmla="*/ 548013 w 792271"/>
              <a:gd name="connsiteY135" fmla="*/ 0 h 817323"/>
              <a:gd name="connsiteX136" fmla="*/ 563671 w 792271"/>
              <a:gd name="connsiteY136" fmla="*/ 21921 h 817323"/>
              <a:gd name="connsiteX137" fmla="*/ 563671 w 792271"/>
              <a:gd name="connsiteY137" fmla="*/ 21921 h 817323"/>
              <a:gd name="connsiteX138" fmla="*/ 573065 w 792271"/>
              <a:gd name="connsiteY138" fmla="*/ 28184 h 817323"/>
              <a:gd name="connsiteX139" fmla="*/ 591854 w 792271"/>
              <a:gd name="connsiteY139" fmla="*/ 46973 h 817323"/>
              <a:gd name="connsiteX140" fmla="*/ 592964 w 792271"/>
              <a:gd name="connsiteY140" fmla="*/ 88726 h 817323"/>
              <a:gd name="connsiteX141" fmla="*/ 587353 w 792271"/>
              <a:gd name="connsiteY141" fmla="*/ 91695 h 817323"/>
              <a:gd name="connsiteX142" fmla="*/ 578709 w 792271"/>
              <a:gd name="connsiteY142" fmla="*/ 108232 h 817323"/>
              <a:gd name="connsiteX143" fmla="*/ 560539 w 792271"/>
              <a:gd name="connsiteY143" fmla="*/ 103340 h 817323"/>
              <a:gd name="connsiteX144" fmla="*/ 557408 w 792271"/>
              <a:gd name="connsiteY144" fmla="*/ 112734 h 817323"/>
              <a:gd name="connsiteX145" fmla="*/ 554276 w 792271"/>
              <a:gd name="connsiteY145" fmla="*/ 165970 h 817323"/>
              <a:gd name="connsiteX146" fmla="*/ 535487 w 792271"/>
              <a:gd name="connsiteY146" fmla="*/ 175364 h 817323"/>
              <a:gd name="connsiteX147" fmla="*/ 531736 w 792271"/>
              <a:gd name="connsiteY147" fmla="*/ 198916 h 817323"/>
              <a:gd name="connsiteX148" fmla="*/ 520711 w 792271"/>
              <a:gd name="connsiteY148" fmla="*/ 217704 h 817323"/>
              <a:gd name="connsiteX149" fmla="*/ 510435 w 792271"/>
              <a:gd name="connsiteY149" fmla="*/ 222337 h 817323"/>
              <a:gd name="connsiteX150" fmla="*/ 513567 w 792271"/>
              <a:gd name="connsiteY150" fmla="*/ 247389 h 817323"/>
              <a:gd name="connsiteX151" fmla="*/ 526093 w 792271"/>
              <a:gd name="connsiteY151" fmla="*/ 266178 h 817323"/>
              <a:gd name="connsiteX152" fmla="*/ 522961 w 792271"/>
              <a:gd name="connsiteY152" fmla="*/ 316282 h 817323"/>
              <a:gd name="connsiteX153" fmla="*/ 519830 w 792271"/>
              <a:gd name="connsiteY153" fmla="*/ 325677 h 817323"/>
              <a:gd name="connsiteX154" fmla="*/ 516698 w 792271"/>
              <a:gd name="connsiteY154" fmla="*/ 338203 h 817323"/>
              <a:gd name="connsiteX155" fmla="*/ 513567 w 792271"/>
              <a:gd name="connsiteY155" fmla="*/ 347597 h 817323"/>
              <a:gd name="connsiteX156" fmla="*/ 507304 w 792271"/>
              <a:gd name="connsiteY156" fmla="*/ 375781 h 817323"/>
              <a:gd name="connsiteX157" fmla="*/ 504172 w 792271"/>
              <a:gd name="connsiteY157" fmla="*/ 388307 h 817323"/>
              <a:gd name="connsiteX158" fmla="*/ 501041 w 792271"/>
              <a:gd name="connsiteY158" fmla="*/ 397701 h 817323"/>
              <a:gd name="connsiteX159" fmla="*/ 494778 w 792271"/>
              <a:gd name="connsiteY159" fmla="*/ 425885 h 817323"/>
              <a:gd name="connsiteX160" fmla="*/ 485383 w 792271"/>
              <a:gd name="connsiteY160" fmla="*/ 435279 h 817323"/>
              <a:gd name="connsiteX161" fmla="*/ 472857 w 792271"/>
              <a:gd name="connsiteY161" fmla="*/ 454068 h 817323"/>
              <a:gd name="connsiteX162" fmla="*/ 469726 w 792271"/>
              <a:gd name="connsiteY162" fmla="*/ 488515 h 817323"/>
              <a:gd name="connsiteX163" fmla="*/ 488515 w 792271"/>
              <a:gd name="connsiteY163" fmla="*/ 497910 h 817323"/>
              <a:gd name="connsiteX164" fmla="*/ 507304 w 792271"/>
              <a:gd name="connsiteY164" fmla="*/ 507304 h 817323"/>
              <a:gd name="connsiteX165" fmla="*/ 535487 w 792271"/>
              <a:gd name="connsiteY165" fmla="*/ 493017 h 817323"/>
              <a:gd name="connsiteX166" fmla="*/ 541750 w 792271"/>
              <a:gd name="connsiteY166" fmla="*/ 513567 h 817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792271" h="817323">
                <a:moveTo>
                  <a:pt x="541750" y="513567"/>
                </a:moveTo>
                <a:cubicBezTo>
                  <a:pt x="545404" y="514904"/>
                  <a:pt x="552002" y="504972"/>
                  <a:pt x="557408" y="501041"/>
                </a:cubicBezTo>
                <a:cubicBezTo>
                  <a:pt x="563496" y="496614"/>
                  <a:pt x="576197" y="488515"/>
                  <a:pt x="576197" y="488515"/>
                </a:cubicBezTo>
                <a:cubicBezTo>
                  <a:pt x="575153" y="485384"/>
                  <a:pt x="575751" y="481039"/>
                  <a:pt x="573065" y="479121"/>
                </a:cubicBezTo>
                <a:cubicBezTo>
                  <a:pt x="567693" y="475284"/>
                  <a:pt x="554276" y="472858"/>
                  <a:pt x="554276" y="472858"/>
                </a:cubicBezTo>
                <a:cubicBezTo>
                  <a:pt x="550666" y="462025"/>
                  <a:pt x="547663" y="457900"/>
                  <a:pt x="554276" y="444674"/>
                </a:cubicBezTo>
                <a:cubicBezTo>
                  <a:pt x="555959" y="441308"/>
                  <a:pt x="560561" y="442858"/>
                  <a:pt x="563671" y="438411"/>
                </a:cubicBezTo>
                <a:cubicBezTo>
                  <a:pt x="566781" y="433964"/>
                  <a:pt x="549609" y="433540"/>
                  <a:pt x="572935" y="417990"/>
                </a:cubicBezTo>
                <a:cubicBezTo>
                  <a:pt x="578152" y="402336"/>
                  <a:pt x="589223" y="406824"/>
                  <a:pt x="594986" y="400833"/>
                </a:cubicBezTo>
                <a:cubicBezTo>
                  <a:pt x="600749" y="394842"/>
                  <a:pt x="603337" y="388307"/>
                  <a:pt x="607512" y="382044"/>
                </a:cubicBezTo>
                <a:lnTo>
                  <a:pt x="620038" y="363255"/>
                </a:lnTo>
                <a:cubicBezTo>
                  <a:pt x="622126" y="360123"/>
                  <a:pt x="626301" y="359080"/>
                  <a:pt x="629433" y="356992"/>
                </a:cubicBezTo>
                <a:cubicBezTo>
                  <a:pt x="634652" y="358036"/>
                  <a:pt x="640371" y="359623"/>
                  <a:pt x="645090" y="360123"/>
                </a:cubicBezTo>
                <a:cubicBezTo>
                  <a:pt x="649809" y="360623"/>
                  <a:pt x="653028" y="357802"/>
                  <a:pt x="657747" y="359993"/>
                </a:cubicBezTo>
                <a:cubicBezTo>
                  <a:pt x="662466" y="362184"/>
                  <a:pt x="670022" y="369741"/>
                  <a:pt x="673404" y="373269"/>
                </a:cubicBezTo>
                <a:cubicBezTo>
                  <a:pt x="676786" y="376797"/>
                  <a:pt x="676096" y="378804"/>
                  <a:pt x="678037" y="381163"/>
                </a:cubicBezTo>
                <a:cubicBezTo>
                  <a:pt x="679978" y="383522"/>
                  <a:pt x="675927" y="384148"/>
                  <a:pt x="685049" y="387426"/>
                </a:cubicBezTo>
                <a:cubicBezTo>
                  <a:pt x="694172" y="390704"/>
                  <a:pt x="728257" y="400457"/>
                  <a:pt x="732772" y="400833"/>
                </a:cubicBezTo>
                <a:cubicBezTo>
                  <a:pt x="735904" y="403964"/>
                  <a:pt x="741206" y="405904"/>
                  <a:pt x="742167" y="410227"/>
                </a:cubicBezTo>
                <a:cubicBezTo>
                  <a:pt x="746195" y="428351"/>
                  <a:pt x="739707" y="428088"/>
                  <a:pt x="729641" y="435279"/>
                </a:cubicBezTo>
                <a:cubicBezTo>
                  <a:pt x="697194" y="458457"/>
                  <a:pt x="741504" y="428415"/>
                  <a:pt x="698326" y="457200"/>
                </a:cubicBezTo>
                <a:cubicBezTo>
                  <a:pt x="694641" y="459657"/>
                  <a:pt x="692063" y="463463"/>
                  <a:pt x="688931" y="466594"/>
                </a:cubicBezTo>
                <a:cubicBezTo>
                  <a:pt x="689975" y="473901"/>
                  <a:pt x="688151" y="482256"/>
                  <a:pt x="692063" y="488515"/>
                </a:cubicBezTo>
                <a:cubicBezTo>
                  <a:pt x="694344" y="492165"/>
                  <a:pt x="700467" y="490410"/>
                  <a:pt x="704589" y="491647"/>
                </a:cubicBezTo>
                <a:cubicBezTo>
                  <a:pt x="710912" y="493544"/>
                  <a:pt x="723378" y="497910"/>
                  <a:pt x="723378" y="497910"/>
                </a:cubicBezTo>
                <a:cubicBezTo>
                  <a:pt x="726509" y="501041"/>
                  <a:pt x="729276" y="504585"/>
                  <a:pt x="732772" y="507304"/>
                </a:cubicBezTo>
                <a:cubicBezTo>
                  <a:pt x="738714" y="511925"/>
                  <a:pt x="751561" y="519830"/>
                  <a:pt x="751561" y="519830"/>
                </a:cubicBezTo>
                <a:cubicBezTo>
                  <a:pt x="755736" y="526093"/>
                  <a:pt x="758764" y="533296"/>
                  <a:pt x="764087" y="538619"/>
                </a:cubicBezTo>
                <a:cubicBezTo>
                  <a:pt x="767219" y="541751"/>
                  <a:pt x="770908" y="544410"/>
                  <a:pt x="773482" y="548014"/>
                </a:cubicBezTo>
                <a:cubicBezTo>
                  <a:pt x="776195" y="551813"/>
                  <a:pt x="777343" y="556537"/>
                  <a:pt x="779745" y="560540"/>
                </a:cubicBezTo>
                <a:cubicBezTo>
                  <a:pt x="783618" y="566995"/>
                  <a:pt x="792271" y="579329"/>
                  <a:pt x="792271" y="579329"/>
                </a:cubicBezTo>
                <a:cubicBezTo>
                  <a:pt x="791227" y="585592"/>
                  <a:pt x="792289" y="592605"/>
                  <a:pt x="789139" y="598118"/>
                </a:cubicBezTo>
                <a:cubicBezTo>
                  <a:pt x="787501" y="600984"/>
                  <a:pt x="782919" y="600342"/>
                  <a:pt x="779745" y="601249"/>
                </a:cubicBezTo>
                <a:cubicBezTo>
                  <a:pt x="775607" y="602431"/>
                  <a:pt x="771394" y="603337"/>
                  <a:pt x="767219" y="604381"/>
                </a:cubicBezTo>
                <a:cubicBezTo>
                  <a:pt x="763044" y="610644"/>
                  <a:pt x="762118" y="621933"/>
                  <a:pt x="754693" y="623170"/>
                </a:cubicBezTo>
                <a:cubicBezTo>
                  <a:pt x="748430" y="624214"/>
                  <a:pt x="742130" y="625056"/>
                  <a:pt x="735904" y="626301"/>
                </a:cubicBezTo>
                <a:cubicBezTo>
                  <a:pt x="724078" y="628666"/>
                  <a:pt x="716563" y="631705"/>
                  <a:pt x="704589" y="635696"/>
                </a:cubicBezTo>
                <a:cubicBezTo>
                  <a:pt x="667936" y="647914"/>
                  <a:pt x="627345" y="637783"/>
                  <a:pt x="588723" y="638827"/>
                </a:cubicBezTo>
                <a:lnTo>
                  <a:pt x="569934" y="667011"/>
                </a:lnTo>
                <a:cubicBezTo>
                  <a:pt x="568103" y="669757"/>
                  <a:pt x="568405" y="673520"/>
                  <a:pt x="566802" y="676405"/>
                </a:cubicBezTo>
                <a:cubicBezTo>
                  <a:pt x="563146" y="682985"/>
                  <a:pt x="558451" y="688931"/>
                  <a:pt x="554276" y="695194"/>
                </a:cubicBezTo>
                <a:lnTo>
                  <a:pt x="548013" y="704589"/>
                </a:lnTo>
                <a:cubicBezTo>
                  <a:pt x="542502" y="721125"/>
                  <a:pt x="546713" y="711237"/>
                  <a:pt x="532356" y="732773"/>
                </a:cubicBezTo>
                <a:cubicBezTo>
                  <a:pt x="526212" y="741988"/>
                  <a:pt x="523225" y="753903"/>
                  <a:pt x="519830" y="764088"/>
                </a:cubicBezTo>
                <a:cubicBezTo>
                  <a:pt x="518640" y="767658"/>
                  <a:pt x="515096" y="770043"/>
                  <a:pt x="513567" y="773482"/>
                </a:cubicBezTo>
                <a:cubicBezTo>
                  <a:pt x="510886" y="779515"/>
                  <a:pt x="509392" y="786008"/>
                  <a:pt x="507304" y="792271"/>
                </a:cubicBezTo>
                <a:lnTo>
                  <a:pt x="504172" y="801666"/>
                </a:lnTo>
                <a:lnTo>
                  <a:pt x="501041" y="811060"/>
                </a:lnTo>
                <a:cubicBezTo>
                  <a:pt x="499339" y="808507"/>
                  <a:pt x="492741" y="794446"/>
                  <a:pt x="485383" y="798534"/>
                </a:cubicBezTo>
                <a:cubicBezTo>
                  <a:pt x="477640" y="802835"/>
                  <a:pt x="466594" y="817323"/>
                  <a:pt x="466594" y="817323"/>
                </a:cubicBezTo>
                <a:cubicBezTo>
                  <a:pt x="458243" y="816279"/>
                  <a:pt x="449356" y="817317"/>
                  <a:pt x="441542" y="814192"/>
                </a:cubicBezTo>
                <a:cubicBezTo>
                  <a:pt x="438047" y="812794"/>
                  <a:pt x="437688" y="807688"/>
                  <a:pt x="435279" y="804797"/>
                </a:cubicBezTo>
                <a:cubicBezTo>
                  <a:pt x="432444" y="801395"/>
                  <a:pt x="428720" y="798805"/>
                  <a:pt x="425885" y="795403"/>
                </a:cubicBezTo>
                <a:cubicBezTo>
                  <a:pt x="423476" y="792512"/>
                  <a:pt x="422032" y="788899"/>
                  <a:pt x="419622" y="786008"/>
                </a:cubicBezTo>
                <a:cubicBezTo>
                  <a:pt x="416787" y="782606"/>
                  <a:pt x="413062" y="780016"/>
                  <a:pt x="410227" y="776614"/>
                </a:cubicBezTo>
                <a:cubicBezTo>
                  <a:pt x="407817" y="773723"/>
                  <a:pt x="406374" y="770110"/>
                  <a:pt x="403964" y="767219"/>
                </a:cubicBezTo>
                <a:cubicBezTo>
                  <a:pt x="401129" y="763817"/>
                  <a:pt x="397288" y="761321"/>
                  <a:pt x="394569" y="757825"/>
                </a:cubicBezTo>
                <a:cubicBezTo>
                  <a:pt x="374895" y="732531"/>
                  <a:pt x="390836" y="744898"/>
                  <a:pt x="372649" y="732773"/>
                </a:cubicBezTo>
                <a:cubicBezTo>
                  <a:pt x="370561" y="729641"/>
                  <a:pt x="369047" y="726039"/>
                  <a:pt x="366386" y="723378"/>
                </a:cubicBezTo>
                <a:cubicBezTo>
                  <a:pt x="351359" y="708351"/>
                  <a:pt x="323881" y="715046"/>
                  <a:pt x="306887" y="713984"/>
                </a:cubicBezTo>
                <a:cubicBezTo>
                  <a:pt x="283068" y="698104"/>
                  <a:pt x="303450" y="715281"/>
                  <a:pt x="294361" y="660748"/>
                </a:cubicBezTo>
                <a:cubicBezTo>
                  <a:pt x="293742" y="657035"/>
                  <a:pt x="290759" y="654014"/>
                  <a:pt x="288098" y="651353"/>
                </a:cubicBezTo>
                <a:cubicBezTo>
                  <a:pt x="282027" y="645282"/>
                  <a:pt x="276951" y="644506"/>
                  <a:pt x="269309" y="641959"/>
                </a:cubicBezTo>
                <a:cubicBezTo>
                  <a:pt x="265134" y="643003"/>
                  <a:pt x="260905" y="643853"/>
                  <a:pt x="256783" y="645090"/>
                </a:cubicBezTo>
                <a:cubicBezTo>
                  <a:pt x="256736" y="645104"/>
                  <a:pt x="233320" y="652911"/>
                  <a:pt x="228600" y="654485"/>
                </a:cubicBezTo>
                <a:cubicBezTo>
                  <a:pt x="225029" y="655675"/>
                  <a:pt x="222337" y="658660"/>
                  <a:pt x="219205" y="660748"/>
                </a:cubicBezTo>
                <a:cubicBezTo>
                  <a:pt x="217117" y="663879"/>
                  <a:pt x="214471" y="666703"/>
                  <a:pt x="212942" y="670142"/>
                </a:cubicBezTo>
                <a:cubicBezTo>
                  <a:pt x="210261" y="676175"/>
                  <a:pt x="208767" y="682668"/>
                  <a:pt x="206679" y="688931"/>
                </a:cubicBezTo>
                <a:lnTo>
                  <a:pt x="200416" y="707721"/>
                </a:lnTo>
                <a:cubicBezTo>
                  <a:pt x="199372" y="710852"/>
                  <a:pt x="194153" y="709808"/>
                  <a:pt x="191022" y="710852"/>
                </a:cubicBezTo>
                <a:cubicBezTo>
                  <a:pt x="173276" y="693106"/>
                  <a:pt x="180583" y="689974"/>
                  <a:pt x="169101" y="701458"/>
                </a:cubicBezTo>
                <a:cubicBezTo>
                  <a:pt x="167013" y="699370"/>
                  <a:pt x="164357" y="697726"/>
                  <a:pt x="162838" y="695194"/>
                </a:cubicBezTo>
                <a:cubicBezTo>
                  <a:pt x="161140" y="692364"/>
                  <a:pt x="160613" y="688974"/>
                  <a:pt x="159706" y="685800"/>
                </a:cubicBezTo>
                <a:cubicBezTo>
                  <a:pt x="150764" y="654503"/>
                  <a:pt x="164080" y="697446"/>
                  <a:pt x="153443" y="651353"/>
                </a:cubicBezTo>
                <a:cubicBezTo>
                  <a:pt x="151958" y="644920"/>
                  <a:pt x="149268" y="638827"/>
                  <a:pt x="147180" y="632564"/>
                </a:cubicBezTo>
                <a:cubicBezTo>
                  <a:pt x="144519" y="624580"/>
                  <a:pt x="130479" y="630477"/>
                  <a:pt x="122128" y="629433"/>
                </a:cubicBezTo>
                <a:cubicBezTo>
                  <a:pt x="120040" y="623170"/>
                  <a:pt x="119527" y="616137"/>
                  <a:pt x="115865" y="610644"/>
                </a:cubicBezTo>
                <a:cubicBezTo>
                  <a:pt x="84211" y="563163"/>
                  <a:pt x="118470" y="611891"/>
                  <a:pt x="93945" y="582460"/>
                </a:cubicBezTo>
                <a:cubicBezTo>
                  <a:pt x="80899" y="566805"/>
                  <a:pt x="95509" y="578283"/>
                  <a:pt x="78287" y="566803"/>
                </a:cubicBezTo>
                <a:cubicBezTo>
                  <a:pt x="76199" y="563671"/>
                  <a:pt x="74856" y="559886"/>
                  <a:pt x="72024" y="557408"/>
                </a:cubicBezTo>
                <a:cubicBezTo>
                  <a:pt x="58771" y="545812"/>
                  <a:pt x="56744" y="546052"/>
                  <a:pt x="43841" y="541751"/>
                </a:cubicBezTo>
                <a:cubicBezTo>
                  <a:pt x="40709" y="539663"/>
                  <a:pt x="37812" y="537171"/>
                  <a:pt x="34446" y="535488"/>
                </a:cubicBezTo>
                <a:cubicBezTo>
                  <a:pt x="31494" y="534012"/>
                  <a:pt x="27798" y="534187"/>
                  <a:pt x="25052" y="532356"/>
                </a:cubicBezTo>
                <a:cubicBezTo>
                  <a:pt x="21367" y="529899"/>
                  <a:pt x="18789" y="526093"/>
                  <a:pt x="15657" y="522962"/>
                </a:cubicBezTo>
                <a:cubicBezTo>
                  <a:pt x="14613" y="519830"/>
                  <a:pt x="11482" y="516699"/>
                  <a:pt x="12526" y="513567"/>
                </a:cubicBezTo>
                <a:cubicBezTo>
                  <a:pt x="14906" y="506426"/>
                  <a:pt x="25052" y="494778"/>
                  <a:pt x="25052" y="494778"/>
                </a:cubicBezTo>
                <a:cubicBezTo>
                  <a:pt x="33649" y="468987"/>
                  <a:pt x="32249" y="482524"/>
                  <a:pt x="28183" y="454068"/>
                </a:cubicBezTo>
                <a:cubicBezTo>
                  <a:pt x="29227" y="443630"/>
                  <a:pt x="29382" y="433064"/>
                  <a:pt x="31315" y="422753"/>
                </a:cubicBezTo>
                <a:cubicBezTo>
                  <a:pt x="32532" y="416264"/>
                  <a:pt x="37578" y="403964"/>
                  <a:pt x="37578" y="403964"/>
                </a:cubicBezTo>
                <a:cubicBezTo>
                  <a:pt x="36534" y="398745"/>
                  <a:pt x="37087" y="392928"/>
                  <a:pt x="34446" y="388307"/>
                </a:cubicBezTo>
                <a:cubicBezTo>
                  <a:pt x="32579" y="385039"/>
                  <a:pt x="25671" y="385756"/>
                  <a:pt x="25052" y="382044"/>
                </a:cubicBezTo>
                <a:cubicBezTo>
                  <a:pt x="22361" y="365895"/>
                  <a:pt x="26801" y="354875"/>
                  <a:pt x="31315" y="341334"/>
                </a:cubicBezTo>
                <a:cubicBezTo>
                  <a:pt x="29434" y="333812"/>
                  <a:pt x="28678" y="324821"/>
                  <a:pt x="21920" y="319414"/>
                </a:cubicBezTo>
                <a:cubicBezTo>
                  <a:pt x="19343" y="317352"/>
                  <a:pt x="15657" y="317326"/>
                  <a:pt x="12526" y="316282"/>
                </a:cubicBezTo>
                <a:cubicBezTo>
                  <a:pt x="10438" y="313151"/>
                  <a:pt x="7792" y="310327"/>
                  <a:pt x="6263" y="306888"/>
                </a:cubicBezTo>
                <a:cubicBezTo>
                  <a:pt x="3582" y="300855"/>
                  <a:pt x="0" y="288099"/>
                  <a:pt x="0" y="288099"/>
                </a:cubicBezTo>
                <a:cubicBezTo>
                  <a:pt x="1044" y="278704"/>
                  <a:pt x="-1044" y="264509"/>
                  <a:pt x="3131" y="259915"/>
                </a:cubicBezTo>
                <a:cubicBezTo>
                  <a:pt x="7306" y="255321"/>
                  <a:pt x="24906" y="260454"/>
                  <a:pt x="25052" y="260535"/>
                </a:cubicBezTo>
                <a:cubicBezTo>
                  <a:pt x="30823" y="263741"/>
                  <a:pt x="40188" y="274110"/>
                  <a:pt x="43841" y="278704"/>
                </a:cubicBezTo>
                <a:cubicBezTo>
                  <a:pt x="47494" y="283298"/>
                  <a:pt x="44638" y="285765"/>
                  <a:pt x="46972" y="288099"/>
                </a:cubicBezTo>
                <a:cubicBezTo>
                  <a:pt x="49306" y="290433"/>
                  <a:pt x="53066" y="291230"/>
                  <a:pt x="56367" y="291230"/>
                </a:cubicBezTo>
                <a:cubicBezTo>
                  <a:pt x="71018" y="291230"/>
                  <a:pt x="85594" y="289143"/>
                  <a:pt x="100208" y="288099"/>
                </a:cubicBezTo>
                <a:cubicBezTo>
                  <a:pt x="107140" y="283478"/>
                  <a:pt x="114175" y="279674"/>
                  <a:pt x="118997" y="272441"/>
                </a:cubicBezTo>
                <a:cubicBezTo>
                  <a:pt x="120828" y="269695"/>
                  <a:pt x="121084" y="266178"/>
                  <a:pt x="122128" y="263047"/>
                </a:cubicBezTo>
                <a:cubicBezTo>
                  <a:pt x="121084" y="254696"/>
                  <a:pt x="121827" y="245920"/>
                  <a:pt x="118997" y="237994"/>
                </a:cubicBezTo>
                <a:cubicBezTo>
                  <a:pt x="116465" y="230905"/>
                  <a:pt x="110646" y="225468"/>
                  <a:pt x="106471" y="219205"/>
                </a:cubicBezTo>
                <a:cubicBezTo>
                  <a:pt x="98377" y="207064"/>
                  <a:pt x="101398" y="213382"/>
                  <a:pt x="97076" y="200416"/>
                </a:cubicBezTo>
                <a:cubicBezTo>
                  <a:pt x="103397" y="175137"/>
                  <a:pt x="93963" y="196235"/>
                  <a:pt x="128391" y="184759"/>
                </a:cubicBezTo>
                <a:cubicBezTo>
                  <a:pt x="132593" y="183358"/>
                  <a:pt x="134951" y="178766"/>
                  <a:pt x="137786" y="175364"/>
                </a:cubicBezTo>
                <a:cubicBezTo>
                  <a:pt x="145767" y="165787"/>
                  <a:pt x="141287" y="165110"/>
                  <a:pt x="153443" y="159707"/>
                </a:cubicBezTo>
                <a:cubicBezTo>
                  <a:pt x="159476" y="157026"/>
                  <a:pt x="172233" y="153444"/>
                  <a:pt x="172233" y="153444"/>
                </a:cubicBezTo>
                <a:cubicBezTo>
                  <a:pt x="174321" y="150312"/>
                  <a:pt x="176813" y="147415"/>
                  <a:pt x="178496" y="144049"/>
                </a:cubicBezTo>
                <a:cubicBezTo>
                  <a:pt x="182438" y="136164"/>
                  <a:pt x="183385" y="123421"/>
                  <a:pt x="184759" y="115866"/>
                </a:cubicBezTo>
                <a:cubicBezTo>
                  <a:pt x="185711" y="110629"/>
                  <a:pt x="187015" y="105458"/>
                  <a:pt x="187890" y="100208"/>
                </a:cubicBezTo>
                <a:cubicBezTo>
                  <a:pt x="189103" y="92928"/>
                  <a:pt x="191044" y="85866"/>
                  <a:pt x="191022" y="78288"/>
                </a:cubicBezTo>
                <a:cubicBezTo>
                  <a:pt x="191000" y="70710"/>
                  <a:pt x="183873" y="59744"/>
                  <a:pt x="187760" y="54737"/>
                </a:cubicBezTo>
                <a:cubicBezTo>
                  <a:pt x="191647" y="49730"/>
                  <a:pt x="204358" y="48930"/>
                  <a:pt x="214345" y="48245"/>
                </a:cubicBezTo>
                <a:cubicBezTo>
                  <a:pt x="224332" y="47560"/>
                  <a:pt x="252581" y="41085"/>
                  <a:pt x="264351" y="43482"/>
                </a:cubicBezTo>
                <a:cubicBezTo>
                  <a:pt x="276121" y="45879"/>
                  <a:pt x="279443" y="56307"/>
                  <a:pt x="284967" y="62630"/>
                </a:cubicBezTo>
                <a:cubicBezTo>
                  <a:pt x="290491" y="68953"/>
                  <a:pt x="290352" y="79039"/>
                  <a:pt x="297493" y="81419"/>
                </a:cubicBezTo>
                <a:cubicBezTo>
                  <a:pt x="303756" y="83507"/>
                  <a:pt x="309770" y="86597"/>
                  <a:pt x="316282" y="87682"/>
                </a:cubicBezTo>
                <a:cubicBezTo>
                  <a:pt x="342351" y="92028"/>
                  <a:pt x="328785" y="89916"/>
                  <a:pt x="356991" y="93945"/>
                </a:cubicBezTo>
                <a:cubicBezTo>
                  <a:pt x="370561" y="92901"/>
                  <a:pt x="384324" y="93322"/>
                  <a:pt x="397701" y="90814"/>
                </a:cubicBezTo>
                <a:cubicBezTo>
                  <a:pt x="410410" y="88431"/>
                  <a:pt x="410907" y="71572"/>
                  <a:pt x="419622" y="65762"/>
                </a:cubicBezTo>
                <a:lnTo>
                  <a:pt x="429016" y="59499"/>
                </a:lnTo>
                <a:cubicBezTo>
                  <a:pt x="432148" y="62630"/>
                  <a:pt x="435954" y="65208"/>
                  <a:pt x="438411" y="68893"/>
                </a:cubicBezTo>
                <a:cubicBezTo>
                  <a:pt x="440242" y="71640"/>
                  <a:pt x="438410" y="77244"/>
                  <a:pt x="441542" y="78288"/>
                </a:cubicBezTo>
                <a:cubicBezTo>
                  <a:pt x="446592" y="79971"/>
                  <a:pt x="451981" y="76200"/>
                  <a:pt x="457200" y="75156"/>
                </a:cubicBezTo>
                <a:cubicBezTo>
                  <a:pt x="460331" y="73068"/>
                  <a:pt x="464243" y="71832"/>
                  <a:pt x="466594" y="68893"/>
                </a:cubicBezTo>
                <a:cubicBezTo>
                  <a:pt x="468656" y="66316"/>
                  <a:pt x="468250" y="62451"/>
                  <a:pt x="469726" y="59499"/>
                </a:cubicBezTo>
                <a:cubicBezTo>
                  <a:pt x="471409" y="56133"/>
                  <a:pt x="474122" y="53372"/>
                  <a:pt x="475989" y="50104"/>
                </a:cubicBezTo>
                <a:cubicBezTo>
                  <a:pt x="478305" y="46051"/>
                  <a:pt x="479264" y="41164"/>
                  <a:pt x="482252" y="37578"/>
                </a:cubicBezTo>
                <a:cubicBezTo>
                  <a:pt x="490218" y="28018"/>
                  <a:pt x="500215" y="31865"/>
                  <a:pt x="510435" y="25052"/>
                </a:cubicBezTo>
                <a:cubicBezTo>
                  <a:pt x="513567" y="22964"/>
                  <a:pt x="516939" y="21199"/>
                  <a:pt x="519830" y="18789"/>
                </a:cubicBezTo>
                <a:cubicBezTo>
                  <a:pt x="530221" y="10129"/>
                  <a:pt x="526953" y="8964"/>
                  <a:pt x="538619" y="3131"/>
                </a:cubicBezTo>
                <a:cubicBezTo>
                  <a:pt x="541571" y="1655"/>
                  <a:pt x="544882" y="1044"/>
                  <a:pt x="548013" y="0"/>
                </a:cubicBezTo>
                <a:cubicBezTo>
                  <a:pt x="563671" y="5218"/>
                  <a:pt x="556364" y="-1"/>
                  <a:pt x="563671" y="21921"/>
                </a:cubicBezTo>
                <a:lnTo>
                  <a:pt x="563671" y="21921"/>
                </a:lnTo>
                <a:cubicBezTo>
                  <a:pt x="566802" y="24009"/>
                  <a:pt x="570252" y="25684"/>
                  <a:pt x="573065" y="28184"/>
                </a:cubicBezTo>
                <a:cubicBezTo>
                  <a:pt x="579685" y="34068"/>
                  <a:pt x="588538" y="36883"/>
                  <a:pt x="591854" y="46973"/>
                </a:cubicBezTo>
                <a:cubicBezTo>
                  <a:pt x="595171" y="57063"/>
                  <a:pt x="596095" y="82463"/>
                  <a:pt x="592964" y="88726"/>
                </a:cubicBezTo>
                <a:cubicBezTo>
                  <a:pt x="589833" y="94989"/>
                  <a:pt x="589729" y="88444"/>
                  <a:pt x="587353" y="91695"/>
                </a:cubicBezTo>
                <a:cubicBezTo>
                  <a:pt x="584977" y="94946"/>
                  <a:pt x="583178" y="106291"/>
                  <a:pt x="578709" y="108232"/>
                </a:cubicBezTo>
                <a:cubicBezTo>
                  <a:pt x="574240" y="110173"/>
                  <a:pt x="564089" y="102590"/>
                  <a:pt x="560539" y="103340"/>
                </a:cubicBezTo>
                <a:cubicBezTo>
                  <a:pt x="556989" y="104090"/>
                  <a:pt x="557736" y="109450"/>
                  <a:pt x="557408" y="112734"/>
                </a:cubicBezTo>
                <a:cubicBezTo>
                  <a:pt x="555639" y="130422"/>
                  <a:pt x="557938" y="148575"/>
                  <a:pt x="554276" y="165970"/>
                </a:cubicBezTo>
                <a:cubicBezTo>
                  <a:pt x="553359" y="170324"/>
                  <a:pt x="538608" y="174324"/>
                  <a:pt x="535487" y="175364"/>
                </a:cubicBezTo>
                <a:cubicBezTo>
                  <a:pt x="529589" y="181262"/>
                  <a:pt x="534199" y="191859"/>
                  <a:pt x="531736" y="198916"/>
                </a:cubicBezTo>
                <a:cubicBezTo>
                  <a:pt x="529273" y="205973"/>
                  <a:pt x="524261" y="213801"/>
                  <a:pt x="520711" y="217704"/>
                </a:cubicBezTo>
                <a:cubicBezTo>
                  <a:pt x="517161" y="221607"/>
                  <a:pt x="511626" y="217390"/>
                  <a:pt x="510435" y="222337"/>
                </a:cubicBezTo>
                <a:cubicBezTo>
                  <a:pt x="509244" y="227284"/>
                  <a:pt x="510736" y="239464"/>
                  <a:pt x="513567" y="247389"/>
                </a:cubicBezTo>
                <a:cubicBezTo>
                  <a:pt x="516099" y="254478"/>
                  <a:pt x="526093" y="266178"/>
                  <a:pt x="526093" y="266178"/>
                </a:cubicBezTo>
                <a:cubicBezTo>
                  <a:pt x="525049" y="282879"/>
                  <a:pt x="524713" y="299640"/>
                  <a:pt x="522961" y="316282"/>
                </a:cubicBezTo>
                <a:cubicBezTo>
                  <a:pt x="522615" y="319565"/>
                  <a:pt x="520737" y="322503"/>
                  <a:pt x="519830" y="325677"/>
                </a:cubicBezTo>
                <a:cubicBezTo>
                  <a:pt x="518648" y="329815"/>
                  <a:pt x="517880" y="334065"/>
                  <a:pt x="516698" y="338203"/>
                </a:cubicBezTo>
                <a:cubicBezTo>
                  <a:pt x="515791" y="341377"/>
                  <a:pt x="514474" y="344423"/>
                  <a:pt x="513567" y="347597"/>
                </a:cubicBezTo>
                <a:cubicBezTo>
                  <a:pt x="509743" y="360981"/>
                  <a:pt x="510538" y="361228"/>
                  <a:pt x="507304" y="375781"/>
                </a:cubicBezTo>
                <a:cubicBezTo>
                  <a:pt x="506370" y="379982"/>
                  <a:pt x="505354" y="384169"/>
                  <a:pt x="504172" y="388307"/>
                </a:cubicBezTo>
                <a:cubicBezTo>
                  <a:pt x="503265" y="391481"/>
                  <a:pt x="501757" y="394479"/>
                  <a:pt x="501041" y="397701"/>
                </a:cubicBezTo>
                <a:cubicBezTo>
                  <a:pt x="500474" y="400252"/>
                  <a:pt x="498301" y="420601"/>
                  <a:pt x="494778" y="425885"/>
                </a:cubicBezTo>
                <a:cubicBezTo>
                  <a:pt x="492321" y="429570"/>
                  <a:pt x="488102" y="431783"/>
                  <a:pt x="485383" y="435279"/>
                </a:cubicBezTo>
                <a:cubicBezTo>
                  <a:pt x="480762" y="441221"/>
                  <a:pt x="472857" y="454068"/>
                  <a:pt x="472857" y="454068"/>
                </a:cubicBezTo>
                <a:cubicBezTo>
                  <a:pt x="468667" y="466638"/>
                  <a:pt x="462271" y="475469"/>
                  <a:pt x="469726" y="488515"/>
                </a:cubicBezTo>
                <a:cubicBezTo>
                  <a:pt x="473316" y="494797"/>
                  <a:pt x="483050" y="495177"/>
                  <a:pt x="488515" y="497910"/>
                </a:cubicBezTo>
                <a:cubicBezTo>
                  <a:pt x="512790" y="510048"/>
                  <a:pt x="483696" y="499436"/>
                  <a:pt x="507304" y="507304"/>
                </a:cubicBezTo>
                <a:cubicBezTo>
                  <a:pt x="526591" y="500875"/>
                  <a:pt x="522351" y="482508"/>
                  <a:pt x="535487" y="493017"/>
                </a:cubicBezTo>
                <a:cubicBezTo>
                  <a:pt x="537792" y="494861"/>
                  <a:pt x="538096" y="512230"/>
                  <a:pt x="541750" y="513567"/>
                </a:cubicBezTo>
                <a:close/>
              </a:path>
            </a:pathLst>
          </a:custGeom>
          <a:solidFill>
            <a:srgbClr val="FDECDF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srgbClr val="182F41"/>
              </a:solidFill>
            </a:endParaRPr>
          </a:p>
        </p:txBody>
      </p:sp>
      <p:sp>
        <p:nvSpPr>
          <p:cNvPr id="9" name="Forme libre 114">
            <a:extLst>
              <a:ext uri="{FF2B5EF4-FFF2-40B4-BE49-F238E27FC236}">
                <a16:creationId xmlns:a16="http://schemas.microsoft.com/office/drawing/2014/main" id="{95FF1C56-137D-453A-A552-120A573AD4D0}"/>
              </a:ext>
            </a:extLst>
          </p:cNvPr>
          <p:cNvSpPr/>
          <p:nvPr/>
        </p:nvSpPr>
        <p:spPr>
          <a:xfrm>
            <a:off x="3187700" y="1581537"/>
            <a:ext cx="495300" cy="670217"/>
          </a:xfrm>
          <a:custGeom>
            <a:avLst/>
            <a:gdLst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62839 w 501126"/>
              <a:gd name="connsiteY24" fmla="*/ 231732 h 638828"/>
              <a:gd name="connsiteX25" fmla="*/ 150313 w 501126"/>
              <a:gd name="connsiteY25" fmla="*/ 250521 h 638828"/>
              <a:gd name="connsiteX26" fmla="*/ 144050 w 501126"/>
              <a:gd name="connsiteY26" fmla="*/ 263047 h 638828"/>
              <a:gd name="connsiteX27" fmla="*/ 131524 w 501126"/>
              <a:gd name="connsiteY27" fmla="*/ 281836 h 638828"/>
              <a:gd name="connsiteX28" fmla="*/ 128392 w 501126"/>
              <a:gd name="connsiteY28" fmla="*/ 291231 h 638828"/>
              <a:gd name="connsiteX29" fmla="*/ 118998 w 501126"/>
              <a:gd name="connsiteY29" fmla="*/ 300625 h 638828"/>
              <a:gd name="connsiteX30" fmla="*/ 106472 w 501126"/>
              <a:gd name="connsiteY30" fmla="*/ 319414 h 638828"/>
              <a:gd name="connsiteX31" fmla="*/ 97077 w 501126"/>
              <a:gd name="connsiteY31" fmla="*/ 328809 h 638828"/>
              <a:gd name="connsiteX32" fmla="*/ 84551 w 501126"/>
              <a:gd name="connsiteY32" fmla="*/ 347598 h 638828"/>
              <a:gd name="connsiteX33" fmla="*/ 78288 w 501126"/>
              <a:gd name="connsiteY33" fmla="*/ 356992 h 638828"/>
              <a:gd name="connsiteX34" fmla="*/ 65762 w 501126"/>
              <a:gd name="connsiteY34" fmla="*/ 366387 h 638828"/>
              <a:gd name="connsiteX35" fmla="*/ 37578 w 501126"/>
              <a:gd name="connsiteY35" fmla="*/ 388307 h 638828"/>
              <a:gd name="connsiteX36" fmla="*/ 28184 w 501126"/>
              <a:gd name="connsiteY36" fmla="*/ 394570 h 638828"/>
              <a:gd name="connsiteX37" fmla="*/ 18789 w 501126"/>
              <a:gd name="connsiteY37" fmla="*/ 397702 h 638828"/>
              <a:gd name="connsiteX38" fmla="*/ 0 w 501126"/>
              <a:gd name="connsiteY38" fmla="*/ 410228 h 638828"/>
              <a:gd name="connsiteX39" fmla="*/ 9395 w 501126"/>
              <a:gd name="connsiteY39" fmla="*/ 413359 h 638828"/>
              <a:gd name="connsiteX40" fmla="*/ 21921 w 501126"/>
              <a:gd name="connsiteY40" fmla="*/ 416491 h 638828"/>
              <a:gd name="connsiteX41" fmla="*/ 31315 w 501126"/>
              <a:gd name="connsiteY41" fmla="*/ 422754 h 638828"/>
              <a:gd name="connsiteX42" fmla="*/ 34447 w 501126"/>
              <a:gd name="connsiteY42" fmla="*/ 479121 h 638828"/>
              <a:gd name="connsiteX43" fmla="*/ 37578 w 501126"/>
              <a:gd name="connsiteY43" fmla="*/ 488515 h 638828"/>
              <a:gd name="connsiteX44" fmla="*/ 46973 w 501126"/>
              <a:gd name="connsiteY44" fmla="*/ 491647 h 638828"/>
              <a:gd name="connsiteX45" fmla="*/ 75157 w 501126"/>
              <a:gd name="connsiteY45" fmla="*/ 491647 h 638828"/>
              <a:gd name="connsiteX46" fmla="*/ 78288 w 501126"/>
              <a:gd name="connsiteY46" fmla="*/ 501042 h 638828"/>
              <a:gd name="connsiteX47" fmla="*/ 87683 w 501126"/>
              <a:gd name="connsiteY47" fmla="*/ 504173 h 638828"/>
              <a:gd name="connsiteX48" fmla="*/ 112735 w 501126"/>
              <a:gd name="connsiteY48" fmla="*/ 507305 h 638828"/>
              <a:gd name="connsiteX49" fmla="*/ 93946 w 501126"/>
              <a:gd name="connsiteY49" fmla="*/ 522962 h 638828"/>
              <a:gd name="connsiteX50" fmla="*/ 90814 w 501126"/>
              <a:gd name="connsiteY50" fmla="*/ 532357 h 638828"/>
              <a:gd name="connsiteX51" fmla="*/ 97077 w 501126"/>
              <a:gd name="connsiteY51" fmla="*/ 541751 h 638828"/>
              <a:gd name="connsiteX52" fmla="*/ 103340 w 501126"/>
              <a:gd name="connsiteY52" fmla="*/ 560540 h 638828"/>
              <a:gd name="connsiteX53" fmla="*/ 100209 w 501126"/>
              <a:gd name="connsiteY53" fmla="*/ 573066 h 638828"/>
              <a:gd name="connsiteX54" fmla="*/ 103340 w 501126"/>
              <a:gd name="connsiteY54" fmla="*/ 610644 h 638828"/>
              <a:gd name="connsiteX55" fmla="*/ 112735 w 501126"/>
              <a:gd name="connsiteY55" fmla="*/ 613776 h 638828"/>
              <a:gd name="connsiteX56" fmla="*/ 150313 w 501126"/>
              <a:gd name="connsiteY56" fmla="*/ 616907 h 638828"/>
              <a:gd name="connsiteX57" fmla="*/ 156576 w 501126"/>
              <a:gd name="connsiteY57" fmla="*/ 626302 h 638828"/>
              <a:gd name="connsiteX58" fmla="*/ 175365 w 501126"/>
              <a:gd name="connsiteY58" fmla="*/ 632565 h 638828"/>
              <a:gd name="connsiteX59" fmla="*/ 184759 w 501126"/>
              <a:gd name="connsiteY59" fmla="*/ 638828 h 638828"/>
              <a:gd name="connsiteX60" fmla="*/ 203548 w 501126"/>
              <a:gd name="connsiteY60" fmla="*/ 629433 h 638828"/>
              <a:gd name="connsiteX61" fmla="*/ 209811 w 501126"/>
              <a:gd name="connsiteY61" fmla="*/ 620039 h 638828"/>
              <a:gd name="connsiteX62" fmla="*/ 219206 w 501126"/>
              <a:gd name="connsiteY62" fmla="*/ 610644 h 638828"/>
              <a:gd name="connsiteX63" fmla="*/ 209811 w 501126"/>
              <a:gd name="connsiteY63" fmla="*/ 601250 h 638828"/>
              <a:gd name="connsiteX64" fmla="*/ 209811 w 501126"/>
              <a:gd name="connsiteY64" fmla="*/ 557409 h 638828"/>
              <a:gd name="connsiteX65" fmla="*/ 212943 w 501126"/>
              <a:gd name="connsiteY65" fmla="*/ 544883 h 638828"/>
              <a:gd name="connsiteX66" fmla="*/ 222337 w 501126"/>
              <a:gd name="connsiteY66" fmla="*/ 538620 h 638828"/>
              <a:gd name="connsiteX67" fmla="*/ 250521 w 501126"/>
              <a:gd name="connsiteY67" fmla="*/ 544883 h 638828"/>
              <a:gd name="connsiteX68" fmla="*/ 259915 w 501126"/>
              <a:gd name="connsiteY68" fmla="*/ 548014 h 638828"/>
              <a:gd name="connsiteX69" fmla="*/ 266178 w 501126"/>
              <a:gd name="connsiteY69" fmla="*/ 557409 h 638828"/>
              <a:gd name="connsiteX70" fmla="*/ 259915 w 501126"/>
              <a:gd name="connsiteY70" fmla="*/ 576198 h 638828"/>
              <a:gd name="connsiteX71" fmla="*/ 269310 w 501126"/>
              <a:gd name="connsiteY71" fmla="*/ 579329 h 638828"/>
              <a:gd name="connsiteX72" fmla="*/ 281836 w 501126"/>
              <a:gd name="connsiteY72" fmla="*/ 582461 h 638828"/>
              <a:gd name="connsiteX73" fmla="*/ 284967 w 501126"/>
              <a:gd name="connsiteY73" fmla="*/ 591855 h 638828"/>
              <a:gd name="connsiteX74" fmla="*/ 291231 w 501126"/>
              <a:gd name="connsiteY74" fmla="*/ 601250 h 638828"/>
              <a:gd name="connsiteX75" fmla="*/ 331940 w 501126"/>
              <a:gd name="connsiteY75" fmla="*/ 598118 h 638828"/>
              <a:gd name="connsiteX76" fmla="*/ 366387 w 501126"/>
              <a:gd name="connsiteY76" fmla="*/ 594987 h 638828"/>
              <a:gd name="connsiteX77" fmla="*/ 363255 w 501126"/>
              <a:gd name="connsiteY77" fmla="*/ 573066 h 638828"/>
              <a:gd name="connsiteX78" fmla="*/ 350729 w 501126"/>
              <a:gd name="connsiteY78" fmla="*/ 554277 h 638828"/>
              <a:gd name="connsiteX79" fmla="*/ 353861 w 501126"/>
              <a:gd name="connsiteY79" fmla="*/ 535488 h 638828"/>
              <a:gd name="connsiteX80" fmla="*/ 363255 w 501126"/>
              <a:gd name="connsiteY80" fmla="*/ 526094 h 638828"/>
              <a:gd name="connsiteX81" fmla="*/ 372650 w 501126"/>
              <a:gd name="connsiteY81" fmla="*/ 507305 h 638828"/>
              <a:gd name="connsiteX82" fmla="*/ 375781 w 501126"/>
              <a:gd name="connsiteY82" fmla="*/ 488515 h 638828"/>
              <a:gd name="connsiteX83" fmla="*/ 382044 w 501126"/>
              <a:gd name="connsiteY83" fmla="*/ 469726 h 638828"/>
              <a:gd name="connsiteX84" fmla="*/ 388307 w 501126"/>
              <a:gd name="connsiteY84" fmla="*/ 441543 h 638828"/>
              <a:gd name="connsiteX85" fmla="*/ 385176 w 501126"/>
              <a:gd name="connsiteY85" fmla="*/ 422754 h 638828"/>
              <a:gd name="connsiteX86" fmla="*/ 366387 w 501126"/>
              <a:gd name="connsiteY86" fmla="*/ 410228 h 638828"/>
              <a:gd name="connsiteX87" fmla="*/ 360124 w 501126"/>
              <a:gd name="connsiteY87" fmla="*/ 400833 h 638828"/>
              <a:gd name="connsiteX88" fmla="*/ 360124 w 501126"/>
              <a:gd name="connsiteY88" fmla="*/ 372650 h 638828"/>
              <a:gd name="connsiteX89" fmla="*/ 372650 w 501126"/>
              <a:gd name="connsiteY89" fmla="*/ 353861 h 638828"/>
              <a:gd name="connsiteX90" fmla="*/ 369518 w 501126"/>
              <a:gd name="connsiteY90" fmla="*/ 344466 h 638828"/>
              <a:gd name="connsiteX91" fmla="*/ 350729 w 501126"/>
              <a:gd name="connsiteY91" fmla="*/ 325677 h 638828"/>
              <a:gd name="connsiteX92" fmla="*/ 344466 w 501126"/>
              <a:gd name="connsiteY92" fmla="*/ 316283 h 638828"/>
              <a:gd name="connsiteX93" fmla="*/ 344466 w 501126"/>
              <a:gd name="connsiteY93" fmla="*/ 275573 h 638828"/>
              <a:gd name="connsiteX94" fmla="*/ 353861 w 501126"/>
              <a:gd name="connsiteY94" fmla="*/ 269310 h 638828"/>
              <a:gd name="connsiteX95" fmla="*/ 372650 w 501126"/>
              <a:gd name="connsiteY95" fmla="*/ 278705 h 638828"/>
              <a:gd name="connsiteX96" fmla="*/ 382044 w 501126"/>
              <a:gd name="connsiteY96" fmla="*/ 281836 h 638828"/>
              <a:gd name="connsiteX97" fmla="*/ 391439 w 501126"/>
              <a:gd name="connsiteY97" fmla="*/ 291231 h 638828"/>
              <a:gd name="connsiteX98" fmla="*/ 400833 w 501126"/>
              <a:gd name="connsiteY98" fmla="*/ 294362 h 638828"/>
              <a:gd name="connsiteX99" fmla="*/ 422754 w 501126"/>
              <a:gd name="connsiteY99" fmla="*/ 300625 h 638828"/>
              <a:gd name="connsiteX100" fmla="*/ 454069 w 501126"/>
              <a:gd name="connsiteY100" fmla="*/ 291231 h 638828"/>
              <a:gd name="connsiteX101" fmla="*/ 460332 w 501126"/>
              <a:gd name="connsiteY101" fmla="*/ 281836 h 638828"/>
              <a:gd name="connsiteX102" fmla="*/ 457200 w 501126"/>
              <a:gd name="connsiteY102" fmla="*/ 259915 h 638828"/>
              <a:gd name="connsiteX103" fmla="*/ 454069 w 501126"/>
              <a:gd name="connsiteY103" fmla="*/ 250521 h 638828"/>
              <a:gd name="connsiteX104" fmla="*/ 435280 w 501126"/>
              <a:gd name="connsiteY104" fmla="*/ 231732 h 638828"/>
              <a:gd name="connsiteX105" fmla="*/ 438411 w 501126"/>
              <a:gd name="connsiteY105" fmla="*/ 212943 h 638828"/>
              <a:gd name="connsiteX106" fmla="*/ 457200 w 501126"/>
              <a:gd name="connsiteY106" fmla="*/ 206680 h 638828"/>
              <a:gd name="connsiteX107" fmla="*/ 466595 w 501126"/>
              <a:gd name="connsiteY107" fmla="*/ 203548 h 638828"/>
              <a:gd name="connsiteX108" fmla="*/ 501041 w 501126"/>
              <a:gd name="connsiteY108" fmla="*/ 184759 h 638828"/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62839 w 501126"/>
              <a:gd name="connsiteY24" fmla="*/ 231732 h 638828"/>
              <a:gd name="connsiteX25" fmla="*/ 150313 w 501126"/>
              <a:gd name="connsiteY25" fmla="*/ 250521 h 638828"/>
              <a:gd name="connsiteX26" fmla="*/ 144050 w 501126"/>
              <a:gd name="connsiteY26" fmla="*/ 263047 h 638828"/>
              <a:gd name="connsiteX27" fmla="*/ 131524 w 501126"/>
              <a:gd name="connsiteY27" fmla="*/ 281836 h 638828"/>
              <a:gd name="connsiteX28" fmla="*/ 128392 w 501126"/>
              <a:gd name="connsiteY28" fmla="*/ 291231 h 638828"/>
              <a:gd name="connsiteX29" fmla="*/ 118998 w 501126"/>
              <a:gd name="connsiteY29" fmla="*/ 300625 h 638828"/>
              <a:gd name="connsiteX30" fmla="*/ 106472 w 501126"/>
              <a:gd name="connsiteY30" fmla="*/ 319414 h 638828"/>
              <a:gd name="connsiteX31" fmla="*/ 97077 w 501126"/>
              <a:gd name="connsiteY31" fmla="*/ 328809 h 638828"/>
              <a:gd name="connsiteX32" fmla="*/ 84551 w 501126"/>
              <a:gd name="connsiteY32" fmla="*/ 347598 h 638828"/>
              <a:gd name="connsiteX33" fmla="*/ 78288 w 501126"/>
              <a:gd name="connsiteY33" fmla="*/ 356992 h 638828"/>
              <a:gd name="connsiteX34" fmla="*/ 65762 w 501126"/>
              <a:gd name="connsiteY34" fmla="*/ 366387 h 638828"/>
              <a:gd name="connsiteX35" fmla="*/ 37578 w 501126"/>
              <a:gd name="connsiteY35" fmla="*/ 388307 h 638828"/>
              <a:gd name="connsiteX36" fmla="*/ 28184 w 501126"/>
              <a:gd name="connsiteY36" fmla="*/ 394570 h 638828"/>
              <a:gd name="connsiteX37" fmla="*/ 18789 w 501126"/>
              <a:gd name="connsiteY37" fmla="*/ 397702 h 638828"/>
              <a:gd name="connsiteX38" fmla="*/ 0 w 501126"/>
              <a:gd name="connsiteY38" fmla="*/ 410228 h 638828"/>
              <a:gd name="connsiteX39" fmla="*/ 9395 w 501126"/>
              <a:gd name="connsiteY39" fmla="*/ 413359 h 638828"/>
              <a:gd name="connsiteX40" fmla="*/ 21921 w 501126"/>
              <a:gd name="connsiteY40" fmla="*/ 416491 h 638828"/>
              <a:gd name="connsiteX41" fmla="*/ 31315 w 501126"/>
              <a:gd name="connsiteY41" fmla="*/ 422754 h 638828"/>
              <a:gd name="connsiteX42" fmla="*/ 34447 w 501126"/>
              <a:gd name="connsiteY42" fmla="*/ 479121 h 638828"/>
              <a:gd name="connsiteX43" fmla="*/ 37578 w 501126"/>
              <a:gd name="connsiteY43" fmla="*/ 488515 h 638828"/>
              <a:gd name="connsiteX44" fmla="*/ 46973 w 501126"/>
              <a:gd name="connsiteY44" fmla="*/ 491647 h 638828"/>
              <a:gd name="connsiteX45" fmla="*/ 75157 w 501126"/>
              <a:gd name="connsiteY45" fmla="*/ 491647 h 638828"/>
              <a:gd name="connsiteX46" fmla="*/ 78288 w 501126"/>
              <a:gd name="connsiteY46" fmla="*/ 501042 h 638828"/>
              <a:gd name="connsiteX47" fmla="*/ 87683 w 501126"/>
              <a:gd name="connsiteY47" fmla="*/ 504173 h 638828"/>
              <a:gd name="connsiteX48" fmla="*/ 112735 w 501126"/>
              <a:gd name="connsiteY48" fmla="*/ 507305 h 638828"/>
              <a:gd name="connsiteX49" fmla="*/ 93946 w 501126"/>
              <a:gd name="connsiteY49" fmla="*/ 522962 h 638828"/>
              <a:gd name="connsiteX50" fmla="*/ 90814 w 501126"/>
              <a:gd name="connsiteY50" fmla="*/ 532357 h 638828"/>
              <a:gd name="connsiteX51" fmla="*/ 97077 w 501126"/>
              <a:gd name="connsiteY51" fmla="*/ 541751 h 638828"/>
              <a:gd name="connsiteX52" fmla="*/ 103340 w 501126"/>
              <a:gd name="connsiteY52" fmla="*/ 560540 h 638828"/>
              <a:gd name="connsiteX53" fmla="*/ 100209 w 501126"/>
              <a:gd name="connsiteY53" fmla="*/ 573066 h 638828"/>
              <a:gd name="connsiteX54" fmla="*/ 103340 w 501126"/>
              <a:gd name="connsiteY54" fmla="*/ 610644 h 638828"/>
              <a:gd name="connsiteX55" fmla="*/ 112735 w 501126"/>
              <a:gd name="connsiteY55" fmla="*/ 613776 h 638828"/>
              <a:gd name="connsiteX56" fmla="*/ 150313 w 501126"/>
              <a:gd name="connsiteY56" fmla="*/ 616907 h 638828"/>
              <a:gd name="connsiteX57" fmla="*/ 156576 w 501126"/>
              <a:gd name="connsiteY57" fmla="*/ 626302 h 638828"/>
              <a:gd name="connsiteX58" fmla="*/ 175365 w 501126"/>
              <a:gd name="connsiteY58" fmla="*/ 632565 h 638828"/>
              <a:gd name="connsiteX59" fmla="*/ 184759 w 501126"/>
              <a:gd name="connsiteY59" fmla="*/ 638828 h 638828"/>
              <a:gd name="connsiteX60" fmla="*/ 203548 w 501126"/>
              <a:gd name="connsiteY60" fmla="*/ 629433 h 638828"/>
              <a:gd name="connsiteX61" fmla="*/ 209811 w 501126"/>
              <a:gd name="connsiteY61" fmla="*/ 620039 h 638828"/>
              <a:gd name="connsiteX62" fmla="*/ 219206 w 501126"/>
              <a:gd name="connsiteY62" fmla="*/ 610644 h 638828"/>
              <a:gd name="connsiteX63" fmla="*/ 209811 w 501126"/>
              <a:gd name="connsiteY63" fmla="*/ 601250 h 638828"/>
              <a:gd name="connsiteX64" fmla="*/ 209811 w 501126"/>
              <a:gd name="connsiteY64" fmla="*/ 557409 h 638828"/>
              <a:gd name="connsiteX65" fmla="*/ 212943 w 501126"/>
              <a:gd name="connsiteY65" fmla="*/ 544883 h 638828"/>
              <a:gd name="connsiteX66" fmla="*/ 222337 w 501126"/>
              <a:gd name="connsiteY66" fmla="*/ 538620 h 638828"/>
              <a:gd name="connsiteX67" fmla="*/ 250521 w 501126"/>
              <a:gd name="connsiteY67" fmla="*/ 544883 h 638828"/>
              <a:gd name="connsiteX68" fmla="*/ 259915 w 501126"/>
              <a:gd name="connsiteY68" fmla="*/ 548014 h 638828"/>
              <a:gd name="connsiteX69" fmla="*/ 266178 w 501126"/>
              <a:gd name="connsiteY69" fmla="*/ 557409 h 638828"/>
              <a:gd name="connsiteX70" fmla="*/ 259915 w 501126"/>
              <a:gd name="connsiteY70" fmla="*/ 576198 h 638828"/>
              <a:gd name="connsiteX71" fmla="*/ 269310 w 501126"/>
              <a:gd name="connsiteY71" fmla="*/ 579329 h 638828"/>
              <a:gd name="connsiteX72" fmla="*/ 281836 w 501126"/>
              <a:gd name="connsiteY72" fmla="*/ 582461 h 638828"/>
              <a:gd name="connsiteX73" fmla="*/ 284967 w 501126"/>
              <a:gd name="connsiteY73" fmla="*/ 591855 h 638828"/>
              <a:gd name="connsiteX74" fmla="*/ 291231 w 501126"/>
              <a:gd name="connsiteY74" fmla="*/ 601250 h 638828"/>
              <a:gd name="connsiteX75" fmla="*/ 331940 w 501126"/>
              <a:gd name="connsiteY75" fmla="*/ 598118 h 638828"/>
              <a:gd name="connsiteX76" fmla="*/ 366387 w 501126"/>
              <a:gd name="connsiteY76" fmla="*/ 594987 h 638828"/>
              <a:gd name="connsiteX77" fmla="*/ 363255 w 501126"/>
              <a:gd name="connsiteY77" fmla="*/ 573066 h 638828"/>
              <a:gd name="connsiteX78" fmla="*/ 350729 w 501126"/>
              <a:gd name="connsiteY78" fmla="*/ 554277 h 638828"/>
              <a:gd name="connsiteX79" fmla="*/ 353861 w 501126"/>
              <a:gd name="connsiteY79" fmla="*/ 535488 h 638828"/>
              <a:gd name="connsiteX80" fmla="*/ 363255 w 501126"/>
              <a:gd name="connsiteY80" fmla="*/ 526094 h 638828"/>
              <a:gd name="connsiteX81" fmla="*/ 372650 w 501126"/>
              <a:gd name="connsiteY81" fmla="*/ 507305 h 638828"/>
              <a:gd name="connsiteX82" fmla="*/ 375781 w 501126"/>
              <a:gd name="connsiteY82" fmla="*/ 488515 h 638828"/>
              <a:gd name="connsiteX83" fmla="*/ 382044 w 501126"/>
              <a:gd name="connsiteY83" fmla="*/ 469726 h 638828"/>
              <a:gd name="connsiteX84" fmla="*/ 388307 w 501126"/>
              <a:gd name="connsiteY84" fmla="*/ 441543 h 638828"/>
              <a:gd name="connsiteX85" fmla="*/ 385176 w 501126"/>
              <a:gd name="connsiteY85" fmla="*/ 422754 h 638828"/>
              <a:gd name="connsiteX86" fmla="*/ 366387 w 501126"/>
              <a:gd name="connsiteY86" fmla="*/ 410228 h 638828"/>
              <a:gd name="connsiteX87" fmla="*/ 360124 w 501126"/>
              <a:gd name="connsiteY87" fmla="*/ 400833 h 638828"/>
              <a:gd name="connsiteX88" fmla="*/ 360124 w 501126"/>
              <a:gd name="connsiteY88" fmla="*/ 372650 h 638828"/>
              <a:gd name="connsiteX89" fmla="*/ 372650 w 501126"/>
              <a:gd name="connsiteY89" fmla="*/ 353861 h 638828"/>
              <a:gd name="connsiteX90" fmla="*/ 369518 w 501126"/>
              <a:gd name="connsiteY90" fmla="*/ 344466 h 638828"/>
              <a:gd name="connsiteX91" fmla="*/ 350729 w 501126"/>
              <a:gd name="connsiteY91" fmla="*/ 325677 h 638828"/>
              <a:gd name="connsiteX92" fmla="*/ 344466 w 501126"/>
              <a:gd name="connsiteY92" fmla="*/ 316283 h 638828"/>
              <a:gd name="connsiteX93" fmla="*/ 344466 w 501126"/>
              <a:gd name="connsiteY93" fmla="*/ 275573 h 638828"/>
              <a:gd name="connsiteX94" fmla="*/ 353861 w 501126"/>
              <a:gd name="connsiteY94" fmla="*/ 269310 h 638828"/>
              <a:gd name="connsiteX95" fmla="*/ 372650 w 501126"/>
              <a:gd name="connsiteY95" fmla="*/ 278705 h 638828"/>
              <a:gd name="connsiteX96" fmla="*/ 382044 w 501126"/>
              <a:gd name="connsiteY96" fmla="*/ 281836 h 638828"/>
              <a:gd name="connsiteX97" fmla="*/ 391439 w 501126"/>
              <a:gd name="connsiteY97" fmla="*/ 291231 h 638828"/>
              <a:gd name="connsiteX98" fmla="*/ 400833 w 501126"/>
              <a:gd name="connsiteY98" fmla="*/ 294362 h 638828"/>
              <a:gd name="connsiteX99" fmla="*/ 432279 w 501126"/>
              <a:gd name="connsiteY99" fmla="*/ 310150 h 638828"/>
              <a:gd name="connsiteX100" fmla="*/ 454069 w 501126"/>
              <a:gd name="connsiteY100" fmla="*/ 291231 h 638828"/>
              <a:gd name="connsiteX101" fmla="*/ 460332 w 501126"/>
              <a:gd name="connsiteY101" fmla="*/ 281836 h 638828"/>
              <a:gd name="connsiteX102" fmla="*/ 457200 w 501126"/>
              <a:gd name="connsiteY102" fmla="*/ 259915 h 638828"/>
              <a:gd name="connsiteX103" fmla="*/ 454069 w 501126"/>
              <a:gd name="connsiteY103" fmla="*/ 250521 h 638828"/>
              <a:gd name="connsiteX104" fmla="*/ 435280 w 501126"/>
              <a:gd name="connsiteY104" fmla="*/ 231732 h 638828"/>
              <a:gd name="connsiteX105" fmla="*/ 438411 w 501126"/>
              <a:gd name="connsiteY105" fmla="*/ 212943 h 638828"/>
              <a:gd name="connsiteX106" fmla="*/ 457200 w 501126"/>
              <a:gd name="connsiteY106" fmla="*/ 206680 h 638828"/>
              <a:gd name="connsiteX107" fmla="*/ 466595 w 501126"/>
              <a:gd name="connsiteY107" fmla="*/ 203548 h 638828"/>
              <a:gd name="connsiteX108" fmla="*/ 501041 w 501126"/>
              <a:gd name="connsiteY108" fmla="*/ 184759 h 638828"/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62839 w 501126"/>
              <a:gd name="connsiteY24" fmla="*/ 231732 h 638828"/>
              <a:gd name="connsiteX25" fmla="*/ 150313 w 501126"/>
              <a:gd name="connsiteY25" fmla="*/ 250521 h 638828"/>
              <a:gd name="connsiteX26" fmla="*/ 144050 w 501126"/>
              <a:gd name="connsiteY26" fmla="*/ 263047 h 638828"/>
              <a:gd name="connsiteX27" fmla="*/ 131524 w 501126"/>
              <a:gd name="connsiteY27" fmla="*/ 281836 h 638828"/>
              <a:gd name="connsiteX28" fmla="*/ 128392 w 501126"/>
              <a:gd name="connsiteY28" fmla="*/ 291231 h 638828"/>
              <a:gd name="connsiteX29" fmla="*/ 118998 w 501126"/>
              <a:gd name="connsiteY29" fmla="*/ 300625 h 638828"/>
              <a:gd name="connsiteX30" fmla="*/ 106472 w 501126"/>
              <a:gd name="connsiteY30" fmla="*/ 319414 h 638828"/>
              <a:gd name="connsiteX31" fmla="*/ 97077 w 501126"/>
              <a:gd name="connsiteY31" fmla="*/ 328809 h 638828"/>
              <a:gd name="connsiteX32" fmla="*/ 84551 w 501126"/>
              <a:gd name="connsiteY32" fmla="*/ 347598 h 638828"/>
              <a:gd name="connsiteX33" fmla="*/ 78288 w 501126"/>
              <a:gd name="connsiteY33" fmla="*/ 356992 h 638828"/>
              <a:gd name="connsiteX34" fmla="*/ 65762 w 501126"/>
              <a:gd name="connsiteY34" fmla="*/ 366387 h 638828"/>
              <a:gd name="connsiteX35" fmla="*/ 37578 w 501126"/>
              <a:gd name="connsiteY35" fmla="*/ 388307 h 638828"/>
              <a:gd name="connsiteX36" fmla="*/ 28184 w 501126"/>
              <a:gd name="connsiteY36" fmla="*/ 394570 h 638828"/>
              <a:gd name="connsiteX37" fmla="*/ 18789 w 501126"/>
              <a:gd name="connsiteY37" fmla="*/ 397702 h 638828"/>
              <a:gd name="connsiteX38" fmla="*/ 0 w 501126"/>
              <a:gd name="connsiteY38" fmla="*/ 410228 h 638828"/>
              <a:gd name="connsiteX39" fmla="*/ 9395 w 501126"/>
              <a:gd name="connsiteY39" fmla="*/ 413359 h 638828"/>
              <a:gd name="connsiteX40" fmla="*/ 21921 w 501126"/>
              <a:gd name="connsiteY40" fmla="*/ 416491 h 638828"/>
              <a:gd name="connsiteX41" fmla="*/ 31315 w 501126"/>
              <a:gd name="connsiteY41" fmla="*/ 422754 h 638828"/>
              <a:gd name="connsiteX42" fmla="*/ 34447 w 501126"/>
              <a:gd name="connsiteY42" fmla="*/ 479121 h 638828"/>
              <a:gd name="connsiteX43" fmla="*/ 37578 w 501126"/>
              <a:gd name="connsiteY43" fmla="*/ 488515 h 638828"/>
              <a:gd name="connsiteX44" fmla="*/ 46973 w 501126"/>
              <a:gd name="connsiteY44" fmla="*/ 491647 h 638828"/>
              <a:gd name="connsiteX45" fmla="*/ 75157 w 501126"/>
              <a:gd name="connsiteY45" fmla="*/ 491647 h 638828"/>
              <a:gd name="connsiteX46" fmla="*/ 78288 w 501126"/>
              <a:gd name="connsiteY46" fmla="*/ 501042 h 638828"/>
              <a:gd name="connsiteX47" fmla="*/ 87683 w 501126"/>
              <a:gd name="connsiteY47" fmla="*/ 504173 h 638828"/>
              <a:gd name="connsiteX48" fmla="*/ 112735 w 501126"/>
              <a:gd name="connsiteY48" fmla="*/ 507305 h 638828"/>
              <a:gd name="connsiteX49" fmla="*/ 93946 w 501126"/>
              <a:gd name="connsiteY49" fmla="*/ 522962 h 638828"/>
              <a:gd name="connsiteX50" fmla="*/ 90814 w 501126"/>
              <a:gd name="connsiteY50" fmla="*/ 532357 h 638828"/>
              <a:gd name="connsiteX51" fmla="*/ 97077 w 501126"/>
              <a:gd name="connsiteY51" fmla="*/ 541751 h 638828"/>
              <a:gd name="connsiteX52" fmla="*/ 103340 w 501126"/>
              <a:gd name="connsiteY52" fmla="*/ 560540 h 638828"/>
              <a:gd name="connsiteX53" fmla="*/ 100209 w 501126"/>
              <a:gd name="connsiteY53" fmla="*/ 573066 h 638828"/>
              <a:gd name="connsiteX54" fmla="*/ 103340 w 501126"/>
              <a:gd name="connsiteY54" fmla="*/ 610644 h 638828"/>
              <a:gd name="connsiteX55" fmla="*/ 112735 w 501126"/>
              <a:gd name="connsiteY55" fmla="*/ 613776 h 638828"/>
              <a:gd name="connsiteX56" fmla="*/ 150313 w 501126"/>
              <a:gd name="connsiteY56" fmla="*/ 616907 h 638828"/>
              <a:gd name="connsiteX57" fmla="*/ 156576 w 501126"/>
              <a:gd name="connsiteY57" fmla="*/ 626302 h 638828"/>
              <a:gd name="connsiteX58" fmla="*/ 175365 w 501126"/>
              <a:gd name="connsiteY58" fmla="*/ 632565 h 638828"/>
              <a:gd name="connsiteX59" fmla="*/ 184759 w 501126"/>
              <a:gd name="connsiteY59" fmla="*/ 638828 h 638828"/>
              <a:gd name="connsiteX60" fmla="*/ 203548 w 501126"/>
              <a:gd name="connsiteY60" fmla="*/ 629433 h 638828"/>
              <a:gd name="connsiteX61" fmla="*/ 209811 w 501126"/>
              <a:gd name="connsiteY61" fmla="*/ 620039 h 638828"/>
              <a:gd name="connsiteX62" fmla="*/ 219206 w 501126"/>
              <a:gd name="connsiteY62" fmla="*/ 610644 h 638828"/>
              <a:gd name="connsiteX63" fmla="*/ 209811 w 501126"/>
              <a:gd name="connsiteY63" fmla="*/ 601250 h 638828"/>
              <a:gd name="connsiteX64" fmla="*/ 209811 w 501126"/>
              <a:gd name="connsiteY64" fmla="*/ 557409 h 638828"/>
              <a:gd name="connsiteX65" fmla="*/ 212943 w 501126"/>
              <a:gd name="connsiteY65" fmla="*/ 544883 h 638828"/>
              <a:gd name="connsiteX66" fmla="*/ 222337 w 501126"/>
              <a:gd name="connsiteY66" fmla="*/ 538620 h 638828"/>
              <a:gd name="connsiteX67" fmla="*/ 250521 w 501126"/>
              <a:gd name="connsiteY67" fmla="*/ 544883 h 638828"/>
              <a:gd name="connsiteX68" fmla="*/ 259915 w 501126"/>
              <a:gd name="connsiteY68" fmla="*/ 548014 h 638828"/>
              <a:gd name="connsiteX69" fmla="*/ 266178 w 501126"/>
              <a:gd name="connsiteY69" fmla="*/ 557409 h 638828"/>
              <a:gd name="connsiteX70" fmla="*/ 259915 w 501126"/>
              <a:gd name="connsiteY70" fmla="*/ 576198 h 638828"/>
              <a:gd name="connsiteX71" fmla="*/ 269310 w 501126"/>
              <a:gd name="connsiteY71" fmla="*/ 579329 h 638828"/>
              <a:gd name="connsiteX72" fmla="*/ 281836 w 501126"/>
              <a:gd name="connsiteY72" fmla="*/ 582461 h 638828"/>
              <a:gd name="connsiteX73" fmla="*/ 284967 w 501126"/>
              <a:gd name="connsiteY73" fmla="*/ 591855 h 638828"/>
              <a:gd name="connsiteX74" fmla="*/ 291231 w 501126"/>
              <a:gd name="connsiteY74" fmla="*/ 601250 h 638828"/>
              <a:gd name="connsiteX75" fmla="*/ 331940 w 501126"/>
              <a:gd name="connsiteY75" fmla="*/ 598118 h 638828"/>
              <a:gd name="connsiteX76" fmla="*/ 366387 w 501126"/>
              <a:gd name="connsiteY76" fmla="*/ 594987 h 638828"/>
              <a:gd name="connsiteX77" fmla="*/ 363255 w 501126"/>
              <a:gd name="connsiteY77" fmla="*/ 573066 h 638828"/>
              <a:gd name="connsiteX78" fmla="*/ 350729 w 501126"/>
              <a:gd name="connsiteY78" fmla="*/ 554277 h 638828"/>
              <a:gd name="connsiteX79" fmla="*/ 353861 w 501126"/>
              <a:gd name="connsiteY79" fmla="*/ 535488 h 638828"/>
              <a:gd name="connsiteX80" fmla="*/ 363255 w 501126"/>
              <a:gd name="connsiteY80" fmla="*/ 526094 h 638828"/>
              <a:gd name="connsiteX81" fmla="*/ 372650 w 501126"/>
              <a:gd name="connsiteY81" fmla="*/ 507305 h 638828"/>
              <a:gd name="connsiteX82" fmla="*/ 375781 w 501126"/>
              <a:gd name="connsiteY82" fmla="*/ 488515 h 638828"/>
              <a:gd name="connsiteX83" fmla="*/ 382044 w 501126"/>
              <a:gd name="connsiteY83" fmla="*/ 469726 h 638828"/>
              <a:gd name="connsiteX84" fmla="*/ 388307 w 501126"/>
              <a:gd name="connsiteY84" fmla="*/ 441543 h 638828"/>
              <a:gd name="connsiteX85" fmla="*/ 385176 w 501126"/>
              <a:gd name="connsiteY85" fmla="*/ 422754 h 638828"/>
              <a:gd name="connsiteX86" fmla="*/ 366387 w 501126"/>
              <a:gd name="connsiteY86" fmla="*/ 410228 h 638828"/>
              <a:gd name="connsiteX87" fmla="*/ 360124 w 501126"/>
              <a:gd name="connsiteY87" fmla="*/ 400833 h 638828"/>
              <a:gd name="connsiteX88" fmla="*/ 360124 w 501126"/>
              <a:gd name="connsiteY88" fmla="*/ 372650 h 638828"/>
              <a:gd name="connsiteX89" fmla="*/ 372650 w 501126"/>
              <a:gd name="connsiteY89" fmla="*/ 353861 h 638828"/>
              <a:gd name="connsiteX90" fmla="*/ 369518 w 501126"/>
              <a:gd name="connsiteY90" fmla="*/ 344466 h 638828"/>
              <a:gd name="connsiteX91" fmla="*/ 350729 w 501126"/>
              <a:gd name="connsiteY91" fmla="*/ 325677 h 638828"/>
              <a:gd name="connsiteX92" fmla="*/ 344466 w 501126"/>
              <a:gd name="connsiteY92" fmla="*/ 316283 h 638828"/>
              <a:gd name="connsiteX93" fmla="*/ 344466 w 501126"/>
              <a:gd name="connsiteY93" fmla="*/ 275573 h 638828"/>
              <a:gd name="connsiteX94" fmla="*/ 353861 w 501126"/>
              <a:gd name="connsiteY94" fmla="*/ 269310 h 638828"/>
              <a:gd name="connsiteX95" fmla="*/ 372650 w 501126"/>
              <a:gd name="connsiteY95" fmla="*/ 278705 h 638828"/>
              <a:gd name="connsiteX96" fmla="*/ 382044 w 501126"/>
              <a:gd name="connsiteY96" fmla="*/ 281836 h 638828"/>
              <a:gd name="connsiteX97" fmla="*/ 391439 w 501126"/>
              <a:gd name="connsiteY97" fmla="*/ 291231 h 638828"/>
              <a:gd name="connsiteX98" fmla="*/ 400833 w 501126"/>
              <a:gd name="connsiteY98" fmla="*/ 294362 h 638828"/>
              <a:gd name="connsiteX99" fmla="*/ 432279 w 501126"/>
              <a:gd name="connsiteY99" fmla="*/ 310150 h 638828"/>
              <a:gd name="connsiteX100" fmla="*/ 454069 w 501126"/>
              <a:gd name="connsiteY100" fmla="*/ 291231 h 638828"/>
              <a:gd name="connsiteX101" fmla="*/ 460332 w 501126"/>
              <a:gd name="connsiteY101" fmla="*/ 281836 h 638828"/>
              <a:gd name="connsiteX102" fmla="*/ 457200 w 501126"/>
              <a:gd name="connsiteY102" fmla="*/ 259915 h 638828"/>
              <a:gd name="connsiteX103" fmla="*/ 454069 w 501126"/>
              <a:gd name="connsiteY103" fmla="*/ 250521 h 638828"/>
              <a:gd name="connsiteX104" fmla="*/ 435280 w 501126"/>
              <a:gd name="connsiteY104" fmla="*/ 231732 h 638828"/>
              <a:gd name="connsiteX105" fmla="*/ 438411 w 501126"/>
              <a:gd name="connsiteY105" fmla="*/ 212943 h 638828"/>
              <a:gd name="connsiteX106" fmla="*/ 457200 w 501126"/>
              <a:gd name="connsiteY106" fmla="*/ 206680 h 638828"/>
              <a:gd name="connsiteX107" fmla="*/ 466595 w 501126"/>
              <a:gd name="connsiteY107" fmla="*/ 203548 h 638828"/>
              <a:gd name="connsiteX108" fmla="*/ 501041 w 501126"/>
              <a:gd name="connsiteY108" fmla="*/ 184759 h 638828"/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62839 w 501126"/>
              <a:gd name="connsiteY24" fmla="*/ 231732 h 638828"/>
              <a:gd name="connsiteX25" fmla="*/ 150313 w 501126"/>
              <a:gd name="connsiteY25" fmla="*/ 250521 h 638828"/>
              <a:gd name="connsiteX26" fmla="*/ 144050 w 501126"/>
              <a:gd name="connsiteY26" fmla="*/ 263047 h 638828"/>
              <a:gd name="connsiteX27" fmla="*/ 131524 w 501126"/>
              <a:gd name="connsiteY27" fmla="*/ 281836 h 638828"/>
              <a:gd name="connsiteX28" fmla="*/ 128392 w 501126"/>
              <a:gd name="connsiteY28" fmla="*/ 291231 h 638828"/>
              <a:gd name="connsiteX29" fmla="*/ 118998 w 501126"/>
              <a:gd name="connsiteY29" fmla="*/ 300625 h 638828"/>
              <a:gd name="connsiteX30" fmla="*/ 106472 w 501126"/>
              <a:gd name="connsiteY30" fmla="*/ 319414 h 638828"/>
              <a:gd name="connsiteX31" fmla="*/ 97077 w 501126"/>
              <a:gd name="connsiteY31" fmla="*/ 328809 h 638828"/>
              <a:gd name="connsiteX32" fmla="*/ 84551 w 501126"/>
              <a:gd name="connsiteY32" fmla="*/ 347598 h 638828"/>
              <a:gd name="connsiteX33" fmla="*/ 78288 w 501126"/>
              <a:gd name="connsiteY33" fmla="*/ 356992 h 638828"/>
              <a:gd name="connsiteX34" fmla="*/ 65762 w 501126"/>
              <a:gd name="connsiteY34" fmla="*/ 366387 h 638828"/>
              <a:gd name="connsiteX35" fmla="*/ 37578 w 501126"/>
              <a:gd name="connsiteY35" fmla="*/ 388307 h 638828"/>
              <a:gd name="connsiteX36" fmla="*/ 28184 w 501126"/>
              <a:gd name="connsiteY36" fmla="*/ 394570 h 638828"/>
              <a:gd name="connsiteX37" fmla="*/ 18789 w 501126"/>
              <a:gd name="connsiteY37" fmla="*/ 397702 h 638828"/>
              <a:gd name="connsiteX38" fmla="*/ 0 w 501126"/>
              <a:gd name="connsiteY38" fmla="*/ 410228 h 638828"/>
              <a:gd name="connsiteX39" fmla="*/ 9395 w 501126"/>
              <a:gd name="connsiteY39" fmla="*/ 413359 h 638828"/>
              <a:gd name="connsiteX40" fmla="*/ 21921 w 501126"/>
              <a:gd name="connsiteY40" fmla="*/ 416491 h 638828"/>
              <a:gd name="connsiteX41" fmla="*/ 31315 w 501126"/>
              <a:gd name="connsiteY41" fmla="*/ 422754 h 638828"/>
              <a:gd name="connsiteX42" fmla="*/ 34447 w 501126"/>
              <a:gd name="connsiteY42" fmla="*/ 479121 h 638828"/>
              <a:gd name="connsiteX43" fmla="*/ 37578 w 501126"/>
              <a:gd name="connsiteY43" fmla="*/ 488515 h 638828"/>
              <a:gd name="connsiteX44" fmla="*/ 46973 w 501126"/>
              <a:gd name="connsiteY44" fmla="*/ 491647 h 638828"/>
              <a:gd name="connsiteX45" fmla="*/ 75157 w 501126"/>
              <a:gd name="connsiteY45" fmla="*/ 491647 h 638828"/>
              <a:gd name="connsiteX46" fmla="*/ 78288 w 501126"/>
              <a:gd name="connsiteY46" fmla="*/ 501042 h 638828"/>
              <a:gd name="connsiteX47" fmla="*/ 87683 w 501126"/>
              <a:gd name="connsiteY47" fmla="*/ 504173 h 638828"/>
              <a:gd name="connsiteX48" fmla="*/ 112735 w 501126"/>
              <a:gd name="connsiteY48" fmla="*/ 507305 h 638828"/>
              <a:gd name="connsiteX49" fmla="*/ 93946 w 501126"/>
              <a:gd name="connsiteY49" fmla="*/ 522962 h 638828"/>
              <a:gd name="connsiteX50" fmla="*/ 90814 w 501126"/>
              <a:gd name="connsiteY50" fmla="*/ 532357 h 638828"/>
              <a:gd name="connsiteX51" fmla="*/ 97077 w 501126"/>
              <a:gd name="connsiteY51" fmla="*/ 541751 h 638828"/>
              <a:gd name="connsiteX52" fmla="*/ 103340 w 501126"/>
              <a:gd name="connsiteY52" fmla="*/ 560540 h 638828"/>
              <a:gd name="connsiteX53" fmla="*/ 100209 w 501126"/>
              <a:gd name="connsiteY53" fmla="*/ 573066 h 638828"/>
              <a:gd name="connsiteX54" fmla="*/ 103340 w 501126"/>
              <a:gd name="connsiteY54" fmla="*/ 610644 h 638828"/>
              <a:gd name="connsiteX55" fmla="*/ 112735 w 501126"/>
              <a:gd name="connsiteY55" fmla="*/ 613776 h 638828"/>
              <a:gd name="connsiteX56" fmla="*/ 150313 w 501126"/>
              <a:gd name="connsiteY56" fmla="*/ 616907 h 638828"/>
              <a:gd name="connsiteX57" fmla="*/ 156576 w 501126"/>
              <a:gd name="connsiteY57" fmla="*/ 626302 h 638828"/>
              <a:gd name="connsiteX58" fmla="*/ 175365 w 501126"/>
              <a:gd name="connsiteY58" fmla="*/ 632565 h 638828"/>
              <a:gd name="connsiteX59" fmla="*/ 184759 w 501126"/>
              <a:gd name="connsiteY59" fmla="*/ 638828 h 638828"/>
              <a:gd name="connsiteX60" fmla="*/ 203548 w 501126"/>
              <a:gd name="connsiteY60" fmla="*/ 629433 h 638828"/>
              <a:gd name="connsiteX61" fmla="*/ 209811 w 501126"/>
              <a:gd name="connsiteY61" fmla="*/ 620039 h 638828"/>
              <a:gd name="connsiteX62" fmla="*/ 219206 w 501126"/>
              <a:gd name="connsiteY62" fmla="*/ 610644 h 638828"/>
              <a:gd name="connsiteX63" fmla="*/ 209811 w 501126"/>
              <a:gd name="connsiteY63" fmla="*/ 601250 h 638828"/>
              <a:gd name="connsiteX64" fmla="*/ 209811 w 501126"/>
              <a:gd name="connsiteY64" fmla="*/ 557409 h 638828"/>
              <a:gd name="connsiteX65" fmla="*/ 212943 w 501126"/>
              <a:gd name="connsiteY65" fmla="*/ 544883 h 638828"/>
              <a:gd name="connsiteX66" fmla="*/ 222337 w 501126"/>
              <a:gd name="connsiteY66" fmla="*/ 538620 h 638828"/>
              <a:gd name="connsiteX67" fmla="*/ 250521 w 501126"/>
              <a:gd name="connsiteY67" fmla="*/ 544883 h 638828"/>
              <a:gd name="connsiteX68" fmla="*/ 259915 w 501126"/>
              <a:gd name="connsiteY68" fmla="*/ 548014 h 638828"/>
              <a:gd name="connsiteX69" fmla="*/ 266178 w 501126"/>
              <a:gd name="connsiteY69" fmla="*/ 557409 h 638828"/>
              <a:gd name="connsiteX70" fmla="*/ 259915 w 501126"/>
              <a:gd name="connsiteY70" fmla="*/ 576198 h 638828"/>
              <a:gd name="connsiteX71" fmla="*/ 269310 w 501126"/>
              <a:gd name="connsiteY71" fmla="*/ 579329 h 638828"/>
              <a:gd name="connsiteX72" fmla="*/ 281836 w 501126"/>
              <a:gd name="connsiteY72" fmla="*/ 582461 h 638828"/>
              <a:gd name="connsiteX73" fmla="*/ 284967 w 501126"/>
              <a:gd name="connsiteY73" fmla="*/ 591855 h 638828"/>
              <a:gd name="connsiteX74" fmla="*/ 291231 w 501126"/>
              <a:gd name="connsiteY74" fmla="*/ 601250 h 638828"/>
              <a:gd name="connsiteX75" fmla="*/ 331940 w 501126"/>
              <a:gd name="connsiteY75" fmla="*/ 598118 h 638828"/>
              <a:gd name="connsiteX76" fmla="*/ 366387 w 501126"/>
              <a:gd name="connsiteY76" fmla="*/ 594987 h 638828"/>
              <a:gd name="connsiteX77" fmla="*/ 363255 w 501126"/>
              <a:gd name="connsiteY77" fmla="*/ 573066 h 638828"/>
              <a:gd name="connsiteX78" fmla="*/ 350729 w 501126"/>
              <a:gd name="connsiteY78" fmla="*/ 554277 h 638828"/>
              <a:gd name="connsiteX79" fmla="*/ 353861 w 501126"/>
              <a:gd name="connsiteY79" fmla="*/ 535488 h 638828"/>
              <a:gd name="connsiteX80" fmla="*/ 363255 w 501126"/>
              <a:gd name="connsiteY80" fmla="*/ 526094 h 638828"/>
              <a:gd name="connsiteX81" fmla="*/ 372650 w 501126"/>
              <a:gd name="connsiteY81" fmla="*/ 507305 h 638828"/>
              <a:gd name="connsiteX82" fmla="*/ 375781 w 501126"/>
              <a:gd name="connsiteY82" fmla="*/ 488515 h 638828"/>
              <a:gd name="connsiteX83" fmla="*/ 382044 w 501126"/>
              <a:gd name="connsiteY83" fmla="*/ 469726 h 638828"/>
              <a:gd name="connsiteX84" fmla="*/ 388307 w 501126"/>
              <a:gd name="connsiteY84" fmla="*/ 441543 h 638828"/>
              <a:gd name="connsiteX85" fmla="*/ 385176 w 501126"/>
              <a:gd name="connsiteY85" fmla="*/ 422754 h 638828"/>
              <a:gd name="connsiteX86" fmla="*/ 366387 w 501126"/>
              <a:gd name="connsiteY86" fmla="*/ 410228 h 638828"/>
              <a:gd name="connsiteX87" fmla="*/ 360124 w 501126"/>
              <a:gd name="connsiteY87" fmla="*/ 400833 h 638828"/>
              <a:gd name="connsiteX88" fmla="*/ 360124 w 501126"/>
              <a:gd name="connsiteY88" fmla="*/ 372650 h 638828"/>
              <a:gd name="connsiteX89" fmla="*/ 372650 w 501126"/>
              <a:gd name="connsiteY89" fmla="*/ 353861 h 638828"/>
              <a:gd name="connsiteX90" fmla="*/ 369518 w 501126"/>
              <a:gd name="connsiteY90" fmla="*/ 344466 h 638828"/>
              <a:gd name="connsiteX91" fmla="*/ 350729 w 501126"/>
              <a:gd name="connsiteY91" fmla="*/ 325677 h 638828"/>
              <a:gd name="connsiteX92" fmla="*/ 344466 w 501126"/>
              <a:gd name="connsiteY92" fmla="*/ 316283 h 638828"/>
              <a:gd name="connsiteX93" fmla="*/ 344466 w 501126"/>
              <a:gd name="connsiteY93" fmla="*/ 275573 h 638828"/>
              <a:gd name="connsiteX94" fmla="*/ 353861 w 501126"/>
              <a:gd name="connsiteY94" fmla="*/ 269310 h 638828"/>
              <a:gd name="connsiteX95" fmla="*/ 372650 w 501126"/>
              <a:gd name="connsiteY95" fmla="*/ 278705 h 638828"/>
              <a:gd name="connsiteX96" fmla="*/ 382044 w 501126"/>
              <a:gd name="connsiteY96" fmla="*/ 281836 h 638828"/>
              <a:gd name="connsiteX97" fmla="*/ 384295 w 501126"/>
              <a:gd name="connsiteY97" fmla="*/ 300756 h 638828"/>
              <a:gd name="connsiteX98" fmla="*/ 400833 w 501126"/>
              <a:gd name="connsiteY98" fmla="*/ 294362 h 638828"/>
              <a:gd name="connsiteX99" fmla="*/ 432279 w 501126"/>
              <a:gd name="connsiteY99" fmla="*/ 310150 h 638828"/>
              <a:gd name="connsiteX100" fmla="*/ 454069 w 501126"/>
              <a:gd name="connsiteY100" fmla="*/ 291231 h 638828"/>
              <a:gd name="connsiteX101" fmla="*/ 460332 w 501126"/>
              <a:gd name="connsiteY101" fmla="*/ 281836 h 638828"/>
              <a:gd name="connsiteX102" fmla="*/ 457200 w 501126"/>
              <a:gd name="connsiteY102" fmla="*/ 259915 h 638828"/>
              <a:gd name="connsiteX103" fmla="*/ 454069 w 501126"/>
              <a:gd name="connsiteY103" fmla="*/ 250521 h 638828"/>
              <a:gd name="connsiteX104" fmla="*/ 435280 w 501126"/>
              <a:gd name="connsiteY104" fmla="*/ 231732 h 638828"/>
              <a:gd name="connsiteX105" fmla="*/ 438411 w 501126"/>
              <a:gd name="connsiteY105" fmla="*/ 212943 h 638828"/>
              <a:gd name="connsiteX106" fmla="*/ 457200 w 501126"/>
              <a:gd name="connsiteY106" fmla="*/ 206680 h 638828"/>
              <a:gd name="connsiteX107" fmla="*/ 466595 w 501126"/>
              <a:gd name="connsiteY107" fmla="*/ 203548 h 638828"/>
              <a:gd name="connsiteX108" fmla="*/ 501041 w 501126"/>
              <a:gd name="connsiteY108" fmla="*/ 184759 h 638828"/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62839 w 501126"/>
              <a:gd name="connsiteY24" fmla="*/ 231732 h 638828"/>
              <a:gd name="connsiteX25" fmla="*/ 150313 w 501126"/>
              <a:gd name="connsiteY25" fmla="*/ 250521 h 638828"/>
              <a:gd name="connsiteX26" fmla="*/ 144050 w 501126"/>
              <a:gd name="connsiteY26" fmla="*/ 263047 h 638828"/>
              <a:gd name="connsiteX27" fmla="*/ 131524 w 501126"/>
              <a:gd name="connsiteY27" fmla="*/ 281836 h 638828"/>
              <a:gd name="connsiteX28" fmla="*/ 128392 w 501126"/>
              <a:gd name="connsiteY28" fmla="*/ 291231 h 638828"/>
              <a:gd name="connsiteX29" fmla="*/ 118998 w 501126"/>
              <a:gd name="connsiteY29" fmla="*/ 300625 h 638828"/>
              <a:gd name="connsiteX30" fmla="*/ 106472 w 501126"/>
              <a:gd name="connsiteY30" fmla="*/ 319414 h 638828"/>
              <a:gd name="connsiteX31" fmla="*/ 97077 w 501126"/>
              <a:gd name="connsiteY31" fmla="*/ 328809 h 638828"/>
              <a:gd name="connsiteX32" fmla="*/ 84551 w 501126"/>
              <a:gd name="connsiteY32" fmla="*/ 347598 h 638828"/>
              <a:gd name="connsiteX33" fmla="*/ 78288 w 501126"/>
              <a:gd name="connsiteY33" fmla="*/ 356992 h 638828"/>
              <a:gd name="connsiteX34" fmla="*/ 65762 w 501126"/>
              <a:gd name="connsiteY34" fmla="*/ 366387 h 638828"/>
              <a:gd name="connsiteX35" fmla="*/ 37578 w 501126"/>
              <a:gd name="connsiteY35" fmla="*/ 388307 h 638828"/>
              <a:gd name="connsiteX36" fmla="*/ 28184 w 501126"/>
              <a:gd name="connsiteY36" fmla="*/ 394570 h 638828"/>
              <a:gd name="connsiteX37" fmla="*/ 18789 w 501126"/>
              <a:gd name="connsiteY37" fmla="*/ 397702 h 638828"/>
              <a:gd name="connsiteX38" fmla="*/ 0 w 501126"/>
              <a:gd name="connsiteY38" fmla="*/ 410228 h 638828"/>
              <a:gd name="connsiteX39" fmla="*/ 9395 w 501126"/>
              <a:gd name="connsiteY39" fmla="*/ 413359 h 638828"/>
              <a:gd name="connsiteX40" fmla="*/ 21921 w 501126"/>
              <a:gd name="connsiteY40" fmla="*/ 416491 h 638828"/>
              <a:gd name="connsiteX41" fmla="*/ 31315 w 501126"/>
              <a:gd name="connsiteY41" fmla="*/ 422754 h 638828"/>
              <a:gd name="connsiteX42" fmla="*/ 34447 w 501126"/>
              <a:gd name="connsiteY42" fmla="*/ 479121 h 638828"/>
              <a:gd name="connsiteX43" fmla="*/ 37578 w 501126"/>
              <a:gd name="connsiteY43" fmla="*/ 488515 h 638828"/>
              <a:gd name="connsiteX44" fmla="*/ 46973 w 501126"/>
              <a:gd name="connsiteY44" fmla="*/ 491647 h 638828"/>
              <a:gd name="connsiteX45" fmla="*/ 75157 w 501126"/>
              <a:gd name="connsiteY45" fmla="*/ 491647 h 638828"/>
              <a:gd name="connsiteX46" fmla="*/ 78288 w 501126"/>
              <a:gd name="connsiteY46" fmla="*/ 501042 h 638828"/>
              <a:gd name="connsiteX47" fmla="*/ 87683 w 501126"/>
              <a:gd name="connsiteY47" fmla="*/ 504173 h 638828"/>
              <a:gd name="connsiteX48" fmla="*/ 112735 w 501126"/>
              <a:gd name="connsiteY48" fmla="*/ 507305 h 638828"/>
              <a:gd name="connsiteX49" fmla="*/ 93946 w 501126"/>
              <a:gd name="connsiteY49" fmla="*/ 522962 h 638828"/>
              <a:gd name="connsiteX50" fmla="*/ 90814 w 501126"/>
              <a:gd name="connsiteY50" fmla="*/ 532357 h 638828"/>
              <a:gd name="connsiteX51" fmla="*/ 97077 w 501126"/>
              <a:gd name="connsiteY51" fmla="*/ 541751 h 638828"/>
              <a:gd name="connsiteX52" fmla="*/ 103340 w 501126"/>
              <a:gd name="connsiteY52" fmla="*/ 560540 h 638828"/>
              <a:gd name="connsiteX53" fmla="*/ 100209 w 501126"/>
              <a:gd name="connsiteY53" fmla="*/ 573066 h 638828"/>
              <a:gd name="connsiteX54" fmla="*/ 103340 w 501126"/>
              <a:gd name="connsiteY54" fmla="*/ 610644 h 638828"/>
              <a:gd name="connsiteX55" fmla="*/ 112735 w 501126"/>
              <a:gd name="connsiteY55" fmla="*/ 613776 h 638828"/>
              <a:gd name="connsiteX56" fmla="*/ 150313 w 501126"/>
              <a:gd name="connsiteY56" fmla="*/ 616907 h 638828"/>
              <a:gd name="connsiteX57" fmla="*/ 156576 w 501126"/>
              <a:gd name="connsiteY57" fmla="*/ 626302 h 638828"/>
              <a:gd name="connsiteX58" fmla="*/ 175365 w 501126"/>
              <a:gd name="connsiteY58" fmla="*/ 632565 h 638828"/>
              <a:gd name="connsiteX59" fmla="*/ 184759 w 501126"/>
              <a:gd name="connsiteY59" fmla="*/ 638828 h 638828"/>
              <a:gd name="connsiteX60" fmla="*/ 203548 w 501126"/>
              <a:gd name="connsiteY60" fmla="*/ 629433 h 638828"/>
              <a:gd name="connsiteX61" fmla="*/ 209811 w 501126"/>
              <a:gd name="connsiteY61" fmla="*/ 620039 h 638828"/>
              <a:gd name="connsiteX62" fmla="*/ 219206 w 501126"/>
              <a:gd name="connsiteY62" fmla="*/ 610644 h 638828"/>
              <a:gd name="connsiteX63" fmla="*/ 209811 w 501126"/>
              <a:gd name="connsiteY63" fmla="*/ 601250 h 638828"/>
              <a:gd name="connsiteX64" fmla="*/ 209811 w 501126"/>
              <a:gd name="connsiteY64" fmla="*/ 557409 h 638828"/>
              <a:gd name="connsiteX65" fmla="*/ 212943 w 501126"/>
              <a:gd name="connsiteY65" fmla="*/ 544883 h 638828"/>
              <a:gd name="connsiteX66" fmla="*/ 222337 w 501126"/>
              <a:gd name="connsiteY66" fmla="*/ 538620 h 638828"/>
              <a:gd name="connsiteX67" fmla="*/ 250521 w 501126"/>
              <a:gd name="connsiteY67" fmla="*/ 544883 h 638828"/>
              <a:gd name="connsiteX68" fmla="*/ 259915 w 501126"/>
              <a:gd name="connsiteY68" fmla="*/ 548014 h 638828"/>
              <a:gd name="connsiteX69" fmla="*/ 266178 w 501126"/>
              <a:gd name="connsiteY69" fmla="*/ 557409 h 638828"/>
              <a:gd name="connsiteX70" fmla="*/ 259915 w 501126"/>
              <a:gd name="connsiteY70" fmla="*/ 576198 h 638828"/>
              <a:gd name="connsiteX71" fmla="*/ 269310 w 501126"/>
              <a:gd name="connsiteY71" fmla="*/ 579329 h 638828"/>
              <a:gd name="connsiteX72" fmla="*/ 281836 w 501126"/>
              <a:gd name="connsiteY72" fmla="*/ 582461 h 638828"/>
              <a:gd name="connsiteX73" fmla="*/ 284967 w 501126"/>
              <a:gd name="connsiteY73" fmla="*/ 591855 h 638828"/>
              <a:gd name="connsiteX74" fmla="*/ 291231 w 501126"/>
              <a:gd name="connsiteY74" fmla="*/ 601250 h 638828"/>
              <a:gd name="connsiteX75" fmla="*/ 331940 w 501126"/>
              <a:gd name="connsiteY75" fmla="*/ 598118 h 638828"/>
              <a:gd name="connsiteX76" fmla="*/ 366387 w 501126"/>
              <a:gd name="connsiteY76" fmla="*/ 594987 h 638828"/>
              <a:gd name="connsiteX77" fmla="*/ 363255 w 501126"/>
              <a:gd name="connsiteY77" fmla="*/ 573066 h 638828"/>
              <a:gd name="connsiteX78" fmla="*/ 350729 w 501126"/>
              <a:gd name="connsiteY78" fmla="*/ 554277 h 638828"/>
              <a:gd name="connsiteX79" fmla="*/ 353861 w 501126"/>
              <a:gd name="connsiteY79" fmla="*/ 535488 h 638828"/>
              <a:gd name="connsiteX80" fmla="*/ 363255 w 501126"/>
              <a:gd name="connsiteY80" fmla="*/ 526094 h 638828"/>
              <a:gd name="connsiteX81" fmla="*/ 372650 w 501126"/>
              <a:gd name="connsiteY81" fmla="*/ 507305 h 638828"/>
              <a:gd name="connsiteX82" fmla="*/ 375781 w 501126"/>
              <a:gd name="connsiteY82" fmla="*/ 488515 h 638828"/>
              <a:gd name="connsiteX83" fmla="*/ 382044 w 501126"/>
              <a:gd name="connsiteY83" fmla="*/ 469726 h 638828"/>
              <a:gd name="connsiteX84" fmla="*/ 388307 w 501126"/>
              <a:gd name="connsiteY84" fmla="*/ 441543 h 638828"/>
              <a:gd name="connsiteX85" fmla="*/ 385176 w 501126"/>
              <a:gd name="connsiteY85" fmla="*/ 422754 h 638828"/>
              <a:gd name="connsiteX86" fmla="*/ 366387 w 501126"/>
              <a:gd name="connsiteY86" fmla="*/ 410228 h 638828"/>
              <a:gd name="connsiteX87" fmla="*/ 360124 w 501126"/>
              <a:gd name="connsiteY87" fmla="*/ 400833 h 638828"/>
              <a:gd name="connsiteX88" fmla="*/ 360124 w 501126"/>
              <a:gd name="connsiteY88" fmla="*/ 372650 h 638828"/>
              <a:gd name="connsiteX89" fmla="*/ 372650 w 501126"/>
              <a:gd name="connsiteY89" fmla="*/ 353861 h 638828"/>
              <a:gd name="connsiteX90" fmla="*/ 369518 w 501126"/>
              <a:gd name="connsiteY90" fmla="*/ 344466 h 638828"/>
              <a:gd name="connsiteX91" fmla="*/ 350729 w 501126"/>
              <a:gd name="connsiteY91" fmla="*/ 325677 h 638828"/>
              <a:gd name="connsiteX92" fmla="*/ 344466 w 501126"/>
              <a:gd name="connsiteY92" fmla="*/ 316283 h 638828"/>
              <a:gd name="connsiteX93" fmla="*/ 344466 w 501126"/>
              <a:gd name="connsiteY93" fmla="*/ 275573 h 638828"/>
              <a:gd name="connsiteX94" fmla="*/ 353861 w 501126"/>
              <a:gd name="connsiteY94" fmla="*/ 269310 h 638828"/>
              <a:gd name="connsiteX95" fmla="*/ 372650 w 501126"/>
              <a:gd name="connsiteY95" fmla="*/ 278705 h 638828"/>
              <a:gd name="connsiteX96" fmla="*/ 379663 w 501126"/>
              <a:gd name="connsiteY96" fmla="*/ 291361 h 638828"/>
              <a:gd name="connsiteX97" fmla="*/ 384295 w 501126"/>
              <a:gd name="connsiteY97" fmla="*/ 300756 h 638828"/>
              <a:gd name="connsiteX98" fmla="*/ 400833 w 501126"/>
              <a:gd name="connsiteY98" fmla="*/ 294362 h 638828"/>
              <a:gd name="connsiteX99" fmla="*/ 432279 w 501126"/>
              <a:gd name="connsiteY99" fmla="*/ 310150 h 638828"/>
              <a:gd name="connsiteX100" fmla="*/ 454069 w 501126"/>
              <a:gd name="connsiteY100" fmla="*/ 291231 h 638828"/>
              <a:gd name="connsiteX101" fmla="*/ 460332 w 501126"/>
              <a:gd name="connsiteY101" fmla="*/ 281836 h 638828"/>
              <a:gd name="connsiteX102" fmla="*/ 457200 w 501126"/>
              <a:gd name="connsiteY102" fmla="*/ 259915 h 638828"/>
              <a:gd name="connsiteX103" fmla="*/ 454069 w 501126"/>
              <a:gd name="connsiteY103" fmla="*/ 250521 h 638828"/>
              <a:gd name="connsiteX104" fmla="*/ 435280 w 501126"/>
              <a:gd name="connsiteY104" fmla="*/ 231732 h 638828"/>
              <a:gd name="connsiteX105" fmla="*/ 438411 w 501126"/>
              <a:gd name="connsiteY105" fmla="*/ 212943 h 638828"/>
              <a:gd name="connsiteX106" fmla="*/ 457200 w 501126"/>
              <a:gd name="connsiteY106" fmla="*/ 206680 h 638828"/>
              <a:gd name="connsiteX107" fmla="*/ 466595 w 501126"/>
              <a:gd name="connsiteY107" fmla="*/ 203548 h 638828"/>
              <a:gd name="connsiteX108" fmla="*/ 501041 w 501126"/>
              <a:gd name="connsiteY108" fmla="*/ 184759 h 638828"/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62839 w 501126"/>
              <a:gd name="connsiteY24" fmla="*/ 231732 h 638828"/>
              <a:gd name="connsiteX25" fmla="*/ 150313 w 501126"/>
              <a:gd name="connsiteY25" fmla="*/ 250521 h 638828"/>
              <a:gd name="connsiteX26" fmla="*/ 144050 w 501126"/>
              <a:gd name="connsiteY26" fmla="*/ 263047 h 638828"/>
              <a:gd name="connsiteX27" fmla="*/ 131524 w 501126"/>
              <a:gd name="connsiteY27" fmla="*/ 281836 h 638828"/>
              <a:gd name="connsiteX28" fmla="*/ 128392 w 501126"/>
              <a:gd name="connsiteY28" fmla="*/ 291231 h 638828"/>
              <a:gd name="connsiteX29" fmla="*/ 118998 w 501126"/>
              <a:gd name="connsiteY29" fmla="*/ 300625 h 638828"/>
              <a:gd name="connsiteX30" fmla="*/ 106472 w 501126"/>
              <a:gd name="connsiteY30" fmla="*/ 319414 h 638828"/>
              <a:gd name="connsiteX31" fmla="*/ 97077 w 501126"/>
              <a:gd name="connsiteY31" fmla="*/ 328809 h 638828"/>
              <a:gd name="connsiteX32" fmla="*/ 84551 w 501126"/>
              <a:gd name="connsiteY32" fmla="*/ 347598 h 638828"/>
              <a:gd name="connsiteX33" fmla="*/ 78288 w 501126"/>
              <a:gd name="connsiteY33" fmla="*/ 356992 h 638828"/>
              <a:gd name="connsiteX34" fmla="*/ 65762 w 501126"/>
              <a:gd name="connsiteY34" fmla="*/ 366387 h 638828"/>
              <a:gd name="connsiteX35" fmla="*/ 37578 w 501126"/>
              <a:gd name="connsiteY35" fmla="*/ 388307 h 638828"/>
              <a:gd name="connsiteX36" fmla="*/ 28184 w 501126"/>
              <a:gd name="connsiteY36" fmla="*/ 394570 h 638828"/>
              <a:gd name="connsiteX37" fmla="*/ 18789 w 501126"/>
              <a:gd name="connsiteY37" fmla="*/ 397702 h 638828"/>
              <a:gd name="connsiteX38" fmla="*/ 0 w 501126"/>
              <a:gd name="connsiteY38" fmla="*/ 410228 h 638828"/>
              <a:gd name="connsiteX39" fmla="*/ 9395 w 501126"/>
              <a:gd name="connsiteY39" fmla="*/ 413359 h 638828"/>
              <a:gd name="connsiteX40" fmla="*/ 21921 w 501126"/>
              <a:gd name="connsiteY40" fmla="*/ 416491 h 638828"/>
              <a:gd name="connsiteX41" fmla="*/ 31315 w 501126"/>
              <a:gd name="connsiteY41" fmla="*/ 422754 h 638828"/>
              <a:gd name="connsiteX42" fmla="*/ 34447 w 501126"/>
              <a:gd name="connsiteY42" fmla="*/ 479121 h 638828"/>
              <a:gd name="connsiteX43" fmla="*/ 37578 w 501126"/>
              <a:gd name="connsiteY43" fmla="*/ 488515 h 638828"/>
              <a:gd name="connsiteX44" fmla="*/ 46973 w 501126"/>
              <a:gd name="connsiteY44" fmla="*/ 491647 h 638828"/>
              <a:gd name="connsiteX45" fmla="*/ 75157 w 501126"/>
              <a:gd name="connsiteY45" fmla="*/ 491647 h 638828"/>
              <a:gd name="connsiteX46" fmla="*/ 78288 w 501126"/>
              <a:gd name="connsiteY46" fmla="*/ 501042 h 638828"/>
              <a:gd name="connsiteX47" fmla="*/ 87683 w 501126"/>
              <a:gd name="connsiteY47" fmla="*/ 504173 h 638828"/>
              <a:gd name="connsiteX48" fmla="*/ 112735 w 501126"/>
              <a:gd name="connsiteY48" fmla="*/ 507305 h 638828"/>
              <a:gd name="connsiteX49" fmla="*/ 93946 w 501126"/>
              <a:gd name="connsiteY49" fmla="*/ 522962 h 638828"/>
              <a:gd name="connsiteX50" fmla="*/ 90814 w 501126"/>
              <a:gd name="connsiteY50" fmla="*/ 532357 h 638828"/>
              <a:gd name="connsiteX51" fmla="*/ 97077 w 501126"/>
              <a:gd name="connsiteY51" fmla="*/ 541751 h 638828"/>
              <a:gd name="connsiteX52" fmla="*/ 103340 w 501126"/>
              <a:gd name="connsiteY52" fmla="*/ 560540 h 638828"/>
              <a:gd name="connsiteX53" fmla="*/ 100209 w 501126"/>
              <a:gd name="connsiteY53" fmla="*/ 573066 h 638828"/>
              <a:gd name="connsiteX54" fmla="*/ 103340 w 501126"/>
              <a:gd name="connsiteY54" fmla="*/ 610644 h 638828"/>
              <a:gd name="connsiteX55" fmla="*/ 112735 w 501126"/>
              <a:gd name="connsiteY55" fmla="*/ 613776 h 638828"/>
              <a:gd name="connsiteX56" fmla="*/ 150313 w 501126"/>
              <a:gd name="connsiteY56" fmla="*/ 616907 h 638828"/>
              <a:gd name="connsiteX57" fmla="*/ 156576 w 501126"/>
              <a:gd name="connsiteY57" fmla="*/ 626302 h 638828"/>
              <a:gd name="connsiteX58" fmla="*/ 175365 w 501126"/>
              <a:gd name="connsiteY58" fmla="*/ 632565 h 638828"/>
              <a:gd name="connsiteX59" fmla="*/ 184759 w 501126"/>
              <a:gd name="connsiteY59" fmla="*/ 638828 h 638828"/>
              <a:gd name="connsiteX60" fmla="*/ 203548 w 501126"/>
              <a:gd name="connsiteY60" fmla="*/ 629433 h 638828"/>
              <a:gd name="connsiteX61" fmla="*/ 209811 w 501126"/>
              <a:gd name="connsiteY61" fmla="*/ 620039 h 638828"/>
              <a:gd name="connsiteX62" fmla="*/ 219206 w 501126"/>
              <a:gd name="connsiteY62" fmla="*/ 610644 h 638828"/>
              <a:gd name="connsiteX63" fmla="*/ 209811 w 501126"/>
              <a:gd name="connsiteY63" fmla="*/ 601250 h 638828"/>
              <a:gd name="connsiteX64" fmla="*/ 209811 w 501126"/>
              <a:gd name="connsiteY64" fmla="*/ 557409 h 638828"/>
              <a:gd name="connsiteX65" fmla="*/ 212943 w 501126"/>
              <a:gd name="connsiteY65" fmla="*/ 544883 h 638828"/>
              <a:gd name="connsiteX66" fmla="*/ 222337 w 501126"/>
              <a:gd name="connsiteY66" fmla="*/ 538620 h 638828"/>
              <a:gd name="connsiteX67" fmla="*/ 250521 w 501126"/>
              <a:gd name="connsiteY67" fmla="*/ 544883 h 638828"/>
              <a:gd name="connsiteX68" fmla="*/ 259915 w 501126"/>
              <a:gd name="connsiteY68" fmla="*/ 548014 h 638828"/>
              <a:gd name="connsiteX69" fmla="*/ 266178 w 501126"/>
              <a:gd name="connsiteY69" fmla="*/ 557409 h 638828"/>
              <a:gd name="connsiteX70" fmla="*/ 259915 w 501126"/>
              <a:gd name="connsiteY70" fmla="*/ 576198 h 638828"/>
              <a:gd name="connsiteX71" fmla="*/ 269310 w 501126"/>
              <a:gd name="connsiteY71" fmla="*/ 579329 h 638828"/>
              <a:gd name="connsiteX72" fmla="*/ 281836 w 501126"/>
              <a:gd name="connsiteY72" fmla="*/ 582461 h 638828"/>
              <a:gd name="connsiteX73" fmla="*/ 284967 w 501126"/>
              <a:gd name="connsiteY73" fmla="*/ 591855 h 638828"/>
              <a:gd name="connsiteX74" fmla="*/ 291231 w 501126"/>
              <a:gd name="connsiteY74" fmla="*/ 601250 h 638828"/>
              <a:gd name="connsiteX75" fmla="*/ 331940 w 501126"/>
              <a:gd name="connsiteY75" fmla="*/ 598118 h 638828"/>
              <a:gd name="connsiteX76" fmla="*/ 366387 w 501126"/>
              <a:gd name="connsiteY76" fmla="*/ 594987 h 638828"/>
              <a:gd name="connsiteX77" fmla="*/ 363255 w 501126"/>
              <a:gd name="connsiteY77" fmla="*/ 573066 h 638828"/>
              <a:gd name="connsiteX78" fmla="*/ 350729 w 501126"/>
              <a:gd name="connsiteY78" fmla="*/ 554277 h 638828"/>
              <a:gd name="connsiteX79" fmla="*/ 353861 w 501126"/>
              <a:gd name="connsiteY79" fmla="*/ 535488 h 638828"/>
              <a:gd name="connsiteX80" fmla="*/ 363255 w 501126"/>
              <a:gd name="connsiteY80" fmla="*/ 526094 h 638828"/>
              <a:gd name="connsiteX81" fmla="*/ 372650 w 501126"/>
              <a:gd name="connsiteY81" fmla="*/ 507305 h 638828"/>
              <a:gd name="connsiteX82" fmla="*/ 375781 w 501126"/>
              <a:gd name="connsiteY82" fmla="*/ 488515 h 638828"/>
              <a:gd name="connsiteX83" fmla="*/ 382044 w 501126"/>
              <a:gd name="connsiteY83" fmla="*/ 469726 h 638828"/>
              <a:gd name="connsiteX84" fmla="*/ 388307 w 501126"/>
              <a:gd name="connsiteY84" fmla="*/ 441543 h 638828"/>
              <a:gd name="connsiteX85" fmla="*/ 385176 w 501126"/>
              <a:gd name="connsiteY85" fmla="*/ 422754 h 638828"/>
              <a:gd name="connsiteX86" fmla="*/ 366387 w 501126"/>
              <a:gd name="connsiteY86" fmla="*/ 410228 h 638828"/>
              <a:gd name="connsiteX87" fmla="*/ 360124 w 501126"/>
              <a:gd name="connsiteY87" fmla="*/ 400833 h 638828"/>
              <a:gd name="connsiteX88" fmla="*/ 360124 w 501126"/>
              <a:gd name="connsiteY88" fmla="*/ 372650 h 638828"/>
              <a:gd name="connsiteX89" fmla="*/ 372650 w 501126"/>
              <a:gd name="connsiteY89" fmla="*/ 353861 h 638828"/>
              <a:gd name="connsiteX90" fmla="*/ 369518 w 501126"/>
              <a:gd name="connsiteY90" fmla="*/ 344466 h 638828"/>
              <a:gd name="connsiteX91" fmla="*/ 350729 w 501126"/>
              <a:gd name="connsiteY91" fmla="*/ 325677 h 638828"/>
              <a:gd name="connsiteX92" fmla="*/ 344466 w 501126"/>
              <a:gd name="connsiteY92" fmla="*/ 316283 h 638828"/>
              <a:gd name="connsiteX93" fmla="*/ 344466 w 501126"/>
              <a:gd name="connsiteY93" fmla="*/ 275573 h 638828"/>
              <a:gd name="connsiteX94" fmla="*/ 353861 w 501126"/>
              <a:gd name="connsiteY94" fmla="*/ 269310 h 638828"/>
              <a:gd name="connsiteX95" fmla="*/ 372650 w 501126"/>
              <a:gd name="connsiteY95" fmla="*/ 278705 h 638828"/>
              <a:gd name="connsiteX96" fmla="*/ 379663 w 501126"/>
              <a:gd name="connsiteY96" fmla="*/ 291361 h 638828"/>
              <a:gd name="connsiteX97" fmla="*/ 384295 w 501126"/>
              <a:gd name="connsiteY97" fmla="*/ 300756 h 638828"/>
              <a:gd name="connsiteX98" fmla="*/ 403214 w 501126"/>
              <a:gd name="connsiteY98" fmla="*/ 308650 h 638828"/>
              <a:gd name="connsiteX99" fmla="*/ 432279 w 501126"/>
              <a:gd name="connsiteY99" fmla="*/ 310150 h 638828"/>
              <a:gd name="connsiteX100" fmla="*/ 454069 w 501126"/>
              <a:gd name="connsiteY100" fmla="*/ 291231 h 638828"/>
              <a:gd name="connsiteX101" fmla="*/ 460332 w 501126"/>
              <a:gd name="connsiteY101" fmla="*/ 281836 h 638828"/>
              <a:gd name="connsiteX102" fmla="*/ 457200 w 501126"/>
              <a:gd name="connsiteY102" fmla="*/ 259915 h 638828"/>
              <a:gd name="connsiteX103" fmla="*/ 454069 w 501126"/>
              <a:gd name="connsiteY103" fmla="*/ 250521 h 638828"/>
              <a:gd name="connsiteX104" fmla="*/ 435280 w 501126"/>
              <a:gd name="connsiteY104" fmla="*/ 231732 h 638828"/>
              <a:gd name="connsiteX105" fmla="*/ 438411 w 501126"/>
              <a:gd name="connsiteY105" fmla="*/ 212943 h 638828"/>
              <a:gd name="connsiteX106" fmla="*/ 457200 w 501126"/>
              <a:gd name="connsiteY106" fmla="*/ 206680 h 638828"/>
              <a:gd name="connsiteX107" fmla="*/ 466595 w 501126"/>
              <a:gd name="connsiteY107" fmla="*/ 203548 h 638828"/>
              <a:gd name="connsiteX108" fmla="*/ 501041 w 501126"/>
              <a:gd name="connsiteY108" fmla="*/ 184759 h 638828"/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62839 w 501126"/>
              <a:gd name="connsiteY24" fmla="*/ 231732 h 638828"/>
              <a:gd name="connsiteX25" fmla="*/ 150313 w 501126"/>
              <a:gd name="connsiteY25" fmla="*/ 250521 h 638828"/>
              <a:gd name="connsiteX26" fmla="*/ 144050 w 501126"/>
              <a:gd name="connsiteY26" fmla="*/ 263047 h 638828"/>
              <a:gd name="connsiteX27" fmla="*/ 131524 w 501126"/>
              <a:gd name="connsiteY27" fmla="*/ 281836 h 638828"/>
              <a:gd name="connsiteX28" fmla="*/ 128392 w 501126"/>
              <a:gd name="connsiteY28" fmla="*/ 291231 h 638828"/>
              <a:gd name="connsiteX29" fmla="*/ 118998 w 501126"/>
              <a:gd name="connsiteY29" fmla="*/ 300625 h 638828"/>
              <a:gd name="connsiteX30" fmla="*/ 106472 w 501126"/>
              <a:gd name="connsiteY30" fmla="*/ 319414 h 638828"/>
              <a:gd name="connsiteX31" fmla="*/ 97077 w 501126"/>
              <a:gd name="connsiteY31" fmla="*/ 328809 h 638828"/>
              <a:gd name="connsiteX32" fmla="*/ 84551 w 501126"/>
              <a:gd name="connsiteY32" fmla="*/ 347598 h 638828"/>
              <a:gd name="connsiteX33" fmla="*/ 78288 w 501126"/>
              <a:gd name="connsiteY33" fmla="*/ 356992 h 638828"/>
              <a:gd name="connsiteX34" fmla="*/ 65762 w 501126"/>
              <a:gd name="connsiteY34" fmla="*/ 366387 h 638828"/>
              <a:gd name="connsiteX35" fmla="*/ 37578 w 501126"/>
              <a:gd name="connsiteY35" fmla="*/ 388307 h 638828"/>
              <a:gd name="connsiteX36" fmla="*/ 28184 w 501126"/>
              <a:gd name="connsiteY36" fmla="*/ 394570 h 638828"/>
              <a:gd name="connsiteX37" fmla="*/ 18789 w 501126"/>
              <a:gd name="connsiteY37" fmla="*/ 397702 h 638828"/>
              <a:gd name="connsiteX38" fmla="*/ 0 w 501126"/>
              <a:gd name="connsiteY38" fmla="*/ 410228 h 638828"/>
              <a:gd name="connsiteX39" fmla="*/ 9395 w 501126"/>
              <a:gd name="connsiteY39" fmla="*/ 413359 h 638828"/>
              <a:gd name="connsiteX40" fmla="*/ 21921 w 501126"/>
              <a:gd name="connsiteY40" fmla="*/ 416491 h 638828"/>
              <a:gd name="connsiteX41" fmla="*/ 31315 w 501126"/>
              <a:gd name="connsiteY41" fmla="*/ 422754 h 638828"/>
              <a:gd name="connsiteX42" fmla="*/ 34447 w 501126"/>
              <a:gd name="connsiteY42" fmla="*/ 479121 h 638828"/>
              <a:gd name="connsiteX43" fmla="*/ 37578 w 501126"/>
              <a:gd name="connsiteY43" fmla="*/ 488515 h 638828"/>
              <a:gd name="connsiteX44" fmla="*/ 46973 w 501126"/>
              <a:gd name="connsiteY44" fmla="*/ 491647 h 638828"/>
              <a:gd name="connsiteX45" fmla="*/ 75157 w 501126"/>
              <a:gd name="connsiteY45" fmla="*/ 491647 h 638828"/>
              <a:gd name="connsiteX46" fmla="*/ 78288 w 501126"/>
              <a:gd name="connsiteY46" fmla="*/ 501042 h 638828"/>
              <a:gd name="connsiteX47" fmla="*/ 87683 w 501126"/>
              <a:gd name="connsiteY47" fmla="*/ 504173 h 638828"/>
              <a:gd name="connsiteX48" fmla="*/ 112735 w 501126"/>
              <a:gd name="connsiteY48" fmla="*/ 507305 h 638828"/>
              <a:gd name="connsiteX49" fmla="*/ 93946 w 501126"/>
              <a:gd name="connsiteY49" fmla="*/ 522962 h 638828"/>
              <a:gd name="connsiteX50" fmla="*/ 90814 w 501126"/>
              <a:gd name="connsiteY50" fmla="*/ 532357 h 638828"/>
              <a:gd name="connsiteX51" fmla="*/ 97077 w 501126"/>
              <a:gd name="connsiteY51" fmla="*/ 541751 h 638828"/>
              <a:gd name="connsiteX52" fmla="*/ 103340 w 501126"/>
              <a:gd name="connsiteY52" fmla="*/ 560540 h 638828"/>
              <a:gd name="connsiteX53" fmla="*/ 100209 w 501126"/>
              <a:gd name="connsiteY53" fmla="*/ 573066 h 638828"/>
              <a:gd name="connsiteX54" fmla="*/ 103340 w 501126"/>
              <a:gd name="connsiteY54" fmla="*/ 610644 h 638828"/>
              <a:gd name="connsiteX55" fmla="*/ 112735 w 501126"/>
              <a:gd name="connsiteY55" fmla="*/ 613776 h 638828"/>
              <a:gd name="connsiteX56" fmla="*/ 150313 w 501126"/>
              <a:gd name="connsiteY56" fmla="*/ 616907 h 638828"/>
              <a:gd name="connsiteX57" fmla="*/ 156576 w 501126"/>
              <a:gd name="connsiteY57" fmla="*/ 626302 h 638828"/>
              <a:gd name="connsiteX58" fmla="*/ 175365 w 501126"/>
              <a:gd name="connsiteY58" fmla="*/ 632565 h 638828"/>
              <a:gd name="connsiteX59" fmla="*/ 184759 w 501126"/>
              <a:gd name="connsiteY59" fmla="*/ 638828 h 638828"/>
              <a:gd name="connsiteX60" fmla="*/ 203548 w 501126"/>
              <a:gd name="connsiteY60" fmla="*/ 629433 h 638828"/>
              <a:gd name="connsiteX61" fmla="*/ 209811 w 501126"/>
              <a:gd name="connsiteY61" fmla="*/ 620039 h 638828"/>
              <a:gd name="connsiteX62" fmla="*/ 219206 w 501126"/>
              <a:gd name="connsiteY62" fmla="*/ 610644 h 638828"/>
              <a:gd name="connsiteX63" fmla="*/ 209811 w 501126"/>
              <a:gd name="connsiteY63" fmla="*/ 601250 h 638828"/>
              <a:gd name="connsiteX64" fmla="*/ 209811 w 501126"/>
              <a:gd name="connsiteY64" fmla="*/ 557409 h 638828"/>
              <a:gd name="connsiteX65" fmla="*/ 212943 w 501126"/>
              <a:gd name="connsiteY65" fmla="*/ 544883 h 638828"/>
              <a:gd name="connsiteX66" fmla="*/ 222337 w 501126"/>
              <a:gd name="connsiteY66" fmla="*/ 538620 h 638828"/>
              <a:gd name="connsiteX67" fmla="*/ 250521 w 501126"/>
              <a:gd name="connsiteY67" fmla="*/ 544883 h 638828"/>
              <a:gd name="connsiteX68" fmla="*/ 259915 w 501126"/>
              <a:gd name="connsiteY68" fmla="*/ 548014 h 638828"/>
              <a:gd name="connsiteX69" fmla="*/ 266178 w 501126"/>
              <a:gd name="connsiteY69" fmla="*/ 557409 h 638828"/>
              <a:gd name="connsiteX70" fmla="*/ 259915 w 501126"/>
              <a:gd name="connsiteY70" fmla="*/ 576198 h 638828"/>
              <a:gd name="connsiteX71" fmla="*/ 269310 w 501126"/>
              <a:gd name="connsiteY71" fmla="*/ 579329 h 638828"/>
              <a:gd name="connsiteX72" fmla="*/ 281836 w 501126"/>
              <a:gd name="connsiteY72" fmla="*/ 582461 h 638828"/>
              <a:gd name="connsiteX73" fmla="*/ 284967 w 501126"/>
              <a:gd name="connsiteY73" fmla="*/ 591855 h 638828"/>
              <a:gd name="connsiteX74" fmla="*/ 291231 w 501126"/>
              <a:gd name="connsiteY74" fmla="*/ 601250 h 638828"/>
              <a:gd name="connsiteX75" fmla="*/ 331940 w 501126"/>
              <a:gd name="connsiteY75" fmla="*/ 598118 h 638828"/>
              <a:gd name="connsiteX76" fmla="*/ 366387 w 501126"/>
              <a:gd name="connsiteY76" fmla="*/ 594987 h 638828"/>
              <a:gd name="connsiteX77" fmla="*/ 363255 w 501126"/>
              <a:gd name="connsiteY77" fmla="*/ 573066 h 638828"/>
              <a:gd name="connsiteX78" fmla="*/ 350729 w 501126"/>
              <a:gd name="connsiteY78" fmla="*/ 554277 h 638828"/>
              <a:gd name="connsiteX79" fmla="*/ 353861 w 501126"/>
              <a:gd name="connsiteY79" fmla="*/ 535488 h 638828"/>
              <a:gd name="connsiteX80" fmla="*/ 363255 w 501126"/>
              <a:gd name="connsiteY80" fmla="*/ 526094 h 638828"/>
              <a:gd name="connsiteX81" fmla="*/ 372650 w 501126"/>
              <a:gd name="connsiteY81" fmla="*/ 507305 h 638828"/>
              <a:gd name="connsiteX82" fmla="*/ 375781 w 501126"/>
              <a:gd name="connsiteY82" fmla="*/ 488515 h 638828"/>
              <a:gd name="connsiteX83" fmla="*/ 382044 w 501126"/>
              <a:gd name="connsiteY83" fmla="*/ 469726 h 638828"/>
              <a:gd name="connsiteX84" fmla="*/ 388307 w 501126"/>
              <a:gd name="connsiteY84" fmla="*/ 441543 h 638828"/>
              <a:gd name="connsiteX85" fmla="*/ 385176 w 501126"/>
              <a:gd name="connsiteY85" fmla="*/ 422754 h 638828"/>
              <a:gd name="connsiteX86" fmla="*/ 366387 w 501126"/>
              <a:gd name="connsiteY86" fmla="*/ 410228 h 638828"/>
              <a:gd name="connsiteX87" fmla="*/ 360124 w 501126"/>
              <a:gd name="connsiteY87" fmla="*/ 400833 h 638828"/>
              <a:gd name="connsiteX88" fmla="*/ 360124 w 501126"/>
              <a:gd name="connsiteY88" fmla="*/ 372650 h 638828"/>
              <a:gd name="connsiteX89" fmla="*/ 372650 w 501126"/>
              <a:gd name="connsiteY89" fmla="*/ 353861 h 638828"/>
              <a:gd name="connsiteX90" fmla="*/ 369518 w 501126"/>
              <a:gd name="connsiteY90" fmla="*/ 344466 h 638828"/>
              <a:gd name="connsiteX91" fmla="*/ 350729 w 501126"/>
              <a:gd name="connsiteY91" fmla="*/ 325677 h 638828"/>
              <a:gd name="connsiteX92" fmla="*/ 344466 w 501126"/>
              <a:gd name="connsiteY92" fmla="*/ 316283 h 638828"/>
              <a:gd name="connsiteX93" fmla="*/ 344466 w 501126"/>
              <a:gd name="connsiteY93" fmla="*/ 275573 h 638828"/>
              <a:gd name="connsiteX94" fmla="*/ 353861 w 501126"/>
              <a:gd name="connsiteY94" fmla="*/ 269310 h 638828"/>
              <a:gd name="connsiteX95" fmla="*/ 372650 w 501126"/>
              <a:gd name="connsiteY95" fmla="*/ 278705 h 638828"/>
              <a:gd name="connsiteX96" fmla="*/ 379663 w 501126"/>
              <a:gd name="connsiteY96" fmla="*/ 291361 h 638828"/>
              <a:gd name="connsiteX97" fmla="*/ 384295 w 501126"/>
              <a:gd name="connsiteY97" fmla="*/ 300756 h 638828"/>
              <a:gd name="connsiteX98" fmla="*/ 403214 w 501126"/>
              <a:gd name="connsiteY98" fmla="*/ 308650 h 638828"/>
              <a:gd name="connsiteX99" fmla="*/ 432279 w 501126"/>
              <a:gd name="connsiteY99" fmla="*/ 310150 h 638828"/>
              <a:gd name="connsiteX100" fmla="*/ 458831 w 501126"/>
              <a:gd name="connsiteY100" fmla="*/ 298374 h 638828"/>
              <a:gd name="connsiteX101" fmla="*/ 460332 w 501126"/>
              <a:gd name="connsiteY101" fmla="*/ 281836 h 638828"/>
              <a:gd name="connsiteX102" fmla="*/ 457200 w 501126"/>
              <a:gd name="connsiteY102" fmla="*/ 259915 h 638828"/>
              <a:gd name="connsiteX103" fmla="*/ 454069 w 501126"/>
              <a:gd name="connsiteY103" fmla="*/ 250521 h 638828"/>
              <a:gd name="connsiteX104" fmla="*/ 435280 w 501126"/>
              <a:gd name="connsiteY104" fmla="*/ 231732 h 638828"/>
              <a:gd name="connsiteX105" fmla="*/ 438411 w 501126"/>
              <a:gd name="connsiteY105" fmla="*/ 212943 h 638828"/>
              <a:gd name="connsiteX106" fmla="*/ 457200 w 501126"/>
              <a:gd name="connsiteY106" fmla="*/ 206680 h 638828"/>
              <a:gd name="connsiteX107" fmla="*/ 466595 w 501126"/>
              <a:gd name="connsiteY107" fmla="*/ 203548 h 638828"/>
              <a:gd name="connsiteX108" fmla="*/ 501041 w 501126"/>
              <a:gd name="connsiteY108" fmla="*/ 184759 h 638828"/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62839 w 501126"/>
              <a:gd name="connsiteY24" fmla="*/ 231732 h 638828"/>
              <a:gd name="connsiteX25" fmla="*/ 150313 w 501126"/>
              <a:gd name="connsiteY25" fmla="*/ 250521 h 638828"/>
              <a:gd name="connsiteX26" fmla="*/ 144050 w 501126"/>
              <a:gd name="connsiteY26" fmla="*/ 263047 h 638828"/>
              <a:gd name="connsiteX27" fmla="*/ 131524 w 501126"/>
              <a:gd name="connsiteY27" fmla="*/ 281836 h 638828"/>
              <a:gd name="connsiteX28" fmla="*/ 128392 w 501126"/>
              <a:gd name="connsiteY28" fmla="*/ 291231 h 638828"/>
              <a:gd name="connsiteX29" fmla="*/ 118998 w 501126"/>
              <a:gd name="connsiteY29" fmla="*/ 300625 h 638828"/>
              <a:gd name="connsiteX30" fmla="*/ 106472 w 501126"/>
              <a:gd name="connsiteY30" fmla="*/ 319414 h 638828"/>
              <a:gd name="connsiteX31" fmla="*/ 97077 w 501126"/>
              <a:gd name="connsiteY31" fmla="*/ 328809 h 638828"/>
              <a:gd name="connsiteX32" fmla="*/ 84551 w 501126"/>
              <a:gd name="connsiteY32" fmla="*/ 347598 h 638828"/>
              <a:gd name="connsiteX33" fmla="*/ 78288 w 501126"/>
              <a:gd name="connsiteY33" fmla="*/ 356992 h 638828"/>
              <a:gd name="connsiteX34" fmla="*/ 65762 w 501126"/>
              <a:gd name="connsiteY34" fmla="*/ 366387 h 638828"/>
              <a:gd name="connsiteX35" fmla="*/ 37578 w 501126"/>
              <a:gd name="connsiteY35" fmla="*/ 388307 h 638828"/>
              <a:gd name="connsiteX36" fmla="*/ 28184 w 501126"/>
              <a:gd name="connsiteY36" fmla="*/ 394570 h 638828"/>
              <a:gd name="connsiteX37" fmla="*/ 18789 w 501126"/>
              <a:gd name="connsiteY37" fmla="*/ 397702 h 638828"/>
              <a:gd name="connsiteX38" fmla="*/ 0 w 501126"/>
              <a:gd name="connsiteY38" fmla="*/ 410228 h 638828"/>
              <a:gd name="connsiteX39" fmla="*/ 9395 w 501126"/>
              <a:gd name="connsiteY39" fmla="*/ 413359 h 638828"/>
              <a:gd name="connsiteX40" fmla="*/ 21921 w 501126"/>
              <a:gd name="connsiteY40" fmla="*/ 416491 h 638828"/>
              <a:gd name="connsiteX41" fmla="*/ 31315 w 501126"/>
              <a:gd name="connsiteY41" fmla="*/ 422754 h 638828"/>
              <a:gd name="connsiteX42" fmla="*/ 34447 w 501126"/>
              <a:gd name="connsiteY42" fmla="*/ 479121 h 638828"/>
              <a:gd name="connsiteX43" fmla="*/ 37578 w 501126"/>
              <a:gd name="connsiteY43" fmla="*/ 488515 h 638828"/>
              <a:gd name="connsiteX44" fmla="*/ 46973 w 501126"/>
              <a:gd name="connsiteY44" fmla="*/ 491647 h 638828"/>
              <a:gd name="connsiteX45" fmla="*/ 75157 w 501126"/>
              <a:gd name="connsiteY45" fmla="*/ 491647 h 638828"/>
              <a:gd name="connsiteX46" fmla="*/ 78288 w 501126"/>
              <a:gd name="connsiteY46" fmla="*/ 501042 h 638828"/>
              <a:gd name="connsiteX47" fmla="*/ 87683 w 501126"/>
              <a:gd name="connsiteY47" fmla="*/ 504173 h 638828"/>
              <a:gd name="connsiteX48" fmla="*/ 112735 w 501126"/>
              <a:gd name="connsiteY48" fmla="*/ 507305 h 638828"/>
              <a:gd name="connsiteX49" fmla="*/ 93946 w 501126"/>
              <a:gd name="connsiteY49" fmla="*/ 522962 h 638828"/>
              <a:gd name="connsiteX50" fmla="*/ 90814 w 501126"/>
              <a:gd name="connsiteY50" fmla="*/ 532357 h 638828"/>
              <a:gd name="connsiteX51" fmla="*/ 97077 w 501126"/>
              <a:gd name="connsiteY51" fmla="*/ 541751 h 638828"/>
              <a:gd name="connsiteX52" fmla="*/ 103340 w 501126"/>
              <a:gd name="connsiteY52" fmla="*/ 560540 h 638828"/>
              <a:gd name="connsiteX53" fmla="*/ 100209 w 501126"/>
              <a:gd name="connsiteY53" fmla="*/ 573066 h 638828"/>
              <a:gd name="connsiteX54" fmla="*/ 103340 w 501126"/>
              <a:gd name="connsiteY54" fmla="*/ 610644 h 638828"/>
              <a:gd name="connsiteX55" fmla="*/ 112735 w 501126"/>
              <a:gd name="connsiteY55" fmla="*/ 613776 h 638828"/>
              <a:gd name="connsiteX56" fmla="*/ 150313 w 501126"/>
              <a:gd name="connsiteY56" fmla="*/ 616907 h 638828"/>
              <a:gd name="connsiteX57" fmla="*/ 156576 w 501126"/>
              <a:gd name="connsiteY57" fmla="*/ 626302 h 638828"/>
              <a:gd name="connsiteX58" fmla="*/ 175365 w 501126"/>
              <a:gd name="connsiteY58" fmla="*/ 632565 h 638828"/>
              <a:gd name="connsiteX59" fmla="*/ 184759 w 501126"/>
              <a:gd name="connsiteY59" fmla="*/ 638828 h 638828"/>
              <a:gd name="connsiteX60" fmla="*/ 203548 w 501126"/>
              <a:gd name="connsiteY60" fmla="*/ 629433 h 638828"/>
              <a:gd name="connsiteX61" fmla="*/ 209811 w 501126"/>
              <a:gd name="connsiteY61" fmla="*/ 620039 h 638828"/>
              <a:gd name="connsiteX62" fmla="*/ 219206 w 501126"/>
              <a:gd name="connsiteY62" fmla="*/ 610644 h 638828"/>
              <a:gd name="connsiteX63" fmla="*/ 209811 w 501126"/>
              <a:gd name="connsiteY63" fmla="*/ 601250 h 638828"/>
              <a:gd name="connsiteX64" fmla="*/ 209811 w 501126"/>
              <a:gd name="connsiteY64" fmla="*/ 557409 h 638828"/>
              <a:gd name="connsiteX65" fmla="*/ 212943 w 501126"/>
              <a:gd name="connsiteY65" fmla="*/ 544883 h 638828"/>
              <a:gd name="connsiteX66" fmla="*/ 222337 w 501126"/>
              <a:gd name="connsiteY66" fmla="*/ 538620 h 638828"/>
              <a:gd name="connsiteX67" fmla="*/ 250521 w 501126"/>
              <a:gd name="connsiteY67" fmla="*/ 544883 h 638828"/>
              <a:gd name="connsiteX68" fmla="*/ 259915 w 501126"/>
              <a:gd name="connsiteY68" fmla="*/ 548014 h 638828"/>
              <a:gd name="connsiteX69" fmla="*/ 266178 w 501126"/>
              <a:gd name="connsiteY69" fmla="*/ 557409 h 638828"/>
              <a:gd name="connsiteX70" fmla="*/ 259915 w 501126"/>
              <a:gd name="connsiteY70" fmla="*/ 576198 h 638828"/>
              <a:gd name="connsiteX71" fmla="*/ 269310 w 501126"/>
              <a:gd name="connsiteY71" fmla="*/ 579329 h 638828"/>
              <a:gd name="connsiteX72" fmla="*/ 281836 w 501126"/>
              <a:gd name="connsiteY72" fmla="*/ 582461 h 638828"/>
              <a:gd name="connsiteX73" fmla="*/ 284967 w 501126"/>
              <a:gd name="connsiteY73" fmla="*/ 591855 h 638828"/>
              <a:gd name="connsiteX74" fmla="*/ 291231 w 501126"/>
              <a:gd name="connsiteY74" fmla="*/ 601250 h 638828"/>
              <a:gd name="connsiteX75" fmla="*/ 331940 w 501126"/>
              <a:gd name="connsiteY75" fmla="*/ 598118 h 638828"/>
              <a:gd name="connsiteX76" fmla="*/ 366387 w 501126"/>
              <a:gd name="connsiteY76" fmla="*/ 594987 h 638828"/>
              <a:gd name="connsiteX77" fmla="*/ 363255 w 501126"/>
              <a:gd name="connsiteY77" fmla="*/ 573066 h 638828"/>
              <a:gd name="connsiteX78" fmla="*/ 350729 w 501126"/>
              <a:gd name="connsiteY78" fmla="*/ 554277 h 638828"/>
              <a:gd name="connsiteX79" fmla="*/ 353861 w 501126"/>
              <a:gd name="connsiteY79" fmla="*/ 535488 h 638828"/>
              <a:gd name="connsiteX80" fmla="*/ 363255 w 501126"/>
              <a:gd name="connsiteY80" fmla="*/ 526094 h 638828"/>
              <a:gd name="connsiteX81" fmla="*/ 372650 w 501126"/>
              <a:gd name="connsiteY81" fmla="*/ 507305 h 638828"/>
              <a:gd name="connsiteX82" fmla="*/ 375781 w 501126"/>
              <a:gd name="connsiteY82" fmla="*/ 488515 h 638828"/>
              <a:gd name="connsiteX83" fmla="*/ 382044 w 501126"/>
              <a:gd name="connsiteY83" fmla="*/ 469726 h 638828"/>
              <a:gd name="connsiteX84" fmla="*/ 388307 w 501126"/>
              <a:gd name="connsiteY84" fmla="*/ 441543 h 638828"/>
              <a:gd name="connsiteX85" fmla="*/ 385176 w 501126"/>
              <a:gd name="connsiteY85" fmla="*/ 422754 h 638828"/>
              <a:gd name="connsiteX86" fmla="*/ 366387 w 501126"/>
              <a:gd name="connsiteY86" fmla="*/ 410228 h 638828"/>
              <a:gd name="connsiteX87" fmla="*/ 360124 w 501126"/>
              <a:gd name="connsiteY87" fmla="*/ 400833 h 638828"/>
              <a:gd name="connsiteX88" fmla="*/ 369649 w 501126"/>
              <a:gd name="connsiteY88" fmla="*/ 372650 h 638828"/>
              <a:gd name="connsiteX89" fmla="*/ 372650 w 501126"/>
              <a:gd name="connsiteY89" fmla="*/ 353861 h 638828"/>
              <a:gd name="connsiteX90" fmla="*/ 369518 w 501126"/>
              <a:gd name="connsiteY90" fmla="*/ 344466 h 638828"/>
              <a:gd name="connsiteX91" fmla="*/ 350729 w 501126"/>
              <a:gd name="connsiteY91" fmla="*/ 325677 h 638828"/>
              <a:gd name="connsiteX92" fmla="*/ 344466 w 501126"/>
              <a:gd name="connsiteY92" fmla="*/ 316283 h 638828"/>
              <a:gd name="connsiteX93" fmla="*/ 344466 w 501126"/>
              <a:gd name="connsiteY93" fmla="*/ 275573 h 638828"/>
              <a:gd name="connsiteX94" fmla="*/ 353861 w 501126"/>
              <a:gd name="connsiteY94" fmla="*/ 269310 h 638828"/>
              <a:gd name="connsiteX95" fmla="*/ 372650 w 501126"/>
              <a:gd name="connsiteY95" fmla="*/ 278705 h 638828"/>
              <a:gd name="connsiteX96" fmla="*/ 379663 w 501126"/>
              <a:gd name="connsiteY96" fmla="*/ 291361 h 638828"/>
              <a:gd name="connsiteX97" fmla="*/ 384295 w 501126"/>
              <a:gd name="connsiteY97" fmla="*/ 300756 h 638828"/>
              <a:gd name="connsiteX98" fmla="*/ 403214 w 501126"/>
              <a:gd name="connsiteY98" fmla="*/ 308650 h 638828"/>
              <a:gd name="connsiteX99" fmla="*/ 432279 w 501126"/>
              <a:gd name="connsiteY99" fmla="*/ 310150 h 638828"/>
              <a:gd name="connsiteX100" fmla="*/ 458831 w 501126"/>
              <a:gd name="connsiteY100" fmla="*/ 298374 h 638828"/>
              <a:gd name="connsiteX101" fmla="*/ 460332 w 501126"/>
              <a:gd name="connsiteY101" fmla="*/ 281836 h 638828"/>
              <a:gd name="connsiteX102" fmla="*/ 457200 w 501126"/>
              <a:gd name="connsiteY102" fmla="*/ 259915 h 638828"/>
              <a:gd name="connsiteX103" fmla="*/ 454069 w 501126"/>
              <a:gd name="connsiteY103" fmla="*/ 250521 h 638828"/>
              <a:gd name="connsiteX104" fmla="*/ 435280 w 501126"/>
              <a:gd name="connsiteY104" fmla="*/ 231732 h 638828"/>
              <a:gd name="connsiteX105" fmla="*/ 438411 w 501126"/>
              <a:gd name="connsiteY105" fmla="*/ 212943 h 638828"/>
              <a:gd name="connsiteX106" fmla="*/ 457200 w 501126"/>
              <a:gd name="connsiteY106" fmla="*/ 206680 h 638828"/>
              <a:gd name="connsiteX107" fmla="*/ 466595 w 501126"/>
              <a:gd name="connsiteY107" fmla="*/ 203548 h 638828"/>
              <a:gd name="connsiteX108" fmla="*/ 501041 w 501126"/>
              <a:gd name="connsiteY108" fmla="*/ 184759 h 638828"/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62839 w 501126"/>
              <a:gd name="connsiteY24" fmla="*/ 231732 h 638828"/>
              <a:gd name="connsiteX25" fmla="*/ 150313 w 501126"/>
              <a:gd name="connsiteY25" fmla="*/ 250521 h 638828"/>
              <a:gd name="connsiteX26" fmla="*/ 144050 w 501126"/>
              <a:gd name="connsiteY26" fmla="*/ 263047 h 638828"/>
              <a:gd name="connsiteX27" fmla="*/ 131524 w 501126"/>
              <a:gd name="connsiteY27" fmla="*/ 281836 h 638828"/>
              <a:gd name="connsiteX28" fmla="*/ 128392 w 501126"/>
              <a:gd name="connsiteY28" fmla="*/ 291231 h 638828"/>
              <a:gd name="connsiteX29" fmla="*/ 118998 w 501126"/>
              <a:gd name="connsiteY29" fmla="*/ 300625 h 638828"/>
              <a:gd name="connsiteX30" fmla="*/ 106472 w 501126"/>
              <a:gd name="connsiteY30" fmla="*/ 319414 h 638828"/>
              <a:gd name="connsiteX31" fmla="*/ 97077 w 501126"/>
              <a:gd name="connsiteY31" fmla="*/ 328809 h 638828"/>
              <a:gd name="connsiteX32" fmla="*/ 84551 w 501126"/>
              <a:gd name="connsiteY32" fmla="*/ 347598 h 638828"/>
              <a:gd name="connsiteX33" fmla="*/ 78288 w 501126"/>
              <a:gd name="connsiteY33" fmla="*/ 356992 h 638828"/>
              <a:gd name="connsiteX34" fmla="*/ 65762 w 501126"/>
              <a:gd name="connsiteY34" fmla="*/ 366387 h 638828"/>
              <a:gd name="connsiteX35" fmla="*/ 37578 w 501126"/>
              <a:gd name="connsiteY35" fmla="*/ 388307 h 638828"/>
              <a:gd name="connsiteX36" fmla="*/ 28184 w 501126"/>
              <a:gd name="connsiteY36" fmla="*/ 394570 h 638828"/>
              <a:gd name="connsiteX37" fmla="*/ 18789 w 501126"/>
              <a:gd name="connsiteY37" fmla="*/ 397702 h 638828"/>
              <a:gd name="connsiteX38" fmla="*/ 0 w 501126"/>
              <a:gd name="connsiteY38" fmla="*/ 410228 h 638828"/>
              <a:gd name="connsiteX39" fmla="*/ 9395 w 501126"/>
              <a:gd name="connsiteY39" fmla="*/ 413359 h 638828"/>
              <a:gd name="connsiteX40" fmla="*/ 21921 w 501126"/>
              <a:gd name="connsiteY40" fmla="*/ 416491 h 638828"/>
              <a:gd name="connsiteX41" fmla="*/ 31315 w 501126"/>
              <a:gd name="connsiteY41" fmla="*/ 422754 h 638828"/>
              <a:gd name="connsiteX42" fmla="*/ 34447 w 501126"/>
              <a:gd name="connsiteY42" fmla="*/ 479121 h 638828"/>
              <a:gd name="connsiteX43" fmla="*/ 37578 w 501126"/>
              <a:gd name="connsiteY43" fmla="*/ 488515 h 638828"/>
              <a:gd name="connsiteX44" fmla="*/ 46973 w 501126"/>
              <a:gd name="connsiteY44" fmla="*/ 491647 h 638828"/>
              <a:gd name="connsiteX45" fmla="*/ 75157 w 501126"/>
              <a:gd name="connsiteY45" fmla="*/ 491647 h 638828"/>
              <a:gd name="connsiteX46" fmla="*/ 78288 w 501126"/>
              <a:gd name="connsiteY46" fmla="*/ 501042 h 638828"/>
              <a:gd name="connsiteX47" fmla="*/ 87683 w 501126"/>
              <a:gd name="connsiteY47" fmla="*/ 504173 h 638828"/>
              <a:gd name="connsiteX48" fmla="*/ 112735 w 501126"/>
              <a:gd name="connsiteY48" fmla="*/ 507305 h 638828"/>
              <a:gd name="connsiteX49" fmla="*/ 93946 w 501126"/>
              <a:gd name="connsiteY49" fmla="*/ 522962 h 638828"/>
              <a:gd name="connsiteX50" fmla="*/ 90814 w 501126"/>
              <a:gd name="connsiteY50" fmla="*/ 532357 h 638828"/>
              <a:gd name="connsiteX51" fmla="*/ 97077 w 501126"/>
              <a:gd name="connsiteY51" fmla="*/ 541751 h 638828"/>
              <a:gd name="connsiteX52" fmla="*/ 103340 w 501126"/>
              <a:gd name="connsiteY52" fmla="*/ 560540 h 638828"/>
              <a:gd name="connsiteX53" fmla="*/ 100209 w 501126"/>
              <a:gd name="connsiteY53" fmla="*/ 573066 h 638828"/>
              <a:gd name="connsiteX54" fmla="*/ 103340 w 501126"/>
              <a:gd name="connsiteY54" fmla="*/ 610644 h 638828"/>
              <a:gd name="connsiteX55" fmla="*/ 112735 w 501126"/>
              <a:gd name="connsiteY55" fmla="*/ 613776 h 638828"/>
              <a:gd name="connsiteX56" fmla="*/ 150313 w 501126"/>
              <a:gd name="connsiteY56" fmla="*/ 616907 h 638828"/>
              <a:gd name="connsiteX57" fmla="*/ 156576 w 501126"/>
              <a:gd name="connsiteY57" fmla="*/ 626302 h 638828"/>
              <a:gd name="connsiteX58" fmla="*/ 175365 w 501126"/>
              <a:gd name="connsiteY58" fmla="*/ 632565 h 638828"/>
              <a:gd name="connsiteX59" fmla="*/ 184759 w 501126"/>
              <a:gd name="connsiteY59" fmla="*/ 638828 h 638828"/>
              <a:gd name="connsiteX60" fmla="*/ 203548 w 501126"/>
              <a:gd name="connsiteY60" fmla="*/ 629433 h 638828"/>
              <a:gd name="connsiteX61" fmla="*/ 209811 w 501126"/>
              <a:gd name="connsiteY61" fmla="*/ 620039 h 638828"/>
              <a:gd name="connsiteX62" fmla="*/ 219206 w 501126"/>
              <a:gd name="connsiteY62" fmla="*/ 610644 h 638828"/>
              <a:gd name="connsiteX63" fmla="*/ 209811 w 501126"/>
              <a:gd name="connsiteY63" fmla="*/ 601250 h 638828"/>
              <a:gd name="connsiteX64" fmla="*/ 209811 w 501126"/>
              <a:gd name="connsiteY64" fmla="*/ 557409 h 638828"/>
              <a:gd name="connsiteX65" fmla="*/ 212943 w 501126"/>
              <a:gd name="connsiteY65" fmla="*/ 544883 h 638828"/>
              <a:gd name="connsiteX66" fmla="*/ 222337 w 501126"/>
              <a:gd name="connsiteY66" fmla="*/ 538620 h 638828"/>
              <a:gd name="connsiteX67" fmla="*/ 250521 w 501126"/>
              <a:gd name="connsiteY67" fmla="*/ 544883 h 638828"/>
              <a:gd name="connsiteX68" fmla="*/ 259915 w 501126"/>
              <a:gd name="connsiteY68" fmla="*/ 548014 h 638828"/>
              <a:gd name="connsiteX69" fmla="*/ 266178 w 501126"/>
              <a:gd name="connsiteY69" fmla="*/ 557409 h 638828"/>
              <a:gd name="connsiteX70" fmla="*/ 259915 w 501126"/>
              <a:gd name="connsiteY70" fmla="*/ 576198 h 638828"/>
              <a:gd name="connsiteX71" fmla="*/ 269310 w 501126"/>
              <a:gd name="connsiteY71" fmla="*/ 579329 h 638828"/>
              <a:gd name="connsiteX72" fmla="*/ 281836 w 501126"/>
              <a:gd name="connsiteY72" fmla="*/ 582461 h 638828"/>
              <a:gd name="connsiteX73" fmla="*/ 284967 w 501126"/>
              <a:gd name="connsiteY73" fmla="*/ 591855 h 638828"/>
              <a:gd name="connsiteX74" fmla="*/ 291231 w 501126"/>
              <a:gd name="connsiteY74" fmla="*/ 601250 h 638828"/>
              <a:gd name="connsiteX75" fmla="*/ 331940 w 501126"/>
              <a:gd name="connsiteY75" fmla="*/ 598118 h 638828"/>
              <a:gd name="connsiteX76" fmla="*/ 366387 w 501126"/>
              <a:gd name="connsiteY76" fmla="*/ 594987 h 638828"/>
              <a:gd name="connsiteX77" fmla="*/ 363255 w 501126"/>
              <a:gd name="connsiteY77" fmla="*/ 573066 h 638828"/>
              <a:gd name="connsiteX78" fmla="*/ 350729 w 501126"/>
              <a:gd name="connsiteY78" fmla="*/ 554277 h 638828"/>
              <a:gd name="connsiteX79" fmla="*/ 353861 w 501126"/>
              <a:gd name="connsiteY79" fmla="*/ 535488 h 638828"/>
              <a:gd name="connsiteX80" fmla="*/ 363255 w 501126"/>
              <a:gd name="connsiteY80" fmla="*/ 526094 h 638828"/>
              <a:gd name="connsiteX81" fmla="*/ 372650 w 501126"/>
              <a:gd name="connsiteY81" fmla="*/ 507305 h 638828"/>
              <a:gd name="connsiteX82" fmla="*/ 375781 w 501126"/>
              <a:gd name="connsiteY82" fmla="*/ 488515 h 638828"/>
              <a:gd name="connsiteX83" fmla="*/ 382044 w 501126"/>
              <a:gd name="connsiteY83" fmla="*/ 469726 h 638828"/>
              <a:gd name="connsiteX84" fmla="*/ 388307 w 501126"/>
              <a:gd name="connsiteY84" fmla="*/ 441543 h 638828"/>
              <a:gd name="connsiteX85" fmla="*/ 385176 w 501126"/>
              <a:gd name="connsiteY85" fmla="*/ 422754 h 638828"/>
              <a:gd name="connsiteX86" fmla="*/ 366387 w 501126"/>
              <a:gd name="connsiteY86" fmla="*/ 410228 h 638828"/>
              <a:gd name="connsiteX87" fmla="*/ 369649 w 501126"/>
              <a:gd name="connsiteY87" fmla="*/ 396070 h 638828"/>
              <a:gd name="connsiteX88" fmla="*/ 369649 w 501126"/>
              <a:gd name="connsiteY88" fmla="*/ 372650 h 638828"/>
              <a:gd name="connsiteX89" fmla="*/ 372650 w 501126"/>
              <a:gd name="connsiteY89" fmla="*/ 353861 h 638828"/>
              <a:gd name="connsiteX90" fmla="*/ 369518 w 501126"/>
              <a:gd name="connsiteY90" fmla="*/ 344466 h 638828"/>
              <a:gd name="connsiteX91" fmla="*/ 350729 w 501126"/>
              <a:gd name="connsiteY91" fmla="*/ 325677 h 638828"/>
              <a:gd name="connsiteX92" fmla="*/ 344466 w 501126"/>
              <a:gd name="connsiteY92" fmla="*/ 316283 h 638828"/>
              <a:gd name="connsiteX93" fmla="*/ 344466 w 501126"/>
              <a:gd name="connsiteY93" fmla="*/ 275573 h 638828"/>
              <a:gd name="connsiteX94" fmla="*/ 353861 w 501126"/>
              <a:gd name="connsiteY94" fmla="*/ 269310 h 638828"/>
              <a:gd name="connsiteX95" fmla="*/ 372650 w 501126"/>
              <a:gd name="connsiteY95" fmla="*/ 278705 h 638828"/>
              <a:gd name="connsiteX96" fmla="*/ 379663 w 501126"/>
              <a:gd name="connsiteY96" fmla="*/ 291361 h 638828"/>
              <a:gd name="connsiteX97" fmla="*/ 384295 w 501126"/>
              <a:gd name="connsiteY97" fmla="*/ 300756 h 638828"/>
              <a:gd name="connsiteX98" fmla="*/ 403214 w 501126"/>
              <a:gd name="connsiteY98" fmla="*/ 308650 h 638828"/>
              <a:gd name="connsiteX99" fmla="*/ 432279 w 501126"/>
              <a:gd name="connsiteY99" fmla="*/ 310150 h 638828"/>
              <a:gd name="connsiteX100" fmla="*/ 458831 w 501126"/>
              <a:gd name="connsiteY100" fmla="*/ 298374 h 638828"/>
              <a:gd name="connsiteX101" fmla="*/ 460332 w 501126"/>
              <a:gd name="connsiteY101" fmla="*/ 281836 h 638828"/>
              <a:gd name="connsiteX102" fmla="*/ 457200 w 501126"/>
              <a:gd name="connsiteY102" fmla="*/ 259915 h 638828"/>
              <a:gd name="connsiteX103" fmla="*/ 454069 w 501126"/>
              <a:gd name="connsiteY103" fmla="*/ 250521 h 638828"/>
              <a:gd name="connsiteX104" fmla="*/ 435280 w 501126"/>
              <a:gd name="connsiteY104" fmla="*/ 231732 h 638828"/>
              <a:gd name="connsiteX105" fmla="*/ 438411 w 501126"/>
              <a:gd name="connsiteY105" fmla="*/ 212943 h 638828"/>
              <a:gd name="connsiteX106" fmla="*/ 457200 w 501126"/>
              <a:gd name="connsiteY106" fmla="*/ 206680 h 638828"/>
              <a:gd name="connsiteX107" fmla="*/ 466595 w 501126"/>
              <a:gd name="connsiteY107" fmla="*/ 203548 h 638828"/>
              <a:gd name="connsiteX108" fmla="*/ 501041 w 501126"/>
              <a:gd name="connsiteY108" fmla="*/ 184759 h 638828"/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57130 w 501126"/>
              <a:gd name="connsiteY24" fmla="*/ 193991 h 638828"/>
              <a:gd name="connsiteX25" fmla="*/ 162839 w 501126"/>
              <a:gd name="connsiteY25" fmla="*/ 231732 h 638828"/>
              <a:gd name="connsiteX26" fmla="*/ 150313 w 501126"/>
              <a:gd name="connsiteY26" fmla="*/ 250521 h 638828"/>
              <a:gd name="connsiteX27" fmla="*/ 144050 w 501126"/>
              <a:gd name="connsiteY27" fmla="*/ 263047 h 638828"/>
              <a:gd name="connsiteX28" fmla="*/ 131524 w 501126"/>
              <a:gd name="connsiteY28" fmla="*/ 281836 h 638828"/>
              <a:gd name="connsiteX29" fmla="*/ 128392 w 501126"/>
              <a:gd name="connsiteY29" fmla="*/ 291231 h 638828"/>
              <a:gd name="connsiteX30" fmla="*/ 118998 w 501126"/>
              <a:gd name="connsiteY30" fmla="*/ 300625 h 638828"/>
              <a:gd name="connsiteX31" fmla="*/ 106472 w 501126"/>
              <a:gd name="connsiteY31" fmla="*/ 319414 h 638828"/>
              <a:gd name="connsiteX32" fmla="*/ 97077 w 501126"/>
              <a:gd name="connsiteY32" fmla="*/ 328809 h 638828"/>
              <a:gd name="connsiteX33" fmla="*/ 84551 w 501126"/>
              <a:gd name="connsiteY33" fmla="*/ 347598 h 638828"/>
              <a:gd name="connsiteX34" fmla="*/ 78288 w 501126"/>
              <a:gd name="connsiteY34" fmla="*/ 356992 h 638828"/>
              <a:gd name="connsiteX35" fmla="*/ 65762 w 501126"/>
              <a:gd name="connsiteY35" fmla="*/ 366387 h 638828"/>
              <a:gd name="connsiteX36" fmla="*/ 37578 w 501126"/>
              <a:gd name="connsiteY36" fmla="*/ 388307 h 638828"/>
              <a:gd name="connsiteX37" fmla="*/ 28184 w 501126"/>
              <a:gd name="connsiteY37" fmla="*/ 394570 h 638828"/>
              <a:gd name="connsiteX38" fmla="*/ 18789 w 501126"/>
              <a:gd name="connsiteY38" fmla="*/ 397702 h 638828"/>
              <a:gd name="connsiteX39" fmla="*/ 0 w 501126"/>
              <a:gd name="connsiteY39" fmla="*/ 410228 h 638828"/>
              <a:gd name="connsiteX40" fmla="*/ 9395 w 501126"/>
              <a:gd name="connsiteY40" fmla="*/ 413359 h 638828"/>
              <a:gd name="connsiteX41" fmla="*/ 21921 w 501126"/>
              <a:gd name="connsiteY41" fmla="*/ 416491 h 638828"/>
              <a:gd name="connsiteX42" fmla="*/ 31315 w 501126"/>
              <a:gd name="connsiteY42" fmla="*/ 422754 h 638828"/>
              <a:gd name="connsiteX43" fmla="*/ 34447 w 501126"/>
              <a:gd name="connsiteY43" fmla="*/ 479121 h 638828"/>
              <a:gd name="connsiteX44" fmla="*/ 37578 w 501126"/>
              <a:gd name="connsiteY44" fmla="*/ 488515 h 638828"/>
              <a:gd name="connsiteX45" fmla="*/ 46973 w 501126"/>
              <a:gd name="connsiteY45" fmla="*/ 491647 h 638828"/>
              <a:gd name="connsiteX46" fmla="*/ 75157 w 501126"/>
              <a:gd name="connsiteY46" fmla="*/ 491647 h 638828"/>
              <a:gd name="connsiteX47" fmla="*/ 78288 w 501126"/>
              <a:gd name="connsiteY47" fmla="*/ 501042 h 638828"/>
              <a:gd name="connsiteX48" fmla="*/ 87683 w 501126"/>
              <a:gd name="connsiteY48" fmla="*/ 504173 h 638828"/>
              <a:gd name="connsiteX49" fmla="*/ 112735 w 501126"/>
              <a:gd name="connsiteY49" fmla="*/ 507305 h 638828"/>
              <a:gd name="connsiteX50" fmla="*/ 93946 w 501126"/>
              <a:gd name="connsiteY50" fmla="*/ 522962 h 638828"/>
              <a:gd name="connsiteX51" fmla="*/ 90814 w 501126"/>
              <a:gd name="connsiteY51" fmla="*/ 532357 h 638828"/>
              <a:gd name="connsiteX52" fmla="*/ 97077 w 501126"/>
              <a:gd name="connsiteY52" fmla="*/ 541751 h 638828"/>
              <a:gd name="connsiteX53" fmla="*/ 103340 w 501126"/>
              <a:gd name="connsiteY53" fmla="*/ 560540 h 638828"/>
              <a:gd name="connsiteX54" fmla="*/ 100209 w 501126"/>
              <a:gd name="connsiteY54" fmla="*/ 573066 h 638828"/>
              <a:gd name="connsiteX55" fmla="*/ 103340 w 501126"/>
              <a:gd name="connsiteY55" fmla="*/ 610644 h 638828"/>
              <a:gd name="connsiteX56" fmla="*/ 112735 w 501126"/>
              <a:gd name="connsiteY56" fmla="*/ 613776 h 638828"/>
              <a:gd name="connsiteX57" fmla="*/ 150313 w 501126"/>
              <a:gd name="connsiteY57" fmla="*/ 616907 h 638828"/>
              <a:gd name="connsiteX58" fmla="*/ 156576 w 501126"/>
              <a:gd name="connsiteY58" fmla="*/ 626302 h 638828"/>
              <a:gd name="connsiteX59" fmla="*/ 175365 w 501126"/>
              <a:gd name="connsiteY59" fmla="*/ 632565 h 638828"/>
              <a:gd name="connsiteX60" fmla="*/ 184759 w 501126"/>
              <a:gd name="connsiteY60" fmla="*/ 638828 h 638828"/>
              <a:gd name="connsiteX61" fmla="*/ 203548 w 501126"/>
              <a:gd name="connsiteY61" fmla="*/ 629433 h 638828"/>
              <a:gd name="connsiteX62" fmla="*/ 209811 w 501126"/>
              <a:gd name="connsiteY62" fmla="*/ 620039 h 638828"/>
              <a:gd name="connsiteX63" fmla="*/ 219206 w 501126"/>
              <a:gd name="connsiteY63" fmla="*/ 610644 h 638828"/>
              <a:gd name="connsiteX64" fmla="*/ 209811 w 501126"/>
              <a:gd name="connsiteY64" fmla="*/ 601250 h 638828"/>
              <a:gd name="connsiteX65" fmla="*/ 209811 w 501126"/>
              <a:gd name="connsiteY65" fmla="*/ 557409 h 638828"/>
              <a:gd name="connsiteX66" fmla="*/ 212943 w 501126"/>
              <a:gd name="connsiteY66" fmla="*/ 544883 h 638828"/>
              <a:gd name="connsiteX67" fmla="*/ 222337 w 501126"/>
              <a:gd name="connsiteY67" fmla="*/ 538620 h 638828"/>
              <a:gd name="connsiteX68" fmla="*/ 250521 w 501126"/>
              <a:gd name="connsiteY68" fmla="*/ 544883 h 638828"/>
              <a:gd name="connsiteX69" fmla="*/ 259915 w 501126"/>
              <a:gd name="connsiteY69" fmla="*/ 548014 h 638828"/>
              <a:gd name="connsiteX70" fmla="*/ 266178 w 501126"/>
              <a:gd name="connsiteY70" fmla="*/ 557409 h 638828"/>
              <a:gd name="connsiteX71" fmla="*/ 259915 w 501126"/>
              <a:gd name="connsiteY71" fmla="*/ 576198 h 638828"/>
              <a:gd name="connsiteX72" fmla="*/ 269310 w 501126"/>
              <a:gd name="connsiteY72" fmla="*/ 579329 h 638828"/>
              <a:gd name="connsiteX73" fmla="*/ 281836 w 501126"/>
              <a:gd name="connsiteY73" fmla="*/ 582461 h 638828"/>
              <a:gd name="connsiteX74" fmla="*/ 284967 w 501126"/>
              <a:gd name="connsiteY74" fmla="*/ 591855 h 638828"/>
              <a:gd name="connsiteX75" fmla="*/ 291231 w 501126"/>
              <a:gd name="connsiteY75" fmla="*/ 601250 h 638828"/>
              <a:gd name="connsiteX76" fmla="*/ 331940 w 501126"/>
              <a:gd name="connsiteY76" fmla="*/ 598118 h 638828"/>
              <a:gd name="connsiteX77" fmla="*/ 366387 w 501126"/>
              <a:gd name="connsiteY77" fmla="*/ 594987 h 638828"/>
              <a:gd name="connsiteX78" fmla="*/ 363255 w 501126"/>
              <a:gd name="connsiteY78" fmla="*/ 573066 h 638828"/>
              <a:gd name="connsiteX79" fmla="*/ 350729 w 501126"/>
              <a:gd name="connsiteY79" fmla="*/ 554277 h 638828"/>
              <a:gd name="connsiteX80" fmla="*/ 353861 w 501126"/>
              <a:gd name="connsiteY80" fmla="*/ 535488 h 638828"/>
              <a:gd name="connsiteX81" fmla="*/ 363255 w 501126"/>
              <a:gd name="connsiteY81" fmla="*/ 526094 h 638828"/>
              <a:gd name="connsiteX82" fmla="*/ 372650 w 501126"/>
              <a:gd name="connsiteY82" fmla="*/ 507305 h 638828"/>
              <a:gd name="connsiteX83" fmla="*/ 375781 w 501126"/>
              <a:gd name="connsiteY83" fmla="*/ 488515 h 638828"/>
              <a:gd name="connsiteX84" fmla="*/ 382044 w 501126"/>
              <a:gd name="connsiteY84" fmla="*/ 469726 h 638828"/>
              <a:gd name="connsiteX85" fmla="*/ 388307 w 501126"/>
              <a:gd name="connsiteY85" fmla="*/ 441543 h 638828"/>
              <a:gd name="connsiteX86" fmla="*/ 385176 w 501126"/>
              <a:gd name="connsiteY86" fmla="*/ 422754 h 638828"/>
              <a:gd name="connsiteX87" fmla="*/ 366387 w 501126"/>
              <a:gd name="connsiteY87" fmla="*/ 410228 h 638828"/>
              <a:gd name="connsiteX88" fmla="*/ 369649 w 501126"/>
              <a:gd name="connsiteY88" fmla="*/ 396070 h 638828"/>
              <a:gd name="connsiteX89" fmla="*/ 369649 w 501126"/>
              <a:gd name="connsiteY89" fmla="*/ 372650 h 638828"/>
              <a:gd name="connsiteX90" fmla="*/ 372650 w 501126"/>
              <a:gd name="connsiteY90" fmla="*/ 353861 h 638828"/>
              <a:gd name="connsiteX91" fmla="*/ 369518 w 501126"/>
              <a:gd name="connsiteY91" fmla="*/ 344466 h 638828"/>
              <a:gd name="connsiteX92" fmla="*/ 350729 w 501126"/>
              <a:gd name="connsiteY92" fmla="*/ 325677 h 638828"/>
              <a:gd name="connsiteX93" fmla="*/ 344466 w 501126"/>
              <a:gd name="connsiteY93" fmla="*/ 316283 h 638828"/>
              <a:gd name="connsiteX94" fmla="*/ 344466 w 501126"/>
              <a:gd name="connsiteY94" fmla="*/ 275573 h 638828"/>
              <a:gd name="connsiteX95" fmla="*/ 353861 w 501126"/>
              <a:gd name="connsiteY95" fmla="*/ 269310 h 638828"/>
              <a:gd name="connsiteX96" fmla="*/ 372650 w 501126"/>
              <a:gd name="connsiteY96" fmla="*/ 278705 h 638828"/>
              <a:gd name="connsiteX97" fmla="*/ 379663 w 501126"/>
              <a:gd name="connsiteY97" fmla="*/ 291361 h 638828"/>
              <a:gd name="connsiteX98" fmla="*/ 384295 w 501126"/>
              <a:gd name="connsiteY98" fmla="*/ 300756 h 638828"/>
              <a:gd name="connsiteX99" fmla="*/ 403214 w 501126"/>
              <a:gd name="connsiteY99" fmla="*/ 308650 h 638828"/>
              <a:gd name="connsiteX100" fmla="*/ 432279 w 501126"/>
              <a:gd name="connsiteY100" fmla="*/ 310150 h 638828"/>
              <a:gd name="connsiteX101" fmla="*/ 458831 w 501126"/>
              <a:gd name="connsiteY101" fmla="*/ 298374 h 638828"/>
              <a:gd name="connsiteX102" fmla="*/ 460332 w 501126"/>
              <a:gd name="connsiteY102" fmla="*/ 281836 h 638828"/>
              <a:gd name="connsiteX103" fmla="*/ 457200 w 501126"/>
              <a:gd name="connsiteY103" fmla="*/ 259915 h 638828"/>
              <a:gd name="connsiteX104" fmla="*/ 454069 w 501126"/>
              <a:gd name="connsiteY104" fmla="*/ 250521 h 638828"/>
              <a:gd name="connsiteX105" fmla="*/ 435280 w 501126"/>
              <a:gd name="connsiteY105" fmla="*/ 231732 h 638828"/>
              <a:gd name="connsiteX106" fmla="*/ 438411 w 501126"/>
              <a:gd name="connsiteY106" fmla="*/ 212943 h 638828"/>
              <a:gd name="connsiteX107" fmla="*/ 457200 w 501126"/>
              <a:gd name="connsiteY107" fmla="*/ 206680 h 638828"/>
              <a:gd name="connsiteX108" fmla="*/ 466595 w 501126"/>
              <a:gd name="connsiteY108" fmla="*/ 203548 h 638828"/>
              <a:gd name="connsiteX109" fmla="*/ 501041 w 501126"/>
              <a:gd name="connsiteY109" fmla="*/ 184759 h 638828"/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57130 w 501126"/>
              <a:gd name="connsiteY24" fmla="*/ 193991 h 638828"/>
              <a:gd name="connsiteX25" fmla="*/ 148551 w 501126"/>
              <a:gd name="connsiteY25" fmla="*/ 226970 h 638828"/>
              <a:gd name="connsiteX26" fmla="*/ 150313 w 501126"/>
              <a:gd name="connsiteY26" fmla="*/ 250521 h 638828"/>
              <a:gd name="connsiteX27" fmla="*/ 144050 w 501126"/>
              <a:gd name="connsiteY27" fmla="*/ 263047 h 638828"/>
              <a:gd name="connsiteX28" fmla="*/ 131524 w 501126"/>
              <a:gd name="connsiteY28" fmla="*/ 281836 h 638828"/>
              <a:gd name="connsiteX29" fmla="*/ 128392 w 501126"/>
              <a:gd name="connsiteY29" fmla="*/ 291231 h 638828"/>
              <a:gd name="connsiteX30" fmla="*/ 118998 w 501126"/>
              <a:gd name="connsiteY30" fmla="*/ 300625 h 638828"/>
              <a:gd name="connsiteX31" fmla="*/ 106472 w 501126"/>
              <a:gd name="connsiteY31" fmla="*/ 319414 h 638828"/>
              <a:gd name="connsiteX32" fmla="*/ 97077 w 501126"/>
              <a:gd name="connsiteY32" fmla="*/ 328809 h 638828"/>
              <a:gd name="connsiteX33" fmla="*/ 84551 w 501126"/>
              <a:gd name="connsiteY33" fmla="*/ 347598 h 638828"/>
              <a:gd name="connsiteX34" fmla="*/ 78288 w 501126"/>
              <a:gd name="connsiteY34" fmla="*/ 356992 h 638828"/>
              <a:gd name="connsiteX35" fmla="*/ 65762 w 501126"/>
              <a:gd name="connsiteY35" fmla="*/ 366387 h 638828"/>
              <a:gd name="connsiteX36" fmla="*/ 37578 w 501126"/>
              <a:gd name="connsiteY36" fmla="*/ 388307 h 638828"/>
              <a:gd name="connsiteX37" fmla="*/ 28184 w 501126"/>
              <a:gd name="connsiteY37" fmla="*/ 394570 h 638828"/>
              <a:gd name="connsiteX38" fmla="*/ 18789 w 501126"/>
              <a:gd name="connsiteY38" fmla="*/ 397702 h 638828"/>
              <a:gd name="connsiteX39" fmla="*/ 0 w 501126"/>
              <a:gd name="connsiteY39" fmla="*/ 410228 h 638828"/>
              <a:gd name="connsiteX40" fmla="*/ 9395 w 501126"/>
              <a:gd name="connsiteY40" fmla="*/ 413359 h 638828"/>
              <a:gd name="connsiteX41" fmla="*/ 21921 w 501126"/>
              <a:gd name="connsiteY41" fmla="*/ 416491 h 638828"/>
              <a:gd name="connsiteX42" fmla="*/ 31315 w 501126"/>
              <a:gd name="connsiteY42" fmla="*/ 422754 h 638828"/>
              <a:gd name="connsiteX43" fmla="*/ 34447 w 501126"/>
              <a:gd name="connsiteY43" fmla="*/ 479121 h 638828"/>
              <a:gd name="connsiteX44" fmla="*/ 37578 w 501126"/>
              <a:gd name="connsiteY44" fmla="*/ 488515 h 638828"/>
              <a:gd name="connsiteX45" fmla="*/ 46973 w 501126"/>
              <a:gd name="connsiteY45" fmla="*/ 491647 h 638828"/>
              <a:gd name="connsiteX46" fmla="*/ 75157 w 501126"/>
              <a:gd name="connsiteY46" fmla="*/ 491647 h 638828"/>
              <a:gd name="connsiteX47" fmla="*/ 78288 w 501126"/>
              <a:gd name="connsiteY47" fmla="*/ 501042 h 638828"/>
              <a:gd name="connsiteX48" fmla="*/ 87683 w 501126"/>
              <a:gd name="connsiteY48" fmla="*/ 504173 h 638828"/>
              <a:gd name="connsiteX49" fmla="*/ 112735 w 501126"/>
              <a:gd name="connsiteY49" fmla="*/ 507305 h 638828"/>
              <a:gd name="connsiteX50" fmla="*/ 93946 w 501126"/>
              <a:gd name="connsiteY50" fmla="*/ 522962 h 638828"/>
              <a:gd name="connsiteX51" fmla="*/ 90814 w 501126"/>
              <a:gd name="connsiteY51" fmla="*/ 532357 h 638828"/>
              <a:gd name="connsiteX52" fmla="*/ 97077 w 501126"/>
              <a:gd name="connsiteY52" fmla="*/ 541751 h 638828"/>
              <a:gd name="connsiteX53" fmla="*/ 103340 w 501126"/>
              <a:gd name="connsiteY53" fmla="*/ 560540 h 638828"/>
              <a:gd name="connsiteX54" fmla="*/ 100209 w 501126"/>
              <a:gd name="connsiteY54" fmla="*/ 573066 h 638828"/>
              <a:gd name="connsiteX55" fmla="*/ 103340 w 501126"/>
              <a:gd name="connsiteY55" fmla="*/ 610644 h 638828"/>
              <a:gd name="connsiteX56" fmla="*/ 112735 w 501126"/>
              <a:gd name="connsiteY56" fmla="*/ 613776 h 638828"/>
              <a:gd name="connsiteX57" fmla="*/ 150313 w 501126"/>
              <a:gd name="connsiteY57" fmla="*/ 616907 h 638828"/>
              <a:gd name="connsiteX58" fmla="*/ 156576 w 501126"/>
              <a:gd name="connsiteY58" fmla="*/ 626302 h 638828"/>
              <a:gd name="connsiteX59" fmla="*/ 175365 w 501126"/>
              <a:gd name="connsiteY59" fmla="*/ 632565 h 638828"/>
              <a:gd name="connsiteX60" fmla="*/ 184759 w 501126"/>
              <a:gd name="connsiteY60" fmla="*/ 638828 h 638828"/>
              <a:gd name="connsiteX61" fmla="*/ 203548 w 501126"/>
              <a:gd name="connsiteY61" fmla="*/ 629433 h 638828"/>
              <a:gd name="connsiteX62" fmla="*/ 209811 w 501126"/>
              <a:gd name="connsiteY62" fmla="*/ 620039 h 638828"/>
              <a:gd name="connsiteX63" fmla="*/ 219206 w 501126"/>
              <a:gd name="connsiteY63" fmla="*/ 610644 h 638828"/>
              <a:gd name="connsiteX64" fmla="*/ 209811 w 501126"/>
              <a:gd name="connsiteY64" fmla="*/ 601250 h 638828"/>
              <a:gd name="connsiteX65" fmla="*/ 209811 w 501126"/>
              <a:gd name="connsiteY65" fmla="*/ 557409 h 638828"/>
              <a:gd name="connsiteX66" fmla="*/ 212943 w 501126"/>
              <a:gd name="connsiteY66" fmla="*/ 544883 h 638828"/>
              <a:gd name="connsiteX67" fmla="*/ 222337 w 501126"/>
              <a:gd name="connsiteY67" fmla="*/ 538620 h 638828"/>
              <a:gd name="connsiteX68" fmla="*/ 250521 w 501126"/>
              <a:gd name="connsiteY68" fmla="*/ 544883 h 638828"/>
              <a:gd name="connsiteX69" fmla="*/ 259915 w 501126"/>
              <a:gd name="connsiteY69" fmla="*/ 548014 h 638828"/>
              <a:gd name="connsiteX70" fmla="*/ 266178 w 501126"/>
              <a:gd name="connsiteY70" fmla="*/ 557409 h 638828"/>
              <a:gd name="connsiteX71" fmla="*/ 259915 w 501126"/>
              <a:gd name="connsiteY71" fmla="*/ 576198 h 638828"/>
              <a:gd name="connsiteX72" fmla="*/ 269310 w 501126"/>
              <a:gd name="connsiteY72" fmla="*/ 579329 h 638828"/>
              <a:gd name="connsiteX73" fmla="*/ 281836 w 501126"/>
              <a:gd name="connsiteY73" fmla="*/ 582461 h 638828"/>
              <a:gd name="connsiteX74" fmla="*/ 284967 w 501126"/>
              <a:gd name="connsiteY74" fmla="*/ 591855 h 638828"/>
              <a:gd name="connsiteX75" fmla="*/ 291231 w 501126"/>
              <a:gd name="connsiteY75" fmla="*/ 601250 h 638828"/>
              <a:gd name="connsiteX76" fmla="*/ 331940 w 501126"/>
              <a:gd name="connsiteY76" fmla="*/ 598118 h 638828"/>
              <a:gd name="connsiteX77" fmla="*/ 366387 w 501126"/>
              <a:gd name="connsiteY77" fmla="*/ 594987 h 638828"/>
              <a:gd name="connsiteX78" fmla="*/ 363255 w 501126"/>
              <a:gd name="connsiteY78" fmla="*/ 573066 h 638828"/>
              <a:gd name="connsiteX79" fmla="*/ 350729 w 501126"/>
              <a:gd name="connsiteY79" fmla="*/ 554277 h 638828"/>
              <a:gd name="connsiteX80" fmla="*/ 353861 w 501126"/>
              <a:gd name="connsiteY80" fmla="*/ 535488 h 638828"/>
              <a:gd name="connsiteX81" fmla="*/ 363255 w 501126"/>
              <a:gd name="connsiteY81" fmla="*/ 526094 h 638828"/>
              <a:gd name="connsiteX82" fmla="*/ 372650 w 501126"/>
              <a:gd name="connsiteY82" fmla="*/ 507305 h 638828"/>
              <a:gd name="connsiteX83" fmla="*/ 375781 w 501126"/>
              <a:gd name="connsiteY83" fmla="*/ 488515 h 638828"/>
              <a:gd name="connsiteX84" fmla="*/ 382044 w 501126"/>
              <a:gd name="connsiteY84" fmla="*/ 469726 h 638828"/>
              <a:gd name="connsiteX85" fmla="*/ 388307 w 501126"/>
              <a:gd name="connsiteY85" fmla="*/ 441543 h 638828"/>
              <a:gd name="connsiteX86" fmla="*/ 385176 w 501126"/>
              <a:gd name="connsiteY86" fmla="*/ 422754 h 638828"/>
              <a:gd name="connsiteX87" fmla="*/ 366387 w 501126"/>
              <a:gd name="connsiteY87" fmla="*/ 410228 h 638828"/>
              <a:gd name="connsiteX88" fmla="*/ 369649 w 501126"/>
              <a:gd name="connsiteY88" fmla="*/ 396070 h 638828"/>
              <a:gd name="connsiteX89" fmla="*/ 369649 w 501126"/>
              <a:gd name="connsiteY89" fmla="*/ 372650 h 638828"/>
              <a:gd name="connsiteX90" fmla="*/ 372650 w 501126"/>
              <a:gd name="connsiteY90" fmla="*/ 353861 h 638828"/>
              <a:gd name="connsiteX91" fmla="*/ 369518 w 501126"/>
              <a:gd name="connsiteY91" fmla="*/ 344466 h 638828"/>
              <a:gd name="connsiteX92" fmla="*/ 350729 w 501126"/>
              <a:gd name="connsiteY92" fmla="*/ 325677 h 638828"/>
              <a:gd name="connsiteX93" fmla="*/ 344466 w 501126"/>
              <a:gd name="connsiteY93" fmla="*/ 316283 h 638828"/>
              <a:gd name="connsiteX94" fmla="*/ 344466 w 501126"/>
              <a:gd name="connsiteY94" fmla="*/ 275573 h 638828"/>
              <a:gd name="connsiteX95" fmla="*/ 353861 w 501126"/>
              <a:gd name="connsiteY95" fmla="*/ 269310 h 638828"/>
              <a:gd name="connsiteX96" fmla="*/ 372650 w 501126"/>
              <a:gd name="connsiteY96" fmla="*/ 278705 h 638828"/>
              <a:gd name="connsiteX97" fmla="*/ 379663 w 501126"/>
              <a:gd name="connsiteY97" fmla="*/ 291361 h 638828"/>
              <a:gd name="connsiteX98" fmla="*/ 384295 w 501126"/>
              <a:gd name="connsiteY98" fmla="*/ 300756 h 638828"/>
              <a:gd name="connsiteX99" fmla="*/ 403214 w 501126"/>
              <a:gd name="connsiteY99" fmla="*/ 308650 h 638828"/>
              <a:gd name="connsiteX100" fmla="*/ 432279 w 501126"/>
              <a:gd name="connsiteY100" fmla="*/ 310150 h 638828"/>
              <a:gd name="connsiteX101" fmla="*/ 458831 w 501126"/>
              <a:gd name="connsiteY101" fmla="*/ 298374 h 638828"/>
              <a:gd name="connsiteX102" fmla="*/ 460332 w 501126"/>
              <a:gd name="connsiteY102" fmla="*/ 281836 h 638828"/>
              <a:gd name="connsiteX103" fmla="*/ 457200 w 501126"/>
              <a:gd name="connsiteY103" fmla="*/ 259915 h 638828"/>
              <a:gd name="connsiteX104" fmla="*/ 454069 w 501126"/>
              <a:gd name="connsiteY104" fmla="*/ 250521 h 638828"/>
              <a:gd name="connsiteX105" fmla="*/ 435280 w 501126"/>
              <a:gd name="connsiteY105" fmla="*/ 231732 h 638828"/>
              <a:gd name="connsiteX106" fmla="*/ 438411 w 501126"/>
              <a:gd name="connsiteY106" fmla="*/ 212943 h 638828"/>
              <a:gd name="connsiteX107" fmla="*/ 457200 w 501126"/>
              <a:gd name="connsiteY107" fmla="*/ 206680 h 638828"/>
              <a:gd name="connsiteX108" fmla="*/ 466595 w 501126"/>
              <a:gd name="connsiteY108" fmla="*/ 203548 h 638828"/>
              <a:gd name="connsiteX109" fmla="*/ 501041 w 501126"/>
              <a:gd name="connsiteY109" fmla="*/ 184759 h 638828"/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57130 w 501126"/>
              <a:gd name="connsiteY24" fmla="*/ 193991 h 638828"/>
              <a:gd name="connsiteX25" fmla="*/ 148551 w 501126"/>
              <a:gd name="connsiteY25" fmla="*/ 226970 h 638828"/>
              <a:gd name="connsiteX26" fmla="*/ 140788 w 501126"/>
              <a:gd name="connsiteY26" fmla="*/ 248140 h 638828"/>
              <a:gd name="connsiteX27" fmla="*/ 144050 w 501126"/>
              <a:gd name="connsiteY27" fmla="*/ 263047 h 638828"/>
              <a:gd name="connsiteX28" fmla="*/ 131524 w 501126"/>
              <a:gd name="connsiteY28" fmla="*/ 281836 h 638828"/>
              <a:gd name="connsiteX29" fmla="*/ 128392 w 501126"/>
              <a:gd name="connsiteY29" fmla="*/ 291231 h 638828"/>
              <a:gd name="connsiteX30" fmla="*/ 118998 w 501126"/>
              <a:gd name="connsiteY30" fmla="*/ 300625 h 638828"/>
              <a:gd name="connsiteX31" fmla="*/ 106472 w 501126"/>
              <a:gd name="connsiteY31" fmla="*/ 319414 h 638828"/>
              <a:gd name="connsiteX32" fmla="*/ 97077 w 501126"/>
              <a:gd name="connsiteY32" fmla="*/ 328809 h 638828"/>
              <a:gd name="connsiteX33" fmla="*/ 84551 w 501126"/>
              <a:gd name="connsiteY33" fmla="*/ 347598 h 638828"/>
              <a:gd name="connsiteX34" fmla="*/ 78288 w 501126"/>
              <a:gd name="connsiteY34" fmla="*/ 356992 h 638828"/>
              <a:gd name="connsiteX35" fmla="*/ 65762 w 501126"/>
              <a:gd name="connsiteY35" fmla="*/ 366387 h 638828"/>
              <a:gd name="connsiteX36" fmla="*/ 37578 w 501126"/>
              <a:gd name="connsiteY36" fmla="*/ 388307 h 638828"/>
              <a:gd name="connsiteX37" fmla="*/ 28184 w 501126"/>
              <a:gd name="connsiteY37" fmla="*/ 394570 h 638828"/>
              <a:gd name="connsiteX38" fmla="*/ 18789 w 501126"/>
              <a:gd name="connsiteY38" fmla="*/ 397702 h 638828"/>
              <a:gd name="connsiteX39" fmla="*/ 0 w 501126"/>
              <a:gd name="connsiteY39" fmla="*/ 410228 h 638828"/>
              <a:gd name="connsiteX40" fmla="*/ 9395 w 501126"/>
              <a:gd name="connsiteY40" fmla="*/ 413359 h 638828"/>
              <a:gd name="connsiteX41" fmla="*/ 21921 w 501126"/>
              <a:gd name="connsiteY41" fmla="*/ 416491 h 638828"/>
              <a:gd name="connsiteX42" fmla="*/ 31315 w 501126"/>
              <a:gd name="connsiteY42" fmla="*/ 422754 h 638828"/>
              <a:gd name="connsiteX43" fmla="*/ 34447 w 501126"/>
              <a:gd name="connsiteY43" fmla="*/ 479121 h 638828"/>
              <a:gd name="connsiteX44" fmla="*/ 37578 w 501126"/>
              <a:gd name="connsiteY44" fmla="*/ 488515 h 638828"/>
              <a:gd name="connsiteX45" fmla="*/ 46973 w 501126"/>
              <a:gd name="connsiteY45" fmla="*/ 491647 h 638828"/>
              <a:gd name="connsiteX46" fmla="*/ 75157 w 501126"/>
              <a:gd name="connsiteY46" fmla="*/ 491647 h 638828"/>
              <a:gd name="connsiteX47" fmla="*/ 78288 w 501126"/>
              <a:gd name="connsiteY47" fmla="*/ 501042 h 638828"/>
              <a:gd name="connsiteX48" fmla="*/ 87683 w 501126"/>
              <a:gd name="connsiteY48" fmla="*/ 504173 h 638828"/>
              <a:gd name="connsiteX49" fmla="*/ 112735 w 501126"/>
              <a:gd name="connsiteY49" fmla="*/ 507305 h 638828"/>
              <a:gd name="connsiteX50" fmla="*/ 93946 w 501126"/>
              <a:gd name="connsiteY50" fmla="*/ 522962 h 638828"/>
              <a:gd name="connsiteX51" fmla="*/ 90814 w 501126"/>
              <a:gd name="connsiteY51" fmla="*/ 532357 h 638828"/>
              <a:gd name="connsiteX52" fmla="*/ 97077 w 501126"/>
              <a:gd name="connsiteY52" fmla="*/ 541751 h 638828"/>
              <a:gd name="connsiteX53" fmla="*/ 103340 w 501126"/>
              <a:gd name="connsiteY53" fmla="*/ 560540 h 638828"/>
              <a:gd name="connsiteX54" fmla="*/ 100209 w 501126"/>
              <a:gd name="connsiteY54" fmla="*/ 573066 h 638828"/>
              <a:gd name="connsiteX55" fmla="*/ 103340 w 501126"/>
              <a:gd name="connsiteY55" fmla="*/ 610644 h 638828"/>
              <a:gd name="connsiteX56" fmla="*/ 112735 w 501126"/>
              <a:gd name="connsiteY56" fmla="*/ 613776 h 638828"/>
              <a:gd name="connsiteX57" fmla="*/ 150313 w 501126"/>
              <a:gd name="connsiteY57" fmla="*/ 616907 h 638828"/>
              <a:gd name="connsiteX58" fmla="*/ 156576 w 501126"/>
              <a:gd name="connsiteY58" fmla="*/ 626302 h 638828"/>
              <a:gd name="connsiteX59" fmla="*/ 175365 w 501126"/>
              <a:gd name="connsiteY59" fmla="*/ 632565 h 638828"/>
              <a:gd name="connsiteX60" fmla="*/ 184759 w 501126"/>
              <a:gd name="connsiteY60" fmla="*/ 638828 h 638828"/>
              <a:gd name="connsiteX61" fmla="*/ 203548 w 501126"/>
              <a:gd name="connsiteY61" fmla="*/ 629433 h 638828"/>
              <a:gd name="connsiteX62" fmla="*/ 209811 w 501126"/>
              <a:gd name="connsiteY62" fmla="*/ 620039 h 638828"/>
              <a:gd name="connsiteX63" fmla="*/ 219206 w 501126"/>
              <a:gd name="connsiteY63" fmla="*/ 610644 h 638828"/>
              <a:gd name="connsiteX64" fmla="*/ 209811 w 501126"/>
              <a:gd name="connsiteY64" fmla="*/ 601250 h 638828"/>
              <a:gd name="connsiteX65" fmla="*/ 209811 w 501126"/>
              <a:gd name="connsiteY65" fmla="*/ 557409 h 638828"/>
              <a:gd name="connsiteX66" fmla="*/ 212943 w 501126"/>
              <a:gd name="connsiteY66" fmla="*/ 544883 h 638828"/>
              <a:gd name="connsiteX67" fmla="*/ 222337 w 501126"/>
              <a:gd name="connsiteY67" fmla="*/ 538620 h 638828"/>
              <a:gd name="connsiteX68" fmla="*/ 250521 w 501126"/>
              <a:gd name="connsiteY68" fmla="*/ 544883 h 638828"/>
              <a:gd name="connsiteX69" fmla="*/ 259915 w 501126"/>
              <a:gd name="connsiteY69" fmla="*/ 548014 h 638828"/>
              <a:gd name="connsiteX70" fmla="*/ 266178 w 501126"/>
              <a:gd name="connsiteY70" fmla="*/ 557409 h 638828"/>
              <a:gd name="connsiteX71" fmla="*/ 259915 w 501126"/>
              <a:gd name="connsiteY71" fmla="*/ 576198 h 638828"/>
              <a:gd name="connsiteX72" fmla="*/ 269310 w 501126"/>
              <a:gd name="connsiteY72" fmla="*/ 579329 h 638828"/>
              <a:gd name="connsiteX73" fmla="*/ 281836 w 501126"/>
              <a:gd name="connsiteY73" fmla="*/ 582461 h 638828"/>
              <a:gd name="connsiteX74" fmla="*/ 284967 w 501126"/>
              <a:gd name="connsiteY74" fmla="*/ 591855 h 638828"/>
              <a:gd name="connsiteX75" fmla="*/ 291231 w 501126"/>
              <a:gd name="connsiteY75" fmla="*/ 601250 h 638828"/>
              <a:gd name="connsiteX76" fmla="*/ 331940 w 501126"/>
              <a:gd name="connsiteY76" fmla="*/ 598118 h 638828"/>
              <a:gd name="connsiteX77" fmla="*/ 366387 w 501126"/>
              <a:gd name="connsiteY77" fmla="*/ 594987 h 638828"/>
              <a:gd name="connsiteX78" fmla="*/ 363255 w 501126"/>
              <a:gd name="connsiteY78" fmla="*/ 573066 h 638828"/>
              <a:gd name="connsiteX79" fmla="*/ 350729 w 501126"/>
              <a:gd name="connsiteY79" fmla="*/ 554277 h 638828"/>
              <a:gd name="connsiteX80" fmla="*/ 353861 w 501126"/>
              <a:gd name="connsiteY80" fmla="*/ 535488 h 638828"/>
              <a:gd name="connsiteX81" fmla="*/ 363255 w 501126"/>
              <a:gd name="connsiteY81" fmla="*/ 526094 h 638828"/>
              <a:gd name="connsiteX82" fmla="*/ 372650 w 501126"/>
              <a:gd name="connsiteY82" fmla="*/ 507305 h 638828"/>
              <a:gd name="connsiteX83" fmla="*/ 375781 w 501126"/>
              <a:gd name="connsiteY83" fmla="*/ 488515 h 638828"/>
              <a:gd name="connsiteX84" fmla="*/ 382044 w 501126"/>
              <a:gd name="connsiteY84" fmla="*/ 469726 h 638828"/>
              <a:gd name="connsiteX85" fmla="*/ 388307 w 501126"/>
              <a:gd name="connsiteY85" fmla="*/ 441543 h 638828"/>
              <a:gd name="connsiteX86" fmla="*/ 385176 w 501126"/>
              <a:gd name="connsiteY86" fmla="*/ 422754 h 638828"/>
              <a:gd name="connsiteX87" fmla="*/ 366387 w 501126"/>
              <a:gd name="connsiteY87" fmla="*/ 410228 h 638828"/>
              <a:gd name="connsiteX88" fmla="*/ 369649 w 501126"/>
              <a:gd name="connsiteY88" fmla="*/ 396070 h 638828"/>
              <a:gd name="connsiteX89" fmla="*/ 369649 w 501126"/>
              <a:gd name="connsiteY89" fmla="*/ 372650 h 638828"/>
              <a:gd name="connsiteX90" fmla="*/ 372650 w 501126"/>
              <a:gd name="connsiteY90" fmla="*/ 353861 h 638828"/>
              <a:gd name="connsiteX91" fmla="*/ 369518 w 501126"/>
              <a:gd name="connsiteY91" fmla="*/ 344466 h 638828"/>
              <a:gd name="connsiteX92" fmla="*/ 350729 w 501126"/>
              <a:gd name="connsiteY92" fmla="*/ 325677 h 638828"/>
              <a:gd name="connsiteX93" fmla="*/ 344466 w 501126"/>
              <a:gd name="connsiteY93" fmla="*/ 316283 h 638828"/>
              <a:gd name="connsiteX94" fmla="*/ 344466 w 501126"/>
              <a:gd name="connsiteY94" fmla="*/ 275573 h 638828"/>
              <a:gd name="connsiteX95" fmla="*/ 353861 w 501126"/>
              <a:gd name="connsiteY95" fmla="*/ 269310 h 638828"/>
              <a:gd name="connsiteX96" fmla="*/ 372650 w 501126"/>
              <a:gd name="connsiteY96" fmla="*/ 278705 h 638828"/>
              <a:gd name="connsiteX97" fmla="*/ 379663 w 501126"/>
              <a:gd name="connsiteY97" fmla="*/ 291361 h 638828"/>
              <a:gd name="connsiteX98" fmla="*/ 384295 w 501126"/>
              <a:gd name="connsiteY98" fmla="*/ 300756 h 638828"/>
              <a:gd name="connsiteX99" fmla="*/ 403214 w 501126"/>
              <a:gd name="connsiteY99" fmla="*/ 308650 h 638828"/>
              <a:gd name="connsiteX100" fmla="*/ 432279 w 501126"/>
              <a:gd name="connsiteY100" fmla="*/ 310150 h 638828"/>
              <a:gd name="connsiteX101" fmla="*/ 458831 w 501126"/>
              <a:gd name="connsiteY101" fmla="*/ 298374 h 638828"/>
              <a:gd name="connsiteX102" fmla="*/ 460332 w 501126"/>
              <a:gd name="connsiteY102" fmla="*/ 281836 h 638828"/>
              <a:gd name="connsiteX103" fmla="*/ 457200 w 501126"/>
              <a:gd name="connsiteY103" fmla="*/ 259915 h 638828"/>
              <a:gd name="connsiteX104" fmla="*/ 454069 w 501126"/>
              <a:gd name="connsiteY104" fmla="*/ 250521 h 638828"/>
              <a:gd name="connsiteX105" fmla="*/ 435280 w 501126"/>
              <a:gd name="connsiteY105" fmla="*/ 231732 h 638828"/>
              <a:gd name="connsiteX106" fmla="*/ 438411 w 501126"/>
              <a:gd name="connsiteY106" fmla="*/ 212943 h 638828"/>
              <a:gd name="connsiteX107" fmla="*/ 457200 w 501126"/>
              <a:gd name="connsiteY107" fmla="*/ 206680 h 638828"/>
              <a:gd name="connsiteX108" fmla="*/ 466595 w 501126"/>
              <a:gd name="connsiteY108" fmla="*/ 203548 h 638828"/>
              <a:gd name="connsiteX109" fmla="*/ 501041 w 501126"/>
              <a:gd name="connsiteY109" fmla="*/ 184759 h 638828"/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57130 w 501126"/>
              <a:gd name="connsiteY24" fmla="*/ 193991 h 638828"/>
              <a:gd name="connsiteX25" fmla="*/ 148551 w 501126"/>
              <a:gd name="connsiteY25" fmla="*/ 226970 h 638828"/>
              <a:gd name="connsiteX26" fmla="*/ 140788 w 501126"/>
              <a:gd name="connsiteY26" fmla="*/ 248140 h 638828"/>
              <a:gd name="connsiteX27" fmla="*/ 132144 w 501126"/>
              <a:gd name="connsiteY27" fmla="*/ 265429 h 638828"/>
              <a:gd name="connsiteX28" fmla="*/ 131524 w 501126"/>
              <a:gd name="connsiteY28" fmla="*/ 281836 h 638828"/>
              <a:gd name="connsiteX29" fmla="*/ 128392 w 501126"/>
              <a:gd name="connsiteY29" fmla="*/ 291231 h 638828"/>
              <a:gd name="connsiteX30" fmla="*/ 118998 w 501126"/>
              <a:gd name="connsiteY30" fmla="*/ 300625 h 638828"/>
              <a:gd name="connsiteX31" fmla="*/ 106472 w 501126"/>
              <a:gd name="connsiteY31" fmla="*/ 319414 h 638828"/>
              <a:gd name="connsiteX32" fmla="*/ 97077 w 501126"/>
              <a:gd name="connsiteY32" fmla="*/ 328809 h 638828"/>
              <a:gd name="connsiteX33" fmla="*/ 84551 w 501126"/>
              <a:gd name="connsiteY33" fmla="*/ 347598 h 638828"/>
              <a:gd name="connsiteX34" fmla="*/ 78288 w 501126"/>
              <a:gd name="connsiteY34" fmla="*/ 356992 h 638828"/>
              <a:gd name="connsiteX35" fmla="*/ 65762 w 501126"/>
              <a:gd name="connsiteY35" fmla="*/ 366387 h 638828"/>
              <a:gd name="connsiteX36" fmla="*/ 37578 w 501126"/>
              <a:gd name="connsiteY36" fmla="*/ 388307 h 638828"/>
              <a:gd name="connsiteX37" fmla="*/ 28184 w 501126"/>
              <a:gd name="connsiteY37" fmla="*/ 394570 h 638828"/>
              <a:gd name="connsiteX38" fmla="*/ 18789 w 501126"/>
              <a:gd name="connsiteY38" fmla="*/ 397702 h 638828"/>
              <a:gd name="connsiteX39" fmla="*/ 0 w 501126"/>
              <a:gd name="connsiteY39" fmla="*/ 410228 h 638828"/>
              <a:gd name="connsiteX40" fmla="*/ 9395 w 501126"/>
              <a:gd name="connsiteY40" fmla="*/ 413359 h 638828"/>
              <a:gd name="connsiteX41" fmla="*/ 21921 w 501126"/>
              <a:gd name="connsiteY41" fmla="*/ 416491 h 638828"/>
              <a:gd name="connsiteX42" fmla="*/ 31315 w 501126"/>
              <a:gd name="connsiteY42" fmla="*/ 422754 h 638828"/>
              <a:gd name="connsiteX43" fmla="*/ 34447 w 501126"/>
              <a:gd name="connsiteY43" fmla="*/ 479121 h 638828"/>
              <a:gd name="connsiteX44" fmla="*/ 37578 w 501126"/>
              <a:gd name="connsiteY44" fmla="*/ 488515 h 638828"/>
              <a:gd name="connsiteX45" fmla="*/ 46973 w 501126"/>
              <a:gd name="connsiteY45" fmla="*/ 491647 h 638828"/>
              <a:gd name="connsiteX46" fmla="*/ 75157 w 501126"/>
              <a:gd name="connsiteY46" fmla="*/ 491647 h 638828"/>
              <a:gd name="connsiteX47" fmla="*/ 78288 w 501126"/>
              <a:gd name="connsiteY47" fmla="*/ 501042 h 638828"/>
              <a:gd name="connsiteX48" fmla="*/ 87683 w 501126"/>
              <a:gd name="connsiteY48" fmla="*/ 504173 h 638828"/>
              <a:gd name="connsiteX49" fmla="*/ 112735 w 501126"/>
              <a:gd name="connsiteY49" fmla="*/ 507305 h 638828"/>
              <a:gd name="connsiteX50" fmla="*/ 93946 w 501126"/>
              <a:gd name="connsiteY50" fmla="*/ 522962 h 638828"/>
              <a:gd name="connsiteX51" fmla="*/ 90814 w 501126"/>
              <a:gd name="connsiteY51" fmla="*/ 532357 h 638828"/>
              <a:gd name="connsiteX52" fmla="*/ 97077 w 501126"/>
              <a:gd name="connsiteY52" fmla="*/ 541751 h 638828"/>
              <a:gd name="connsiteX53" fmla="*/ 103340 w 501126"/>
              <a:gd name="connsiteY53" fmla="*/ 560540 h 638828"/>
              <a:gd name="connsiteX54" fmla="*/ 100209 w 501126"/>
              <a:gd name="connsiteY54" fmla="*/ 573066 h 638828"/>
              <a:gd name="connsiteX55" fmla="*/ 103340 w 501126"/>
              <a:gd name="connsiteY55" fmla="*/ 610644 h 638828"/>
              <a:gd name="connsiteX56" fmla="*/ 112735 w 501126"/>
              <a:gd name="connsiteY56" fmla="*/ 613776 h 638828"/>
              <a:gd name="connsiteX57" fmla="*/ 150313 w 501126"/>
              <a:gd name="connsiteY57" fmla="*/ 616907 h 638828"/>
              <a:gd name="connsiteX58" fmla="*/ 156576 w 501126"/>
              <a:gd name="connsiteY58" fmla="*/ 626302 h 638828"/>
              <a:gd name="connsiteX59" fmla="*/ 175365 w 501126"/>
              <a:gd name="connsiteY59" fmla="*/ 632565 h 638828"/>
              <a:gd name="connsiteX60" fmla="*/ 184759 w 501126"/>
              <a:gd name="connsiteY60" fmla="*/ 638828 h 638828"/>
              <a:gd name="connsiteX61" fmla="*/ 203548 w 501126"/>
              <a:gd name="connsiteY61" fmla="*/ 629433 h 638828"/>
              <a:gd name="connsiteX62" fmla="*/ 209811 w 501126"/>
              <a:gd name="connsiteY62" fmla="*/ 620039 h 638828"/>
              <a:gd name="connsiteX63" fmla="*/ 219206 w 501126"/>
              <a:gd name="connsiteY63" fmla="*/ 610644 h 638828"/>
              <a:gd name="connsiteX64" fmla="*/ 209811 w 501126"/>
              <a:gd name="connsiteY64" fmla="*/ 601250 h 638828"/>
              <a:gd name="connsiteX65" fmla="*/ 209811 w 501126"/>
              <a:gd name="connsiteY65" fmla="*/ 557409 h 638828"/>
              <a:gd name="connsiteX66" fmla="*/ 212943 w 501126"/>
              <a:gd name="connsiteY66" fmla="*/ 544883 h 638828"/>
              <a:gd name="connsiteX67" fmla="*/ 222337 w 501126"/>
              <a:gd name="connsiteY67" fmla="*/ 538620 h 638828"/>
              <a:gd name="connsiteX68" fmla="*/ 250521 w 501126"/>
              <a:gd name="connsiteY68" fmla="*/ 544883 h 638828"/>
              <a:gd name="connsiteX69" fmla="*/ 259915 w 501126"/>
              <a:gd name="connsiteY69" fmla="*/ 548014 h 638828"/>
              <a:gd name="connsiteX70" fmla="*/ 266178 w 501126"/>
              <a:gd name="connsiteY70" fmla="*/ 557409 h 638828"/>
              <a:gd name="connsiteX71" fmla="*/ 259915 w 501126"/>
              <a:gd name="connsiteY71" fmla="*/ 576198 h 638828"/>
              <a:gd name="connsiteX72" fmla="*/ 269310 w 501126"/>
              <a:gd name="connsiteY72" fmla="*/ 579329 h 638828"/>
              <a:gd name="connsiteX73" fmla="*/ 281836 w 501126"/>
              <a:gd name="connsiteY73" fmla="*/ 582461 h 638828"/>
              <a:gd name="connsiteX74" fmla="*/ 284967 w 501126"/>
              <a:gd name="connsiteY74" fmla="*/ 591855 h 638828"/>
              <a:gd name="connsiteX75" fmla="*/ 291231 w 501126"/>
              <a:gd name="connsiteY75" fmla="*/ 601250 h 638828"/>
              <a:gd name="connsiteX76" fmla="*/ 331940 w 501126"/>
              <a:gd name="connsiteY76" fmla="*/ 598118 h 638828"/>
              <a:gd name="connsiteX77" fmla="*/ 366387 w 501126"/>
              <a:gd name="connsiteY77" fmla="*/ 594987 h 638828"/>
              <a:gd name="connsiteX78" fmla="*/ 363255 w 501126"/>
              <a:gd name="connsiteY78" fmla="*/ 573066 h 638828"/>
              <a:gd name="connsiteX79" fmla="*/ 350729 w 501126"/>
              <a:gd name="connsiteY79" fmla="*/ 554277 h 638828"/>
              <a:gd name="connsiteX80" fmla="*/ 353861 w 501126"/>
              <a:gd name="connsiteY80" fmla="*/ 535488 h 638828"/>
              <a:gd name="connsiteX81" fmla="*/ 363255 w 501126"/>
              <a:gd name="connsiteY81" fmla="*/ 526094 h 638828"/>
              <a:gd name="connsiteX82" fmla="*/ 372650 w 501126"/>
              <a:gd name="connsiteY82" fmla="*/ 507305 h 638828"/>
              <a:gd name="connsiteX83" fmla="*/ 375781 w 501126"/>
              <a:gd name="connsiteY83" fmla="*/ 488515 h 638828"/>
              <a:gd name="connsiteX84" fmla="*/ 382044 w 501126"/>
              <a:gd name="connsiteY84" fmla="*/ 469726 h 638828"/>
              <a:gd name="connsiteX85" fmla="*/ 388307 w 501126"/>
              <a:gd name="connsiteY85" fmla="*/ 441543 h 638828"/>
              <a:gd name="connsiteX86" fmla="*/ 385176 w 501126"/>
              <a:gd name="connsiteY86" fmla="*/ 422754 h 638828"/>
              <a:gd name="connsiteX87" fmla="*/ 366387 w 501126"/>
              <a:gd name="connsiteY87" fmla="*/ 410228 h 638828"/>
              <a:gd name="connsiteX88" fmla="*/ 369649 w 501126"/>
              <a:gd name="connsiteY88" fmla="*/ 396070 h 638828"/>
              <a:gd name="connsiteX89" fmla="*/ 369649 w 501126"/>
              <a:gd name="connsiteY89" fmla="*/ 372650 h 638828"/>
              <a:gd name="connsiteX90" fmla="*/ 372650 w 501126"/>
              <a:gd name="connsiteY90" fmla="*/ 353861 h 638828"/>
              <a:gd name="connsiteX91" fmla="*/ 369518 w 501126"/>
              <a:gd name="connsiteY91" fmla="*/ 344466 h 638828"/>
              <a:gd name="connsiteX92" fmla="*/ 350729 w 501126"/>
              <a:gd name="connsiteY92" fmla="*/ 325677 h 638828"/>
              <a:gd name="connsiteX93" fmla="*/ 344466 w 501126"/>
              <a:gd name="connsiteY93" fmla="*/ 316283 h 638828"/>
              <a:gd name="connsiteX94" fmla="*/ 344466 w 501126"/>
              <a:gd name="connsiteY94" fmla="*/ 275573 h 638828"/>
              <a:gd name="connsiteX95" fmla="*/ 353861 w 501126"/>
              <a:gd name="connsiteY95" fmla="*/ 269310 h 638828"/>
              <a:gd name="connsiteX96" fmla="*/ 372650 w 501126"/>
              <a:gd name="connsiteY96" fmla="*/ 278705 h 638828"/>
              <a:gd name="connsiteX97" fmla="*/ 379663 w 501126"/>
              <a:gd name="connsiteY97" fmla="*/ 291361 h 638828"/>
              <a:gd name="connsiteX98" fmla="*/ 384295 w 501126"/>
              <a:gd name="connsiteY98" fmla="*/ 300756 h 638828"/>
              <a:gd name="connsiteX99" fmla="*/ 403214 w 501126"/>
              <a:gd name="connsiteY99" fmla="*/ 308650 h 638828"/>
              <a:gd name="connsiteX100" fmla="*/ 432279 w 501126"/>
              <a:gd name="connsiteY100" fmla="*/ 310150 h 638828"/>
              <a:gd name="connsiteX101" fmla="*/ 458831 w 501126"/>
              <a:gd name="connsiteY101" fmla="*/ 298374 h 638828"/>
              <a:gd name="connsiteX102" fmla="*/ 460332 w 501126"/>
              <a:gd name="connsiteY102" fmla="*/ 281836 h 638828"/>
              <a:gd name="connsiteX103" fmla="*/ 457200 w 501126"/>
              <a:gd name="connsiteY103" fmla="*/ 259915 h 638828"/>
              <a:gd name="connsiteX104" fmla="*/ 454069 w 501126"/>
              <a:gd name="connsiteY104" fmla="*/ 250521 h 638828"/>
              <a:gd name="connsiteX105" fmla="*/ 435280 w 501126"/>
              <a:gd name="connsiteY105" fmla="*/ 231732 h 638828"/>
              <a:gd name="connsiteX106" fmla="*/ 438411 w 501126"/>
              <a:gd name="connsiteY106" fmla="*/ 212943 h 638828"/>
              <a:gd name="connsiteX107" fmla="*/ 457200 w 501126"/>
              <a:gd name="connsiteY107" fmla="*/ 206680 h 638828"/>
              <a:gd name="connsiteX108" fmla="*/ 466595 w 501126"/>
              <a:gd name="connsiteY108" fmla="*/ 203548 h 638828"/>
              <a:gd name="connsiteX109" fmla="*/ 501041 w 501126"/>
              <a:gd name="connsiteY109" fmla="*/ 184759 h 638828"/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57130 w 501126"/>
              <a:gd name="connsiteY24" fmla="*/ 193991 h 638828"/>
              <a:gd name="connsiteX25" fmla="*/ 148551 w 501126"/>
              <a:gd name="connsiteY25" fmla="*/ 226970 h 638828"/>
              <a:gd name="connsiteX26" fmla="*/ 140788 w 501126"/>
              <a:gd name="connsiteY26" fmla="*/ 248140 h 638828"/>
              <a:gd name="connsiteX27" fmla="*/ 132144 w 501126"/>
              <a:gd name="connsiteY27" fmla="*/ 265429 h 638828"/>
              <a:gd name="connsiteX28" fmla="*/ 131524 w 501126"/>
              <a:gd name="connsiteY28" fmla="*/ 281836 h 638828"/>
              <a:gd name="connsiteX29" fmla="*/ 118867 w 501126"/>
              <a:gd name="connsiteY29" fmla="*/ 288850 h 638828"/>
              <a:gd name="connsiteX30" fmla="*/ 118998 w 501126"/>
              <a:gd name="connsiteY30" fmla="*/ 300625 h 638828"/>
              <a:gd name="connsiteX31" fmla="*/ 106472 w 501126"/>
              <a:gd name="connsiteY31" fmla="*/ 319414 h 638828"/>
              <a:gd name="connsiteX32" fmla="*/ 97077 w 501126"/>
              <a:gd name="connsiteY32" fmla="*/ 328809 h 638828"/>
              <a:gd name="connsiteX33" fmla="*/ 84551 w 501126"/>
              <a:gd name="connsiteY33" fmla="*/ 347598 h 638828"/>
              <a:gd name="connsiteX34" fmla="*/ 78288 w 501126"/>
              <a:gd name="connsiteY34" fmla="*/ 356992 h 638828"/>
              <a:gd name="connsiteX35" fmla="*/ 65762 w 501126"/>
              <a:gd name="connsiteY35" fmla="*/ 366387 h 638828"/>
              <a:gd name="connsiteX36" fmla="*/ 37578 w 501126"/>
              <a:gd name="connsiteY36" fmla="*/ 388307 h 638828"/>
              <a:gd name="connsiteX37" fmla="*/ 28184 w 501126"/>
              <a:gd name="connsiteY37" fmla="*/ 394570 h 638828"/>
              <a:gd name="connsiteX38" fmla="*/ 18789 w 501126"/>
              <a:gd name="connsiteY38" fmla="*/ 397702 h 638828"/>
              <a:gd name="connsiteX39" fmla="*/ 0 w 501126"/>
              <a:gd name="connsiteY39" fmla="*/ 410228 h 638828"/>
              <a:gd name="connsiteX40" fmla="*/ 9395 w 501126"/>
              <a:gd name="connsiteY40" fmla="*/ 413359 h 638828"/>
              <a:gd name="connsiteX41" fmla="*/ 21921 w 501126"/>
              <a:gd name="connsiteY41" fmla="*/ 416491 h 638828"/>
              <a:gd name="connsiteX42" fmla="*/ 31315 w 501126"/>
              <a:gd name="connsiteY42" fmla="*/ 422754 h 638828"/>
              <a:gd name="connsiteX43" fmla="*/ 34447 w 501126"/>
              <a:gd name="connsiteY43" fmla="*/ 479121 h 638828"/>
              <a:gd name="connsiteX44" fmla="*/ 37578 w 501126"/>
              <a:gd name="connsiteY44" fmla="*/ 488515 h 638828"/>
              <a:gd name="connsiteX45" fmla="*/ 46973 w 501126"/>
              <a:gd name="connsiteY45" fmla="*/ 491647 h 638828"/>
              <a:gd name="connsiteX46" fmla="*/ 75157 w 501126"/>
              <a:gd name="connsiteY46" fmla="*/ 491647 h 638828"/>
              <a:gd name="connsiteX47" fmla="*/ 78288 w 501126"/>
              <a:gd name="connsiteY47" fmla="*/ 501042 h 638828"/>
              <a:gd name="connsiteX48" fmla="*/ 87683 w 501126"/>
              <a:gd name="connsiteY48" fmla="*/ 504173 h 638828"/>
              <a:gd name="connsiteX49" fmla="*/ 112735 w 501126"/>
              <a:gd name="connsiteY49" fmla="*/ 507305 h 638828"/>
              <a:gd name="connsiteX50" fmla="*/ 93946 w 501126"/>
              <a:gd name="connsiteY50" fmla="*/ 522962 h 638828"/>
              <a:gd name="connsiteX51" fmla="*/ 90814 w 501126"/>
              <a:gd name="connsiteY51" fmla="*/ 532357 h 638828"/>
              <a:gd name="connsiteX52" fmla="*/ 97077 w 501126"/>
              <a:gd name="connsiteY52" fmla="*/ 541751 h 638828"/>
              <a:gd name="connsiteX53" fmla="*/ 103340 w 501126"/>
              <a:gd name="connsiteY53" fmla="*/ 560540 h 638828"/>
              <a:gd name="connsiteX54" fmla="*/ 100209 w 501126"/>
              <a:gd name="connsiteY54" fmla="*/ 573066 h 638828"/>
              <a:gd name="connsiteX55" fmla="*/ 103340 w 501126"/>
              <a:gd name="connsiteY55" fmla="*/ 610644 h 638828"/>
              <a:gd name="connsiteX56" fmla="*/ 112735 w 501126"/>
              <a:gd name="connsiteY56" fmla="*/ 613776 h 638828"/>
              <a:gd name="connsiteX57" fmla="*/ 150313 w 501126"/>
              <a:gd name="connsiteY57" fmla="*/ 616907 h 638828"/>
              <a:gd name="connsiteX58" fmla="*/ 156576 w 501126"/>
              <a:gd name="connsiteY58" fmla="*/ 626302 h 638828"/>
              <a:gd name="connsiteX59" fmla="*/ 175365 w 501126"/>
              <a:gd name="connsiteY59" fmla="*/ 632565 h 638828"/>
              <a:gd name="connsiteX60" fmla="*/ 184759 w 501126"/>
              <a:gd name="connsiteY60" fmla="*/ 638828 h 638828"/>
              <a:gd name="connsiteX61" fmla="*/ 203548 w 501126"/>
              <a:gd name="connsiteY61" fmla="*/ 629433 h 638828"/>
              <a:gd name="connsiteX62" fmla="*/ 209811 w 501126"/>
              <a:gd name="connsiteY62" fmla="*/ 620039 h 638828"/>
              <a:gd name="connsiteX63" fmla="*/ 219206 w 501126"/>
              <a:gd name="connsiteY63" fmla="*/ 610644 h 638828"/>
              <a:gd name="connsiteX64" fmla="*/ 209811 w 501126"/>
              <a:gd name="connsiteY64" fmla="*/ 601250 h 638828"/>
              <a:gd name="connsiteX65" fmla="*/ 209811 w 501126"/>
              <a:gd name="connsiteY65" fmla="*/ 557409 h 638828"/>
              <a:gd name="connsiteX66" fmla="*/ 212943 w 501126"/>
              <a:gd name="connsiteY66" fmla="*/ 544883 h 638828"/>
              <a:gd name="connsiteX67" fmla="*/ 222337 w 501126"/>
              <a:gd name="connsiteY67" fmla="*/ 538620 h 638828"/>
              <a:gd name="connsiteX68" fmla="*/ 250521 w 501126"/>
              <a:gd name="connsiteY68" fmla="*/ 544883 h 638828"/>
              <a:gd name="connsiteX69" fmla="*/ 259915 w 501126"/>
              <a:gd name="connsiteY69" fmla="*/ 548014 h 638828"/>
              <a:gd name="connsiteX70" fmla="*/ 266178 w 501126"/>
              <a:gd name="connsiteY70" fmla="*/ 557409 h 638828"/>
              <a:gd name="connsiteX71" fmla="*/ 259915 w 501126"/>
              <a:gd name="connsiteY71" fmla="*/ 576198 h 638828"/>
              <a:gd name="connsiteX72" fmla="*/ 269310 w 501126"/>
              <a:gd name="connsiteY72" fmla="*/ 579329 h 638828"/>
              <a:gd name="connsiteX73" fmla="*/ 281836 w 501126"/>
              <a:gd name="connsiteY73" fmla="*/ 582461 h 638828"/>
              <a:gd name="connsiteX74" fmla="*/ 284967 w 501126"/>
              <a:gd name="connsiteY74" fmla="*/ 591855 h 638828"/>
              <a:gd name="connsiteX75" fmla="*/ 291231 w 501126"/>
              <a:gd name="connsiteY75" fmla="*/ 601250 h 638828"/>
              <a:gd name="connsiteX76" fmla="*/ 331940 w 501126"/>
              <a:gd name="connsiteY76" fmla="*/ 598118 h 638828"/>
              <a:gd name="connsiteX77" fmla="*/ 366387 w 501126"/>
              <a:gd name="connsiteY77" fmla="*/ 594987 h 638828"/>
              <a:gd name="connsiteX78" fmla="*/ 363255 w 501126"/>
              <a:gd name="connsiteY78" fmla="*/ 573066 h 638828"/>
              <a:gd name="connsiteX79" fmla="*/ 350729 w 501126"/>
              <a:gd name="connsiteY79" fmla="*/ 554277 h 638828"/>
              <a:gd name="connsiteX80" fmla="*/ 353861 w 501126"/>
              <a:gd name="connsiteY80" fmla="*/ 535488 h 638828"/>
              <a:gd name="connsiteX81" fmla="*/ 363255 w 501126"/>
              <a:gd name="connsiteY81" fmla="*/ 526094 h 638828"/>
              <a:gd name="connsiteX82" fmla="*/ 372650 w 501126"/>
              <a:gd name="connsiteY82" fmla="*/ 507305 h 638828"/>
              <a:gd name="connsiteX83" fmla="*/ 375781 w 501126"/>
              <a:gd name="connsiteY83" fmla="*/ 488515 h 638828"/>
              <a:gd name="connsiteX84" fmla="*/ 382044 w 501126"/>
              <a:gd name="connsiteY84" fmla="*/ 469726 h 638828"/>
              <a:gd name="connsiteX85" fmla="*/ 388307 w 501126"/>
              <a:gd name="connsiteY85" fmla="*/ 441543 h 638828"/>
              <a:gd name="connsiteX86" fmla="*/ 385176 w 501126"/>
              <a:gd name="connsiteY86" fmla="*/ 422754 h 638828"/>
              <a:gd name="connsiteX87" fmla="*/ 366387 w 501126"/>
              <a:gd name="connsiteY87" fmla="*/ 410228 h 638828"/>
              <a:gd name="connsiteX88" fmla="*/ 369649 w 501126"/>
              <a:gd name="connsiteY88" fmla="*/ 396070 h 638828"/>
              <a:gd name="connsiteX89" fmla="*/ 369649 w 501126"/>
              <a:gd name="connsiteY89" fmla="*/ 372650 h 638828"/>
              <a:gd name="connsiteX90" fmla="*/ 372650 w 501126"/>
              <a:gd name="connsiteY90" fmla="*/ 353861 h 638828"/>
              <a:gd name="connsiteX91" fmla="*/ 369518 w 501126"/>
              <a:gd name="connsiteY91" fmla="*/ 344466 h 638828"/>
              <a:gd name="connsiteX92" fmla="*/ 350729 w 501126"/>
              <a:gd name="connsiteY92" fmla="*/ 325677 h 638828"/>
              <a:gd name="connsiteX93" fmla="*/ 344466 w 501126"/>
              <a:gd name="connsiteY93" fmla="*/ 316283 h 638828"/>
              <a:gd name="connsiteX94" fmla="*/ 344466 w 501126"/>
              <a:gd name="connsiteY94" fmla="*/ 275573 h 638828"/>
              <a:gd name="connsiteX95" fmla="*/ 353861 w 501126"/>
              <a:gd name="connsiteY95" fmla="*/ 269310 h 638828"/>
              <a:gd name="connsiteX96" fmla="*/ 372650 w 501126"/>
              <a:gd name="connsiteY96" fmla="*/ 278705 h 638828"/>
              <a:gd name="connsiteX97" fmla="*/ 379663 w 501126"/>
              <a:gd name="connsiteY97" fmla="*/ 291361 h 638828"/>
              <a:gd name="connsiteX98" fmla="*/ 384295 w 501126"/>
              <a:gd name="connsiteY98" fmla="*/ 300756 h 638828"/>
              <a:gd name="connsiteX99" fmla="*/ 403214 w 501126"/>
              <a:gd name="connsiteY99" fmla="*/ 308650 h 638828"/>
              <a:gd name="connsiteX100" fmla="*/ 432279 w 501126"/>
              <a:gd name="connsiteY100" fmla="*/ 310150 h 638828"/>
              <a:gd name="connsiteX101" fmla="*/ 458831 w 501126"/>
              <a:gd name="connsiteY101" fmla="*/ 298374 h 638828"/>
              <a:gd name="connsiteX102" fmla="*/ 460332 w 501126"/>
              <a:gd name="connsiteY102" fmla="*/ 281836 h 638828"/>
              <a:gd name="connsiteX103" fmla="*/ 457200 w 501126"/>
              <a:gd name="connsiteY103" fmla="*/ 259915 h 638828"/>
              <a:gd name="connsiteX104" fmla="*/ 454069 w 501126"/>
              <a:gd name="connsiteY104" fmla="*/ 250521 h 638828"/>
              <a:gd name="connsiteX105" fmla="*/ 435280 w 501126"/>
              <a:gd name="connsiteY105" fmla="*/ 231732 h 638828"/>
              <a:gd name="connsiteX106" fmla="*/ 438411 w 501126"/>
              <a:gd name="connsiteY106" fmla="*/ 212943 h 638828"/>
              <a:gd name="connsiteX107" fmla="*/ 457200 w 501126"/>
              <a:gd name="connsiteY107" fmla="*/ 206680 h 638828"/>
              <a:gd name="connsiteX108" fmla="*/ 466595 w 501126"/>
              <a:gd name="connsiteY108" fmla="*/ 203548 h 638828"/>
              <a:gd name="connsiteX109" fmla="*/ 501041 w 501126"/>
              <a:gd name="connsiteY109" fmla="*/ 184759 h 638828"/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57130 w 501126"/>
              <a:gd name="connsiteY24" fmla="*/ 193991 h 638828"/>
              <a:gd name="connsiteX25" fmla="*/ 148551 w 501126"/>
              <a:gd name="connsiteY25" fmla="*/ 226970 h 638828"/>
              <a:gd name="connsiteX26" fmla="*/ 140788 w 501126"/>
              <a:gd name="connsiteY26" fmla="*/ 248140 h 638828"/>
              <a:gd name="connsiteX27" fmla="*/ 132144 w 501126"/>
              <a:gd name="connsiteY27" fmla="*/ 265429 h 638828"/>
              <a:gd name="connsiteX28" fmla="*/ 131524 w 501126"/>
              <a:gd name="connsiteY28" fmla="*/ 281836 h 638828"/>
              <a:gd name="connsiteX29" fmla="*/ 118867 w 501126"/>
              <a:gd name="connsiteY29" fmla="*/ 288850 h 638828"/>
              <a:gd name="connsiteX30" fmla="*/ 111854 w 501126"/>
              <a:gd name="connsiteY30" fmla="*/ 300625 h 638828"/>
              <a:gd name="connsiteX31" fmla="*/ 106472 w 501126"/>
              <a:gd name="connsiteY31" fmla="*/ 319414 h 638828"/>
              <a:gd name="connsiteX32" fmla="*/ 97077 w 501126"/>
              <a:gd name="connsiteY32" fmla="*/ 328809 h 638828"/>
              <a:gd name="connsiteX33" fmla="*/ 84551 w 501126"/>
              <a:gd name="connsiteY33" fmla="*/ 347598 h 638828"/>
              <a:gd name="connsiteX34" fmla="*/ 78288 w 501126"/>
              <a:gd name="connsiteY34" fmla="*/ 356992 h 638828"/>
              <a:gd name="connsiteX35" fmla="*/ 65762 w 501126"/>
              <a:gd name="connsiteY35" fmla="*/ 366387 h 638828"/>
              <a:gd name="connsiteX36" fmla="*/ 37578 w 501126"/>
              <a:gd name="connsiteY36" fmla="*/ 388307 h 638828"/>
              <a:gd name="connsiteX37" fmla="*/ 28184 w 501126"/>
              <a:gd name="connsiteY37" fmla="*/ 394570 h 638828"/>
              <a:gd name="connsiteX38" fmla="*/ 18789 w 501126"/>
              <a:gd name="connsiteY38" fmla="*/ 397702 h 638828"/>
              <a:gd name="connsiteX39" fmla="*/ 0 w 501126"/>
              <a:gd name="connsiteY39" fmla="*/ 410228 h 638828"/>
              <a:gd name="connsiteX40" fmla="*/ 9395 w 501126"/>
              <a:gd name="connsiteY40" fmla="*/ 413359 h 638828"/>
              <a:gd name="connsiteX41" fmla="*/ 21921 w 501126"/>
              <a:gd name="connsiteY41" fmla="*/ 416491 h 638828"/>
              <a:gd name="connsiteX42" fmla="*/ 31315 w 501126"/>
              <a:gd name="connsiteY42" fmla="*/ 422754 h 638828"/>
              <a:gd name="connsiteX43" fmla="*/ 34447 w 501126"/>
              <a:gd name="connsiteY43" fmla="*/ 479121 h 638828"/>
              <a:gd name="connsiteX44" fmla="*/ 37578 w 501126"/>
              <a:gd name="connsiteY44" fmla="*/ 488515 h 638828"/>
              <a:gd name="connsiteX45" fmla="*/ 46973 w 501126"/>
              <a:gd name="connsiteY45" fmla="*/ 491647 h 638828"/>
              <a:gd name="connsiteX46" fmla="*/ 75157 w 501126"/>
              <a:gd name="connsiteY46" fmla="*/ 491647 h 638828"/>
              <a:gd name="connsiteX47" fmla="*/ 78288 w 501126"/>
              <a:gd name="connsiteY47" fmla="*/ 501042 h 638828"/>
              <a:gd name="connsiteX48" fmla="*/ 87683 w 501126"/>
              <a:gd name="connsiteY48" fmla="*/ 504173 h 638828"/>
              <a:gd name="connsiteX49" fmla="*/ 112735 w 501126"/>
              <a:gd name="connsiteY49" fmla="*/ 507305 h 638828"/>
              <a:gd name="connsiteX50" fmla="*/ 93946 w 501126"/>
              <a:gd name="connsiteY50" fmla="*/ 522962 h 638828"/>
              <a:gd name="connsiteX51" fmla="*/ 90814 w 501126"/>
              <a:gd name="connsiteY51" fmla="*/ 532357 h 638828"/>
              <a:gd name="connsiteX52" fmla="*/ 97077 w 501126"/>
              <a:gd name="connsiteY52" fmla="*/ 541751 h 638828"/>
              <a:gd name="connsiteX53" fmla="*/ 103340 w 501126"/>
              <a:gd name="connsiteY53" fmla="*/ 560540 h 638828"/>
              <a:gd name="connsiteX54" fmla="*/ 100209 w 501126"/>
              <a:gd name="connsiteY54" fmla="*/ 573066 h 638828"/>
              <a:gd name="connsiteX55" fmla="*/ 103340 w 501126"/>
              <a:gd name="connsiteY55" fmla="*/ 610644 h 638828"/>
              <a:gd name="connsiteX56" fmla="*/ 112735 w 501126"/>
              <a:gd name="connsiteY56" fmla="*/ 613776 h 638828"/>
              <a:gd name="connsiteX57" fmla="*/ 150313 w 501126"/>
              <a:gd name="connsiteY57" fmla="*/ 616907 h 638828"/>
              <a:gd name="connsiteX58" fmla="*/ 156576 w 501126"/>
              <a:gd name="connsiteY58" fmla="*/ 626302 h 638828"/>
              <a:gd name="connsiteX59" fmla="*/ 175365 w 501126"/>
              <a:gd name="connsiteY59" fmla="*/ 632565 h 638828"/>
              <a:gd name="connsiteX60" fmla="*/ 184759 w 501126"/>
              <a:gd name="connsiteY60" fmla="*/ 638828 h 638828"/>
              <a:gd name="connsiteX61" fmla="*/ 203548 w 501126"/>
              <a:gd name="connsiteY61" fmla="*/ 629433 h 638828"/>
              <a:gd name="connsiteX62" fmla="*/ 209811 w 501126"/>
              <a:gd name="connsiteY62" fmla="*/ 620039 h 638828"/>
              <a:gd name="connsiteX63" fmla="*/ 219206 w 501126"/>
              <a:gd name="connsiteY63" fmla="*/ 610644 h 638828"/>
              <a:gd name="connsiteX64" fmla="*/ 209811 w 501126"/>
              <a:gd name="connsiteY64" fmla="*/ 601250 h 638828"/>
              <a:gd name="connsiteX65" fmla="*/ 209811 w 501126"/>
              <a:gd name="connsiteY65" fmla="*/ 557409 h 638828"/>
              <a:gd name="connsiteX66" fmla="*/ 212943 w 501126"/>
              <a:gd name="connsiteY66" fmla="*/ 544883 h 638828"/>
              <a:gd name="connsiteX67" fmla="*/ 222337 w 501126"/>
              <a:gd name="connsiteY67" fmla="*/ 538620 h 638828"/>
              <a:gd name="connsiteX68" fmla="*/ 250521 w 501126"/>
              <a:gd name="connsiteY68" fmla="*/ 544883 h 638828"/>
              <a:gd name="connsiteX69" fmla="*/ 259915 w 501126"/>
              <a:gd name="connsiteY69" fmla="*/ 548014 h 638828"/>
              <a:gd name="connsiteX70" fmla="*/ 266178 w 501126"/>
              <a:gd name="connsiteY70" fmla="*/ 557409 h 638828"/>
              <a:gd name="connsiteX71" fmla="*/ 259915 w 501126"/>
              <a:gd name="connsiteY71" fmla="*/ 576198 h 638828"/>
              <a:gd name="connsiteX72" fmla="*/ 269310 w 501126"/>
              <a:gd name="connsiteY72" fmla="*/ 579329 h 638828"/>
              <a:gd name="connsiteX73" fmla="*/ 281836 w 501126"/>
              <a:gd name="connsiteY73" fmla="*/ 582461 h 638828"/>
              <a:gd name="connsiteX74" fmla="*/ 284967 w 501126"/>
              <a:gd name="connsiteY74" fmla="*/ 591855 h 638828"/>
              <a:gd name="connsiteX75" fmla="*/ 291231 w 501126"/>
              <a:gd name="connsiteY75" fmla="*/ 601250 h 638828"/>
              <a:gd name="connsiteX76" fmla="*/ 331940 w 501126"/>
              <a:gd name="connsiteY76" fmla="*/ 598118 h 638828"/>
              <a:gd name="connsiteX77" fmla="*/ 366387 w 501126"/>
              <a:gd name="connsiteY77" fmla="*/ 594987 h 638828"/>
              <a:gd name="connsiteX78" fmla="*/ 363255 w 501126"/>
              <a:gd name="connsiteY78" fmla="*/ 573066 h 638828"/>
              <a:gd name="connsiteX79" fmla="*/ 350729 w 501126"/>
              <a:gd name="connsiteY79" fmla="*/ 554277 h 638828"/>
              <a:gd name="connsiteX80" fmla="*/ 353861 w 501126"/>
              <a:gd name="connsiteY80" fmla="*/ 535488 h 638828"/>
              <a:gd name="connsiteX81" fmla="*/ 363255 w 501126"/>
              <a:gd name="connsiteY81" fmla="*/ 526094 h 638828"/>
              <a:gd name="connsiteX82" fmla="*/ 372650 w 501126"/>
              <a:gd name="connsiteY82" fmla="*/ 507305 h 638828"/>
              <a:gd name="connsiteX83" fmla="*/ 375781 w 501126"/>
              <a:gd name="connsiteY83" fmla="*/ 488515 h 638828"/>
              <a:gd name="connsiteX84" fmla="*/ 382044 w 501126"/>
              <a:gd name="connsiteY84" fmla="*/ 469726 h 638828"/>
              <a:gd name="connsiteX85" fmla="*/ 388307 w 501126"/>
              <a:gd name="connsiteY85" fmla="*/ 441543 h 638828"/>
              <a:gd name="connsiteX86" fmla="*/ 385176 w 501126"/>
              <a:gd name="connsiteY86" fmla="*/ 422754 h 638828"/>
              <a:gd name="connsiteX87" fmla="*/ 366387 w 501126"/>
              <a:gd name="connsiteY87" fmla="*/ 410228 h 638828"/>
              <a:gd name="connsiteX88" fmla="*/ 369649 w 501126"/>
              <a:gd name="connsiteY88" fmla="*/ 396070 h 638828"/>
              <a:gd name="connsiteX89" fmla="*/ 369649 w 501126"/>
              <a:gd name="connsiteY89" fmla="*/ 372650 h 638828"/>
              <a:gd name="connsiteX90" fmla="*/ 372650 w 501126"/>
              <a:gd name="connsiteY90" fmla="*/ 353861 h 638828"/>
              <a:gd name="connsiteX91" fmla="*/ 369518 w 501126"/>
              <a:gd name="connsiteY91" fmla="*/ 344466 h 638828"/>
              <a:gd name="connsiteX92" fmla="*/ 350729 w 501126"/>
              <a:gd name="connsiteY92" fmla="*/ 325677 h 638828"/>
              <a:gd name="connsiteX93" fmla="*/ 344466 w 501126"/>
              <a:gd name="connsiteY93" fmla="*/ 316283 h 638828"/>
              <a:gd name="connsiteX94" fmla="*/ 344466 w 501126"/>
              <a:gd name="connsiteY94" fmla="*/ 275573 h 638828"/>
              <a:gd name="connsiteX95" fmla="*/ 353861 w 501126"/>
              <a:gd name="connsiteY95" fmla="*/ 269310 h 638828"/>
              <a:gd name="connsiteX96" fmla="*/ 372650 w 501126"/>
              <a:gd name="connsiteY96" fmla="*/ 278705 h 638828"/>
              <a:gd name="connsiteX97" fmla="*/ 379663 w 501126"/>
              <a:gd name="connsiteY97" fmla="*/ 291361 h 638828"/>
              <a:gd name="connsiteX98" fmla="*/ 384295 w 501126"/>
              <a:gd name="connsiteY98" fmla="*/ 300756 h 638828"/>
              <a:gd name="connsiteX99" fmla="*/ 403214 w 501126"/>
              <a:gd name="connsiteY99" fmla="*/ 308650 h 638828"/>
              <a:gd name="connsiteX100" fmla="*/ 432279 w 501126"/>
              <a:gd name="connsiteY100" fmla="*/ 310150 h 638828"/>
              <a:gd name="connsiteX101" fmla="*/ 458831 w 501126"/>
              <a:gd name="connsiteY101" fmla="*/ 298374 h 638828"/>
              <a:gd name="connsiteX102" fmla="*/ 460332 w 501126"/>
              <a:gd name="connsiteY102" fmla="*/ 281836 h 638828"/>
              <a:gd name="connsiteX103" fmla="*/ 457200 w 501126"/>
              <a:gd name="connsiteY103" fmla="*/ 259915 h 638828"/>
              <a:gd name="connsiteX104" fmla="*/ 454069 w 501126"/>
              <a:gd name="connsiteY104" fmla="*/ 250521 h 638828"/>
              <a:gd name="connsiteX105" fmla="*/ 435280 w 501126"/>
              <a:gd name="connsiteY105" fmla="*/ 231732 h 638828"/>
              <a:gd name="connsiteX106" fmla="*/ 438411 w 501126"/>
              <a:gd name="connsiteY106" fmla="*/ 212943 h 638828"/>
              <a:gd name="connsiteX107" fmla="*/ 457200 w 501126"/>
              <a:gd name="connsiteY107" fmla="*/ 206680 h 638828"/>
              <a:gd name="connsiteX108" fmla="*/ 466595 w 501126"/>
              <a:gd name="connsiteY108" fmla="*/ 203548 h 638828"/>
              <a:gd name="connsiteX109" fmla="*/ 501041 w 501126"/>
              <a:gd name="connsiteY109" fmla="*/ 184759 h 638828"/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57130 w 501126"/>
              <a:gd name="connsiteY24" fmla="*/ 193991 h 638828"/>
              <a:gd name="connsiteX25" fmla="*/ 148551 w 501126"/>
              <a:gd name="connsiteY25" fmla="*/ 226970 h 638828"/>
              <a:gd name="connsiteX26" fmla="*/ 140788 w 501126"/>
              <a:gd name="connsiteY26" fmla="*/ 248140 h 638828"/>
              <a:gd name="connsiteX27" fmla="*/ 132144 w 501126"/>
              <a:gd name="connsiteY27" fmla="*/ 265429 h 638828"/>
              <a:gd name="connsiteX28" fmla="*/ 114855 w 501126"/>
              <a:gd name="connsiteY28" fmla="*/ 277074 h 638828"/>
              <a:gd name="connsiteX29" fmla="*/ 118867 w 501126"/>
              <a:gd name="connsiteY29" fmla="*/ 288850 h 638828"/>
              <a:gd name="connsiteX30" fmla="*/ 111854 w 501126"/>
              <a:gd name="connsiteY30" fmla="*/ 300625 h 638828"/>
              <a:gd name="connsiteX31" fmla="*/ 106472 w 501126"/>
              <a:gd name="connsiteY31" fmla="*/ 319414 h 638828"/>
              <a:gd name="connsiteX32" fmla="*/ 97077 w 501126"/>
              <a:gd name="connsiteY32" fmla="*/ 328809 h 638828"/>
              <a:gd name="connsiteX33" fmla="*/ 84551 w 501126"/>
              <a:gd name="connsiteY33" fmla="*/ 347598 h 638828"/>
              <a:gd name="connsiteX34" fmla="*/ 78288 w 501126"/>
              <a:gd name="connsiteY34" fmla="*/ 356992 h 638828"/>
              <a:gd name="connsiteX35" fmla="*/ 65762 w 501126"/>
              <a:gd name="connsiteY35" fmla="*/ 366387 h 638828"/>
              <a:gd name="connsiteX36" fmla="*/ 37578 w 501126"/>
              <a:gd name="connsiteY36" fmla="*/ 388307 h 638828"/>
              <a:gd name="connsiteX37" fmla="*/ 28184 w 501126"/>
              <a:gd name="connsiteY37" fmla="*/ 394570 h 638828"/>
              <a:gd name="connsiteX38" fmla="*/ 18789 w 501126"/>
              <a:gd name="connsiteY38" fmla="*/ 397702 h 638828"/>
              <a:gd name="connsiteX39" fmla="*/ 0 w 501126"/>
              <a:gd name="connsiteY39" fmla="*/ 410228 h 638828"/>
              <a:gd name="connsiteX40" fmla="*/ 9395 w 501126"/>
              <a:gd name="connsiteY40" fmla="*/ 413359 h 638828"/>
              <a:gd name="connsiteX41" fmla="*/ 21921 w 501126"/>
              <a:gd name="connsiteY41" fmla="*/ 416491 h 638828"/>
              <a:gd name="connsiteX42" fmla="*/ 31315 w 501126"/>
              <a:gd name="connsiteY42" fmla="*/ 422754 h 638828"/>
              <a:gd name="connsiteX43" fmla="*/ 34447 w 501126"/>
              <a:gd name="connsiteY43" fmla="*/ 479121 h 638828"/>
              <a:gd name="connsiteX44" fmla="*/ 37578 w 501126"/>
              <a:gd name="connsiteY44" fmla="*/ 488515 h 638828"/>
              <a:gd name="connsiteX45" fmla="*/ 46973 w 501126"/>
              <a:gd name="connsiteY45" fmla="*/ 491647 h 638828"/>
              <a:gd name="connsiteX46" fmla="*/ 75157 w 501126"/>
              <a:gd name="connsiteY46" fmla="*/ 491647 h 638828"/>
              <a:gd name="connsiteX47" fmla="*/ 78288 w 501126"/>
              <a:gd name="connsiteY47" fmla="*/ 501042 h 638828"/>
              <a:gd name="connsiteX48" fmla="*/ 87683 w 501126"/>
              <a:gd name="connsiteY48" fmla="*/ 504173 h 638828"/>
              <a:gd name="connsiteX49" fmla="*/ 112735 w 501126"/>
              <a:gd name="connsiteY49" fmla="*/ 507305 h 638828"/>
              <a:gd name="connsiteX50" fmla="*/ 93946 w 501126"/>
              <a:gd name="connsiteY50" fmla="*/ 522962 h 638828"/>
              <a:gd name="connsiteX51" fmla="*/ 90814 w 501126"/>
              <a:gd name="connsiteY51" fmla="*/ 532357 h 638828"/>
              <a:gd name="connsiteX52" fmla="*/ 97077 w 501126"/>
              <a:gd name="connsiteY52" fmla="*/ 541751 h 638828"/>
              <a:gd name="connsiteX53" fmla="*/ 103340 w 501126"/>
              <a:gd name="connsiteY53" fmla="*/ 560540 h 638828"/>
              <a:gd name="connsiteX54" fmla="*/ 100209 w 501126"/>
              <a:gd name="connsiteY54" fmla="*/ 573066 h 638828"/>
              <a:gd name="connsiteX55" fmla="*/ 103340 w 501126"/>
              <a:gd name="connsiteY55" fmla="*/ 610644 h 638828"/>
              <a:gd name="connsiteX56" fmla="*/ 112735 w 501126"/>
              <a:gd name="connsiteY56" fmla="*/ 613776 h 638828"/>
              <a:gd name="connsiteX57" fmla="*/ 150313 w 501126"/>
              <a:gd name="connsiteY57" fmla="*/ 616907 h 638828"/>
              <a:gd name="connsiteX58" fmla="*/ 156576 w 501126"/>
              <a:gd name="connsiteY58" fmla="*/ 626302 h 638828"/>
              <a:gd name="connsiteX59" fmla="*/ 175365 w 501126"/>
              <a:gd name="connsiteY59" fmla="*/ 632565 h 638828"/>
              <a:gd name="connsiteX60" fmla="*/ 184759 w 501126"/>
              <a:gd name="connsiteY60" fmla="*/ 638828 h 638828"/>
              <a:gd name="connsiteX61" fmla="*/ 203548 w 501126"/>
              <a:gd name="connsiteY61" fmla="*/ 629433 h 638828"/>
              <a:gd name="connsiteX62" fmla="*/ 209811 w 501126"/>
              <a:gd name="connsiteY62" fmla="*/ 620039 h 638828"/>
              <a:gd name="connsiteX63" fmla="*/ 219206 w 501126"/>
              <a:gd name="connsiteY63" fmla="*/ 610644 h 638828"/>
              <a:gd name="connsiteX64" fmla="*/ 209811 w 501126"/>
              <a:gd name="connsiteY64" fmla="*/ 601250 h 638828"/>
              <a:gd name="connsiteX65" fmla="*/ 209811 w 501126"/>
              <a:gd name="connsiteY65" fmla="*/ 557409 h 638828"/>
              <a:gd name="connsiteX66" fmla="*/ 212943 w 501126"/>
              <a:gd name="connsiteY66" fmla="*/ 544883 h 638828"/>
              <a:gd name="connsiteX67" fmla="*/ 222337 w 501126"/>
              <a:gd name="connsiteY67" fmla="*/ 538620 h 638828"/>
              <a:gd name="connsiteX68" fmla="*/ 250521 w 501126"/>
              <a:gd name="connsiteY68" fmla="*/ 544883 h 638828"/>
              <a:gd name="connsiteX69" fmla="*/ 259915 w 501126"/>
              <a:gd name="connsiteY69" fmla="*/ 548014 h 638828"/>
              <a:gd name="connsiteX70" fmla="*/ 266178 w 501126"/>
              <a:gd name="connsiteY70" fmla="*/ 557409 h 638828"/>
              <a:gd name="connsiteX71" fmla="*/ 259915 w 501126"/>
              <a:gd name="connsiteY71" fmla="*/ 576198 h 638828"/>
              <a:gd name="connsiteX72" fmla="*/ 269310 w 501126"/>
              <a:gd name="connsiteY72" fmla="*/ 579329 h 638828"/>
              <a:gd name="connsiteX73" fmla="*/ 281836 w 501126"/>
              <a:gd name="connsiteY73" fmla="*/ 582461 h 638828"/>
              <a:gd name="connsiteX74" fmla="*/ 284967 w 501126"/>
              <a:gd name="connsiteY74" fmla="*/ 591855 h 638828"/>
              <a:gd name="connsiteX75" fmla="*/ 291231 w 501126"/>
              <a:gd name="connsiteY75" fmla="*/ 601250 h 638828"/>
              <a:gd name="connsiteX76" fmla="*/ 331940 w 501126"/>
              <a:gd name="connsiteY76" fmla="*/ 598118 h 638828"/>
              <a:gd name="connsiteX77" fmla="*/ 366387 w 501126"/>
              <a:gd name="connsiteY77" fmla="*/ 594987 h 638828"/>
              <a:gd name="connsiteX78" fmla="*/ 363255 w 501126"/>
              <a:gd name="connsiteY78" fmla="*/ 573066 h 638828"/>
              <a:gd name="connsiteX79" fmla="*/ 350729 w 501126"/>
              <a:gd name="connsiteY79" fmla="*/ 554277 h 638828"/>
              <a:gd name="connsiteX80" fmla="*/ 353861 w 501126"/>
              <a:gd name="connsiteY80" fmla="*/ 535488 h 638828"/>
              <a:gd name="connsiteX81" fmla="*/ 363255 w 501126"/>
              <a:gd name="connsiteY81" fmla="*/ 526094 h 638828"/>
              <a:gd name="connsiteX82" fmla="*/ 372650 w 501126"/>
              <a:gd name="connsiteY82" fmla="*/ 507305 h 638828"/>
              <a:gd name="connsiteX83" fmla="*/ 375781 w 501126"/>
              <a:gd name="connsiteY83" fmla="*/ 488515 h 638828"/>
              <a:gd name="connsiteX84" fmla="*/ 382044 w 501126"/>
              <a:gd name="connsiteY84" fmla="*/ 469726 h 638828"/>
              <a:gd name="connsiteX85" fmla="*/ 388307 w 501126"/>
              <a:gd name="connsiteY85" fmla="*/ 441543 h 638828"/>
              <a:gd name="connsiteX86" fmla="*/ 385176 w 501126"/>
              <a:gd name="connsiteY86" fmla="*/ 422754 h 638828"/>
              <a:gd name="connsiteX87" fmla="*/ 366387 w 501126"/>
              <a:gd name="connsiteY87" fmla="*/ 410228 h 638828"/>
              <a:gd name="connsiteX88" fmla="*/ 369649 w 501126"/>
              <a:gd name="connsiteY88" fmla="*/ 396070 h 638828"/>
              <a:gd name="connsiteX89" fmla="*/ 369649 w 501126"/>
              <a:gd name="connsiteY89" fmla="*/ 372650 h 638828"/>
              <a:gd name="connsiteX90" fmla="*/ 372650 w 501126"/>
              <a:gd name="connsiteY90" fmla="*/ 353861 h 638828"/>
              <a:gd name="connsiteX91" fmla="*/ 369518 w 501126"/>
              <a:gd name="connsiteY91" fmla="*/ 344466 h 638828"/>
              <a:gd name="connsiteX92" fmla="*/ 350729 w 501126"/>
              <a:gd name="connsiteY92" fmla="*/ 325677 h 638828"/>
              <a:gd name="connsiteX93" fmla="*/ 344466 w 501126"/>
              <a:gd name="connsiteY93" fmla="*/ 316283 h 638828"/>
              <a:gd name="connsiteX94" fmla="*/ 344466 w 501126"/>
              <a:gd name="connsiteY94" fmla="*/ 275573 h 638828"/>
              <a:gd name="connsiteX95" fmla="*/ 353861 w 501126"/>
              <a:gd name="connsiteY95" fmla="*/ 269310 h 638828"/>
              <a:gd name="connsiteX96" fmla="*/ 372650 w 501126"/>
              <a:gd name="connsiteY96" fmla="*/ 278705 h 638828"/>
              <a:gd name="connsiteX97" fmla="*/ 379663 w 501126"/>
              <a:gd name="connsiteY97" fmla="*/ 291361 h 638828"/>
              <a:gd name="connsiteX98" fmla="*/ 384295 w 501126"/>
              <a:gd name="connsiteY98" fmla="*/ 300756 h 638828"/>
              <a:gd name="connsiteX99" fmla="*/ 403214 w 501126"/>
              <a:gd name="connsiteY99" fmla="*/ 308650 h 638828"/>
              <a:gd name="connsiteX100" fmla="*/ 432279 w 501126"/>
              <a:gd name="connsiteY100" fmla="*/ 310150 h 638828"/>
              <a:gd name="connsiteX101" fmla="*/ 458831 w 501126"/>
              <a:gd name="connsiteY101" fmla="*/ 298374 h 638828"/>
              <a:gd name="connsiteX102" fmla="*/ 460332 w 501126"/>
              <a:gd name="connsiteY102" fmla="*/ 281836 h 638828"/>
              <a:gd name="connsiteX103" fmla="*/ 457200 w 501126"/>
              <a:gd name="connsiteY103" fmla="*/ 259915 h 638828"/>
              <a:gd name="connsiteX104" fmla="*/ 454069 w 501126"/>
              <a:gd name="connsiteY104" fmla="*/ 250521 h 638828"/>
              <a:gd name="connsiteX105" fmla="*/ 435280 w 501126"/>
              <a:gd name="connsiteY105" fmla="*/ 231732 h 638828"/>
              <a:gd name="connsiteX106" fmla="*/ 438411 w 501126"/>
              <a:gd name="connsiteY106" fmla="*/ 212943 h 638828"/>
              <a:gd name="connsiteX107" fmla="*/ 457200 w 501126"/>
              <a:gd name="connsiteY107" fmla="*/ 206680 h 638828"/>
              <a:gd name="connsiteX108" fmla="*/ 466595 w 501126"/>
              <a:gd name="connsiteY108" fmla="*/ 203548 h 638828"/>
              <a:gd name="connsiteX109" fmla="*/ 501041 w 501126"/>
              <a:gd name="connsiteY109" fmla="*/ 184759 h 638828"/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57130 w 501126"/>
              <a:gd name="connsiteY24" fmla="*/ 193991 h 638828"/>
              <a:gd name="connsiteX25" fmla="*/ 148551 w 501126"/>
              <a:gd name="connsiteY25" fmla="*/ 226970 h 638828"/>
              <a:gd name="connsiteX26" fmla="*/ 140788 w 501126"/>
              <a:gd name="connsiteY26" fmla="*/ 248140 h 638828"/>
              <a:gd name="connsiteX27" fmla="*/ 132144 w 501126"/>
              <a:gd name="connsiteY27" fmla="*/ 265429 h 638828"/>
              <a:gd name="connsiteX28" fmla="*/ 114855 w 501126"/>
              <a:gd name="connsiteY28" fmla="*/ 277074 h 638828"/>
              <a:gd name="connsiteX29" fmla="*/ 118867 w 501126"/>
              <a:gd name="connsiteY29" fmla="*/ 288850 h 638828"/>
              <a:gd name="connsiteX30" fmla="*/ 111854 w 501126"/>
              <a:gd name="connsiteY30" fmla="*/ 300625 h 638828"/>
              <a:gd name="connsiteX31" fmla="*/ 106472 w 501126"/>
              <a:gd name="connsiteY31" fmla="*/ 319414 h 638828"/>
              <a:gd name="connsiteX32" fmla="*/ 97077 w 501126"/>
              <a:gd name="connsiteY32" fmla="*/ 328809 h 638828"/>
              <a:gd name="connsiteX33" fmla="*/ 84551 w 501126"/>
              <a:gd name="connsiteY33" fmla="*/ 347598 h 638828"/>
              <a:gd name="connsiteX34" fmla="*/ 78288 w 501126"/>
              <a:gd name="connsiteY34" fmla="*/ 356992 h 638828"/>
              <a:gd name="connsiteX35" fmla="*/ 65762 w 501126"/>
              <a:gd name="connsiteY35" fmla="*/ 366387 h 638828"/>
              <a:gd name="connsiteX36" fmla="*/ 37578 w 501126"/>
              <a:gd name="connsiteY36" fmla="*/ 388307 h 638828"/>
              <a:gd name="connsiteX37" fmla="*/ 28184 w 501126"/>
              <a:gd name="connsiteY37" fmla="*/ 394570 h 638828"/>
              <a:gd name="connsiteX38" fmla="*/ 18789 w 501126"/>
              <a:gd name="connsiteY38" fmla="*/ 397702 h 638828"/>
              <a:gd name="connsiteX39" fmla="*/ 0 w 501126"/>
              <a:gd name="connsiteY39" fmla="*/ 410228 h 638828"/>
              <a:gd name="connsiteX40" fmla="*/ 9395 w 501126"/>
              <a:gd name="connsiteY40" fmla="*/ 413359 h 638828"/>
              <a:gd name="connsiteX41" fmla="*/ 21921 w 501126"/>
              <a:gd name="connsiteY41" fmla="*/ 416491 h 638828"/>
              <a:gd name="connsiteX42" fmla="*/ 31315 w 501126"/>
              <a:gd name="connsiteY42" fmla="*/ 422754 h 638828"/>
              <a:gd name="connsiteX43" fmla="*/ 34447 w 501126"/>
              <a:gd name="connsiteY43" fmla="*/ 479121 h 638828"/>
              <a:gd name="connsiteX44" fmla="*/ 37578 w 501126"/>
              <a:gd name="connsiteY44" fmla="*/ 488515 h 638828"/>
              <a:gd name="connsiteX45" fmla="*/ 46973 w 501126"/>
              <a:gd name="connsiteY45" fmla="*/ 491647 h 638828"/>
              <a:gd name="connsiteX46" fmla="*/ 75157 w 501126"/>
              <a:gd name="connsiteY46" fmla="*/ 491647 h 638828"/>
              <a:gd name="connsiteX47" fmla="*/ 78288 w 501126"/>
              <a:gd name="connsiteY47" fmla="*/ 501042 h 638828"/>
              <a:gd name="connsiteX48" fmla="*/ 87683 w 501126"/>
              <a:gd name="connsiteY48" fmla="*/ 504173 h 638828"/>
              <a:gd name="connsiteX49" fmla="*/ 112735 w 501126"/>
              <a:gd name="connsiteY49" fmla="*/ 507305 h 638828"/>
              <a:gd name="connsiteX50" fmla="*/ 93946 w 501126"/>
              <a:gd name="connsiteY50" fmla="*/ 522962 h 638828"/>
              <a:gd name="connsiteX51" fmla="*/ 90814 w 501126"/>
              <a:gd name="connsiteY51" fmla="*/ 532357 h 638828"/>
              <a:gd name="connsiteX52" fmla="*/ 97077 w 501126"/>
              <a:gd name="connsiteY52" fmla="*/ 541751 h 638828"/>
              <a:gd name="connsiteX53" fmla="*/ 103340 w 501126"/>
              <a:gd name="connsiteY53" fmla="*/ 560540 h 638828"/>
              <a:gd name="connsiteX54" fmla="*/ 100209 w 501126"/>
              <a:gd name="connsiteY54" fmla="*/ 573066 h 638828"/>
              <a:gd name="connsiteX55" fmla="*/ 103340 w 501126"/>
              <a:gd name="connsiteY55" fmla="*/ 610644 h 638828"/>
              <a:gd name="connsiteX56" fmla="*/ 112735 w 501126"/>
              <a:gd name="connsiteY56" fmla="*/ 613776 h 638828"/>
              <a:gd name="connsiteX57" fmla="*/ 150313 w 501126"/>
              <a:gd name="connsiteY57" fmla="*/ 616907 h 638828"/>
              <a:gd name="connsiteX58" fmla="*/ 156576 w 501126"/>
              <a:gd name="connsiteY58" fmla="*/ 626302 h 638828"/>
              <a:gd name="connsiteX59" fmla="*/ 175365 w 501126"/>
              <a:gd name="connsiteY59" fmla="*/ 632565 h 638828"/>
              <a:gd name="connsiteX60" fmla="*/ 184759 w 501126"/>
              <a:gd name="connsiteY60" fmla="*/ 638828 h 638828"/>
              <a:gd name="connsiteX61" fmla="*/ 203548 w 501126"/>
              <a:gd name="connsiteY61" fmla="*/ 629433 h 638828"/>
              <a:gd name="connsiteX62" fmla="*/ 209811 w 501126"/>
              <a:gd name="connsiteY62" fmla="*/ 620039 h 638828"/>
              <a:gd name="connsiteX63" fmla="*/ 219206 w 501126"/>
              <a:gd name="connsiteY63" fmla="*/ 610644 h 638828"/>
              <a:gd name="connsiteX64" fmla="*/ 209811 w 501126"/>
              <a:gd name="connsiteY64" fmla="*/ 601250 h 638828"/>
              <a:gd name="connsiteX65" fmla="*/ 209811 w 501126"/>
              <a:gd name="connsiteY65" fmla="*/ 557409 h 638828"/>
              <a:gd name="connsiteX66" fmla="*/ 212943 w 501126"/>
              <a:gd name="connsiteY66" fmla="*/ 544883 h 638828"/>
              <a:gd name="connsiteX67" fmla="*/ 222337 w 501126"/>
              <a:gd name="connsiteY67" fmla="*/ 538620 h 638828"/>
              <a:gd name="connsiteX68" fmla="*/ 250521 w 501126"/>
              <a:gd name="connsiteY68" fmla="*/ 544883 h 638828"/>
              <a:gd name="connsiteX69" fmla="*/ 259915 w 501126"/>
              <a:gd name="connsiteY69" fmla="*/ 548014 h 638828"/>
              <a:gd name="connsiteX70" fmla="*/ 266178 w 501126"/>
              <a:gd name="connsiteY70" fmla="*/ 557409 h 638828"/>
              <a:gd name="connsiteX71" fmla="*/ 259915 w 501126"/>
              <a:gd name="connsiteY71" fmla="*/ 576198 h 638828"/>
              <a:gd name="connsiteX72" fmla="*/ 269310 w 501126"/>
              <a:gd name="connsiteY72" fmla="*/ 579329 h 638828"/>
              <a:gd name="connsiteX73" fmla="*/ 281836 w 501126"/>
              <a:gd name="connsiteY73" fmla="*/ 582461 h 638828"/>
              <a:gd name="connsiteX74" fmla="*/ 284967 w 501126"/>
              <a:gd name="connsiteY74" fmla="*/ 591855 h 638828"/>
              <a:gd name="connsiteX75" fmla="*/ 291231 w 501126"/>
              <a:gd name="connsiteY75" fmla="*/ 601250 h 638828"/>
              <a:gd name="connsiteX76" fmla="*/ 331940 w 501126"/>
              <a:gd name="connsiteY76" fmla="*/ 598118 h 638828"/>
              <a:gd name="connsiteX77" fmla="*/ 366387 w 501126"/>
              <a:gd name="connsiteY77" fmla="*/ 594987 h 638828"/>
              <a:gd name="connsiteX78" fmla="*/ 363255 w 501126"/>
              <a:gd name="connsiteY78" fmla="*/ 573066 h 638828"/>
              <a:gd name="connsiteX79" fmla="*/ 350729 w 501126"/>
              <a:gd name="connsiteY79" fmla="*/ 554277 h 638828"/>
              <a:gd name="connsiteX80" fmla="*/ 353861 w 501126"/>
              <a:gd name="connsiteY80" fmla="*/ 535488 h 638828"/>
              <a:gd name="connsiteX81" fmla="*/ 363255 w 501126"/>
              <a:gd name="connsiteY81" fmla="*/ 526094 h 638828"/>
              <a:gd name="connsiteX82" fmla="*/ 372650 w 501126"/>
              <a:gd name="connsiteY82" fmla="*/ 507305 h 638828"/>
              <a:gd name="connsiteX83" fmla="*/ 375781 w 501126"/>
              <a:gd name="connsiteY83" fmla="*/ 488515 h 638828"/>
              <a:gd name="connsiteX84" fmla="*/ 382044 w 501126"/>
              <a:gd name="connsiteY84" fmla="*/ 469726 h 638828"/>
              <a:gd name="connsiteX85" fmla="*/ 388307 w 501126"/>
              <a:gd name="connsiteY85" fmla="*/ 441543 h 638828"/>
              <a:gd name="connsiteX86" fmla="*/ 385176 w 501126"/>
              <a:gd name="connsiteY86" fmla="*/ 422754 h 638828"/>
              <a:gd name="connsiteX87" fmla="*/ 366387 w 501126"/>
              <a:gd name="connsiteY87" fmla="*/ 410228 h 638828"/>
              <a:gd name="connsiteX88" fmla="*/ 369649 w 501126"/>
              <a:gd name="connsiteY88" fmla="*/ 396070 h 638828"/>
              <a:gd name="connsiteX89" fmla="*/ 369649 w 501126"/>
              <a:gd name="connsiteY89" fmla="*/ 372650 h 638828"/>
              <a:gd name="connsiteX90" fmla="*/ 372650 w 501126"/>
              <a:gd name="connsiteY90" fmla="*/ 353861 h 638828"/>
              <a:gd name="connsiteX91" fmla="*/ 369518 w 501126"/>
              <a:gd name="connsiteY91" fmla="*/ 344466 h 638828"/>
              <a:gd name="connsiteX92" fmla="*/ 350729 w 501126"/>
              <a:gd name="connsiteY92" fmla="*/ 325677 h 638828"/>
              <a:gd name="connsiteX93" fmla="*/ 344466 w 501126"/>
              <a:gd name="connsiteY93" fmla="*/ 316283 h 638828"/>
              <a:gd name="connsiteX94" fmla="*/ 344466 w 501126"/>
              <a:gd name="connsiteY94" fmla="*/ 275573 h 638828"/>
              <a:gd name="connsiteX95" fmla="*/ 353861 w 501126"/>
              <a:gd name="connsiteY95" fmla="*/ 269310 h 638828"/>
              <a:gd name="connsiteX96" fmla="*/ 372650 w 501126"/>
              <a:gd name="connsiteY96" fmla="*/ 278705 h 638828"/>
              <a:gd name="connsiteX97" fmla="*/ 379663 w 501126"/>
              <a:gd name="connsiteY97" fmla="*/ 291361 h 638828"/>
              <a:gd name="connsiteX98" fmla="*/ 384295 w 501126"/>
              <a:gd name="connsiteY98" fmla="*/ 300756 h 638828"/>
              <a:gd name="connsiteX99" fmla="*/ 403214 w 501126"/>
              <a:gd name="connsiteY99" fmla="*/ 308650 h 638828"/>
              <a:gd name="connsiteX100" fmla="*/ 432279 w 501126"/>
              <a:gd name="connsiteY100" fmla="*/ 310150 h 638828"/>
              <a:gd name="connsiteX101" fmla="*/ 458831 w 501126"/>
              <a:gd name="connsiteY101" fmla="*/ 298374 h 638828"/>
              <a:gd name="connsiteX102" fmla="*/ 460332 w 501126"/>
              <a:gd name="connsiteY102" fmla="*/ 281836 h 638828"/>
              <a:gd name="connsiteX103" fmla="*/ 457200 w 501126"/>
              <a:gd name="connsiteY103" fmla="*/ 259915 h 638828"/>
              <a:gd name="connsiteX104" fmla="*/ 454069 w 501126"/>
              <a:gd name="connsiteY104" fmla="*/ 250521 h 638828"/>
              <a:gd name="connsiteX105" fmla="*/ 449957 w 501126"/>
              <a:gd name="connsiteY105" fmla="*/ 239235 h 638828"/>
              <a:gd name="connsiteX106" fmla="*/ 435280 w 501126"/>
              <a:gd name="connsiteY106" fmla="*/ 231732 h 638828"/>
              <a:gd name="connsiteX107" fmla="*/ 438411 w 501126"/>
              <a:gd name="connsiteY107" fmla="*/ 212943 h 638828"/>
              <a:gd name="connsiteX108" fmla="*/ 457200 w 501126"/>
              <a:gd name="connsiteY108" fmla="*/ 206680 h 638828"/>
              <a:gd name="connsiteX109" fmla="*/ 466595 w 501126"/>
              <a:gd name="connsiteY109" fmla="*/ 203548 h 638828"/>
              <a:gd name="connsiteX110" fmla="*/ 501041 w 501126"/>
              <a:gd name="connsiteY110" fmla="*/ 184759 h 638828"/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57130 w 501126"/>
              <a:gd name="connsiteY24" fmla="*/ 193991 h 638828"/>
              <a:gd name="connsiteX25" fmla="*/ 148551 w 501126"/>
              <a:gd name="connsiteY25" fmla="*/ 226970 h 638828"/>
              <a:gd name="connsiteX26" fmla="*/ 140788 w 501126"/>
              <a:gd name="connsiteY26" fmla="*/ 248140 h 638828"/>
              <a:gd name="connsiteX27" fmla="*/ 132144 w 501126"/>
              <a:gd name="connsiteY27" fmla="*/ 265429 h 638828"/>
              <a:gd name="connsiteX28" fmla="*/ 114855 w 501126"/>
              <a:gd name="connsiteY28" fmla="*/ 277074 h 638828"/>
              <a:gd name="connsiteX29" fmla="*/ 118867 w 501126"/>
              <a:gd name="connsiteY29" fmla="*/ 288850 h 638828"/>
              <a:gd name="connsiteX30" fmla="*/ 111854 w 501126"/>
              <a:gd name="connsiteY30" fmla="*/ 300625 h 638828"/>
              <a:gd name="connsiteX31" fmla="*/ 106472 w 501126"/>
              <a:gd name="connsiteY31" fmla="*/ 319414 h 638828"/>
              <a:gd name="connsiteX32" fmla="*/ 97077 w 501126"/>
              <a:gd name="connsiteY32" fmla="*/ 328809 h 638828"/>
              <a:gd name="connsiteX33" fmla="*/ 84551 w 501126"/>
              <a:gd name="connsiteY33" fmla="*/ 347598 h 638828"/>
              <a:gd name="connsiteX34" fmla="*/ 78288 w 501126"/>
              <a:gd name="connsiteY34" fmla="*/ 356992 h 638828"/>
              <a:gd name="connsiteX35" fmla="*/ 65762 w 501126"/>
              <a:gd name="connsiteY35" fmla="*/ 366387 h 638828"/>
              <a:gd name="connsiteX36" fmla="*/ 37578 w 501126"/>
              <a:gd name="connsiteY36" fmla="*/ 388307 h 638828"/>
              <a:gd name="connsiteX37" fmla="*/ 28184 w 501126"/>
              <a:gd name="connsiteY37" fmla="*/ 394570 h 638828"/>
              <a:gd name="connsiteX38" fmla="*/ 18789 w 501126"/>
              <a:gd name="connsiteY38" fmla="*/ 397702 h 638828"/>
              <a:gd name="connsiteX39" fmla="*/ 0 w 501126"/>
              <a:gd name="connsiteY39" fmla="*/ 410228 h 638828"/>
              <a:gd name="connsiteX40" fmla="*/ 9395 w 501126"/>
              <a:gd name="connsiteY40" fmla="*/ 413359 h 638828"/>
              <a:gd name="connsiteX41" fmla="*/ 21921 w 501126"/>
              <a:gd name="connsiteY41" fmla="*/ 416491 h 638828"/>
              <a:gd name="connsiteX42" fmla="*/ 31315 w 501126"/>
              <a:gd name="connsiteY42" fmla="*/ 422754 h 638828"/>
              <a:gd name="connsiteX43" fmla="*/ 34447 w 501126"/>
              <a:gd name="connsiteY43" fmla="*/ 479121 h 638828"/>
              <a:gd name="connsiteX44" fmla="*/ 37578 w 501126"/>
              <a:gd name="connsiteY44" fmla="*/ 488515 h 638828"/>
              <a:gd name="connsiteX45" fmla="*/ 46973 w 501126"/>
              <a:gd name="connsiteY45" fmla="*/ 491647 h 638828"/>
              <a:gd name="connsiteX46" fmla="*/ 75157 w 501126"/>
              <a:gd name="connsiteY46" fmla="*/ 491647 h 638828"/>
              <a:gd name="connsiteX47" fmla="*/ 78288 w 501126"/>
              <a:gd name="connsiteY47" fmla="*/ 501042 h 638828"/>
              <a:gd name="connsiteX48" fmla="*/ 87683 w 501126"/>
              <a:gd name="connsiteY48" fmla="*/ 504173 h 638828"/>
              <a:gd name="connsiteX49" fmla="*/ 112735 w 501126"/>
              <a:gd name="connsiteY49" fmla="*/ 507305 h 638828"/>
              <a:gd name="connsiteX50" fmla="*/ 93946 w 501126"/>
              <a:gd name="connsiteY50" fmla="*/ 522962 h 638828"/>
              <a:gd name="connsiteX51" fmla="*/ 90814 w 501126"/>
              <a:gd name="connsiteY51" fmla="*/ 532357 h 638828"/>
              <a:gd name="connsiteX52" fmla="*/ 97077 w 501126"/>
              <a:gd name="connsiteY52" fmla="*/ 541751 h 638828"/>
              <a:gd name="connsiteX53" fmla="*/ 103340 w 501126"/>
              <a:gd name="connsiteY53" fmla="*/ 560540 h 638828"/>
              <a:gd name="connsiteX54" fmla="*/ 100209 w 501126"/>
              <a:gd name="connsiteY54" fmla="*/ 573066 h 638828"/>
              <a:gd name="connsiteX55" fmla="*/ 103340 w 501126"/>
              <a:gd name="connsiteY55" fmla="*/ 610644 h 638828"/>
              <a:gd name="connsiteX56" fmla="*/ 112735 w 501126"/>
              <a:gd name="connsiteY56" fmla="*/ 613776 h 638828"/>
              <a:gd name="connsiteX57" fmla="*/ 150313 w 501126"/>
              <a:gd name="connsiteY57" fmla="*/ 616907 h 638828"/>
              <a:gd name="connsiteX58" fmla="*/ 156576 w 501126"/>
              <a:gd name="connsiteY58" fmla="*/ 626302 h 638828"/>
              <a:gd name="connsiteX59" fmla="*/ 175365 w 501126"/>
              <a:gd name="connsiteY59" fmla="*/ 632565 h 638828"/>
              <a:gd name="connsiteX60" fmla="*/ 184759 w 501126"/>
              <a:gd name="connsiteY60" fmla="*/ 638828 h 638828"/>
              <a:gd name="connsiteX61" fmla="*/ 203548 w 501126"/>
              <a:gd name="connsiteY61" fmla="*/ 629433 h 638828"/>
              <a:gd name="connsiteX62" fmla="*/ 209811 w 501126"/>
              <a:gd name="connsiteY62" fmla="*/ 620039 h 638828"/>
              <a:gd name="connsiteX63" fmla="*/ 219206 w 501126"/>
              <a:gd name="connsiteY63" fmla="*/ 610644 h 638828"/>
              <a:gd name="connsiteX64" fmla="*/ 209811 w 501126"/>
              <a:gd name="connsiteY64" fmla="*/ 601250 h 638828"/>
              <a:gd name="connsiteX65" fmla="*/ 209811 w 501126"/>
              <a:gd name="connsiteY65" fmla="*/ 557409 h 638828"/>
              <a:gd name="connsiteX66" fmla="*/ 212943 w 501126"/>
              <a:gd name="connsiteY66" fmla="*/ 544883 h 638828"/>
              <a:gd name="connsiteX67" fmla="*/ 222337 w 501126"/>
              <a:gd name="connsiteY67" fmla="*/ 538620 h 638828"/>
              <a:gd name="connsiteX68" fmla="*/ 250521 w 501126"/>
              <a:gd name="connsiteY68" fmla="*/ 544883 h 638828"/>
              <a:gd name="connsiteX69" fmla="*/ 259915 w 501126"/>
              <a:gd name="connsiteY69" fmla="*/ 548014 h 638828"/>
              <a:gd name="connsiteX70" fmla="*/ 266178 w 501126"/>
              <a:gd name="connsiteY70" fmla="*/ 557409 h 638828"/>
              <a:gd name="connsiteX71" fmla="*/ 259915 w 501126"/>
              <a:gd name="connsiteY71" fmla="*/ 576198 h 638828"/>
              <a:gd name="connsiteX72" fmla="*/ 269310 w 501126"/>
              <a:gd name="connsiteY72" fmla="*/ 579329 h 638828"/>
              <a:gd name="connsiteX73" fmla="*/ 281836 w 501126"/>
              <a:gd name="connsiteY73" fmla="*/ 582461 h 638828"/>
              <a:gd name="connsiteX74" fmla="*/ 284967 w 501126"/>
              <a:gd name="connsiteY74" fmla="*/ 591855 h 638828"/>
              <a:gd name="connsiteX75" fmla="*/ 291231 w 501126"/>
              <a:gd name="connsiteY75" fmla="*/ 601250 h 638828"/>
              <a:gd name="connsiteX76" fmla="*/ 331940 w 501126"/>
              <a:gd name="connsiteY76" fmla="*/ 598118 h 638828"/>
              <a:gd name="connsiteX77" fmla="*/ 366387 w 501126"/>
              <a:gd name="connsiteY77" fmla="*/ 594987 h 638828"/>
              <a:gd name="connsiteX78" fmla="*/ 363255 w 501126"/>
              <a:gd name="connsiteY78" fmla="*/ 573066 h 638828"/>
              <a:gd name="connsiteX79" fmla="*/ 350729 w 501126"/>
              <a:gd name="connsiteY79" fmla="*/ 554277 h 638828"/>
              <a:gd name="connsiteX80" fmla="*/ 353861 w 501126"/>
              <a:gd name="connsiteY80" fmla="*/ 535488 h 638828"/>
              <a:gd name="connsiteX81" fmla="*/ 363255 w 501126"/>
              <a:gd name="connsiteY81" fmla="*/ 526094 h 638828"/>
              <a:gd name="connsiteX82" fmla="*/ 372650 w 501126"/>
              <a:gd name="connsiteY82" fmla="*/ 507305 h 638828"/>
              <a:gd name="connsiteX83" fmla="*/ 375781 w 501126"/>
              <a:gd name="connsiteY83" fmla="*/ 488515 h 638828"/>
              <a:gd name="connsiteX84" fmla="*/ 382044 w 501126"/>
              <a:gd name="connsiteY84" fmla="*/ 469726 h 638828"/>
              <a:gd name="connsiteX85" fmla="*/ 388307 w 501126"/>
              <a:gd name="connsiteY85" fmla="*/ 441543 h 638828"/>
              <a:gd name="connsiteX86" fmla="*/ 385176 w 501126"/>
              <a:gd name="connsiteY86" fmla="*/ 422754 h 638828"/>
              <a:gd name="connsiteX87" fmla="*/ 366387 w 501126"/>
              <a:gd name="connsiteY87" fmla="*/ 410228 h 638828"/>
              <a:gd name="connsiteX88" fmla="*/ 369649 w 501126"/>
              <a:gd name="connsiteY88" fmla="*/ 396070 h 638828"/>
              <a:gd name="connsiteX89" fmla="*/ 369649 w 501126"/>
              <a:gd name="connsiteY89" fmla="*/ 372650 h 638828"/>
              <a:gd name="connsiteX90" fmla="*/ 372650 w 501126"/>
              <a:gd name="connsiteY90" fmla="*/ 353861 h 638828"/>
              <a:gd name="connsiteX91" fmla="*/ 369518 w 501126"/>
              <a:gd name="connsiteY91" fmla="*/ 344466 h 638828"/>
              <a:gd name="connsiteX92" fmla="*/ 350729 w 501126"/>
              <a:gd name="connsiteY92" fmla="*/ 325677 h 638828"/>
              <a:gd name="connsiteX93" fmla="*/ 344466 w 501126"/>
              <a:gd name="connsiteY93" fmla="*/ 316283 h 638828"/>
              <a:gd name="connsiteX94" fmla="*/ 344466 w 501126"/>
              <a:gd name="connsiteY94" fmla="*/ 275573 h 638828"/>
              <a:gd name="connsiteX95" fmla="*/ 353861 w 501126"/>
              <a:gd name="connsiteY95" fmla="*/ 269310 h 638828"/>
              <a:gd name="connsiteX96" fmla="*/ 372650 w 501126"/>
              <a:gd name="connsiteY96" fmla="*/ 278705 h 638828"/>
              <a:gd name="connsiteX97" fmla="*/ 379663 w 501126"/>
              <a:gd name="connsiteY97" fmla="*/ 291361 h 638828"/>
              <a:gd name="connsiteX98" fmla="*/ 384295 w 501126"/>
              <a:gd name="connsiteY98" fmla="*/ 300756 h 638828"/>
              <a:gd name="connsiteX99" fmla="*/ 403214 w 501126"/>
              <a:gd name="connsiteY99" fmla="*/ 308650 h 638828"/>
              <a:gd name="connsiteX100" fmla="*/ 432279 w 501126"/>
              <a:gd name="connsiteY100" fmla="*/ 310150 h 638828"/>
              <a:gd name="connsiteX101" fmla="*/ 458831 w 501126"/>
              <a:gd name="connsiteY101" fmla="*/ 298374 h 638828"/>
              <a:gd name="connsiteX102" fmla="*/ 460332 w 501126"/>
              <a:gd name="connsiteY102" fmla="*/ 281836 h 638828"/>
              <a:gd name="connsiteX103" fmla="*/ 457200 w 501126"/>
              <a:gd name="connsiteY103" fmla="*/ 259915 h 638828"/>
              <a:gd name="connsiteX104" fmla="*/ 454069 w 501126"/>
              <a:gd name="connsiteY104" fmla="*/ 250521 h 638828"/>
              <a:gd name="connsiteX105" fmla="*/ 449957 w 501126"/>
              <a:gd name="connsiteY105" fmla="*/ 239235 h 638828"/>
              <a:gd name="connsiteX106" fmla="*/ 444805 w 501126"/>
              <a:gd name="connsiteY106" fmla="*/ 231732 h 638828"/>
              <a:gd name="connsiteX107" fmla="*/ 438411 w 501126"/>
              <a:gd name="connsiteY107" fmla="*/ 212943 h 638828"/>
              <a:gd name="connsiteX108" fmla="*/ 457200 w 501126"/>
              <a:gd name="connsiteY108" fmla="*/ 206680 h 638828"/>
              <a:gd name="connsiteX109" fmla="*/ 466595 w 501126"/>
              <a:gd name="connsiteY109" fmla="*/ 203548 h 638828"/>
              <a:gd name="connsiteX110" fmla="*/ 501041 w 501126"/>
              <a:gd name="connsiteY110" fmla="*/ 184759 h 638828"/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57130 w 501126"/>
              <a:gd name="connsiteY24" fmla="*/ 193991 h 638828"/>
              <a:gd name="connsiteX25" fmla="*/ 148551 w 501126"/>
              <a:gd name="connsiteY25" fmla="*/ 226970 h 638828"/>
              <a:gd name="connsiteX26" fmla="*/ 140788 w 501126"/>
              <a:gd name="connsiteY26" fmla="*/ 248140 h 638828"/>
              <a:gd name="connsiteX27" fmla="*/ 132144 w 501126"/>
              <a:gd name="connsiteY27" fmla="*/ 265429 h 638828"/>
              <a:gd name="connsiteX28" fmla="*/ 114855 w 501126"/>
              <a:gd name="connsiteY28" fmla="*/ 277074 h 638828"/>
              <a:gd name="connsiteX29" fmla="*/ 118867 w 501126"/>
              <a:gd name="connsiteY29" fmla="*/ 288850 h 638828"/>
              <a:gd name="connsiteX30" fmla="*/ 111854 w 501126"/>
              <a:gd name="connsiteY30" fmla="*/ 300625 h 638828"/>
              <a:gd name="connsiteX31" fmla="*/ 106472 w 501126"/>
              <a:gd name="connsiteY31" fmla="*/ 319414 h 638828"/>
              <a:gd name="connsiteX32" fmla="*/ 97077 w 501126"/>
              <a:gd name="connsiteY32" fmla="*/ 328809 h 638828"/>
              <a:gd name="connsiteX33" fmla="*/ 84551 w 501126"/>
              <a:gd name="connsiteY33" fmla="*/ 347598 h 638828"/>
              <a:gd name="connsiteX34" fmla="*/ 78288 w 501126"/>
              <a:gd name="connsiteY34" fmla="*/ 356992 h 638828"/>
              <a:gd name="connsiteX35" fmla="*/ 65762 w 501126"/>
              <a:gd name="connsiteY35" fmla="*/ 366387 h 638828"/>
              <a:gd name="connsiteX36" fmla="*/ 37578 w 501126"/>
              <a:gd name="connsiteY36" fmla="*/ 388307 h 638828"/>
              <a:gd name="connsiteX37" fmla="*/ 28184 w 501126"/>
              <a:gd name="connsiteY37" fmla="*/ 394570 h 638828"/>
              <a:gd name="connsiteX38" fmla="*/ 18789 w 501126"/>
              <a:gd name="connsiteY38" fmla="*/ 397702 h 638828"/>
              <a:gd name="connsiteX39" fmla="*/ 0 w 501126"/>
              <a:gd name="connsiteY39" fmla="*/ 410228 h 638828"/>
              <a:gd name="connsiteX40" fmla="*/ 9395 w 501126"/>
              <a:gd name="connsiteY40" fmla="*/ 413359 h 638828"/>
              <a:gd name="connsiteX41" fmla="*/ 21921 w 501126"/>
              <a:gd name="connsiteY41" fmla="*/ 416491 h 638828"/>
              <a:gd name="connsiteX42" fmla="*/ 31315 w 501126"/>
              <a:gd name="connsiteY42" fmla="*/ 422754 h 638828"/>
              <a:gd name="connsiteX43" fmla="*/ 34447 w 501126"/>
              <a:gd name="connsiteY43" fmla="*/ 479121 h 638828"/>
              <a:gd name="connsiteX44" fmla="*/ 37578 w 501126"/>
              <a:gd name="connsiteY44" fmla="*/ 488515 h 638828"/>
              <a:gd name="connsiteX45" fmla="*/ 46973 w 501126"/>
              <a:gd name="connsiteY45" fmla="*/ 491647 h 638828"/>
              <a:gd name="connsiteX46" fmla="*/ 75157 w 501126"/>
              <a:gd name="connsiteY46" fmla="*/ 491647 h 638828"/>
              <a:gd name="connsiteX47" fmla="*/ 78288 w 501126"/>
              <a:gd name="connsiteY47" fmla="*/ 501042 h 638828"/>
              <a:gd name="connsiteX48" fmla="*/ 87683 w 501126"/>
              <a:gd name="connsiteY48" fmla="*/ 504173 h 638828"/>
              <a:gd name="connsiteX49" fmla="*/ 112735 w 501126"/>
              <a:gd name="connsiteY49" fmla="*/ 507305 h 638828"/>
              <a:gd name="connsiteX50" fmla="*/ 93946 w 501126"/>
              <a:gd name="connsiteY50" fmla="*/ 522962 h 638828"/>
              <a:gd name="connsiteX51" fmla="*/ 90814 w 501126"/>
              <a:gd name="connsiteY51" fmla="*/ 532357 h 638828"/>
              <a:gd name="connsiteX52" fmla="*/ 97077 w 501126"/>
              <a:gd name="connsiteY52" fmla="*/ 541751 h 638828"/>
              <a:gd name="connsiteX53" fmla="*/ 103340 w 501126"/>
              <a:gd name="connsiteY53" fmla="*/ 560540 h 638828"/>
              <a:gd name="connsiteX54" fmla="*/ 100209 w 501126"/>
              <a:gd name="connsiteY54" fmla="*/ 573066 h 638828"/>
              <a:gd name="connsiteX55" fmla="*/ 103340 w 501126"/>
              <a:gd name="connsiteY55" fmla="*/ 610644 h 638828"/>
              <a:gd name="connsiteX56" fmla="*/ 112735 w 501126"/>
              <a:gd name="connsiteY56" fmla="*/ 613776 h 638828"/>
              <a:gd name="connsiteX57" fmla="*/ 150313 w 501126"/>
              <a:gd name="connsiteY57" fmla="*/ 616907 h 638828"/>
              <a:gd name="connsiteX58" fmla="*/ 156576 w 501126"/>
              <a:gd name="connsiteY58" fmla="*/ 626302 h 638828"/>
              <a:gd name="connsiteX59" fmla="*/ 175365 w 501126"/>
              <a:gd name="connsiteY59" fmla="*/ 632565 h 638828"/>
              <a:gd name="connsiteX60" fmla="*/ 184759 w 501126"/>
              <a:gd name="connsiteY60" fmla="*/ 638828 h 638828"/>
              <a:gd name="connsiteX61" fmla="*/ 203548 w 501126"/>
              <a:gd name="connsiteY61" fmla="*/ 629433 h 638828"/>
              <a:gd name="connsiteX62" fmla="*/ 209811 w 501126"/>
              <a:gd name="connsiteY62" fmla="*/ 620039 h 638828"/>
              <a:gd name="connsiteX63" fmla="*/ 219206 w 501126"/>
              <a:gd name="connsiteY63" fmla="*/ 610644 h 638828"/>
              <a:gd name="connsiteX64" fmla="*/ 209811 w 501126"/>
              <a:gd name="connsiteY64" fmla="*/ 601250 h 638828"/>
              <a:gd name="connsiteX65" fmla="*/ 209811 w 501126"/>
              <a:gd name="connsiteY65" fmla="*/ 557409 h 638828"/>
              <a:gd name="connsiteX66" fmla="*/ 212943 w 501126"/>
              <a:gd name="connsiteY66" fmla="*/ 544883 h 638828"/>
              <a:gd name="connsiteX67" fmla="*/ 222337 w 501126"/>
              <a:gd name="connsiteY67" fmla="*/ 538620 h 638828"/>
              <a:gd name="connsiteX68" fmla="*/ 250521 w 501126"/>
              <a:gd name="connsiteY68" fmla="*/ 544883 h 638828"/>
              <a:gd name="connsiteX69" fmla="*/ 259915 w 501126"/>
              <a:gd name="connsiteY69" fmla="*/ 548014 h 638828"/>
              <a:gd name="connsiteX70" fmla="*/ 266178 w 501126"/>
              <a:gd name="connsiteY70" fmla="*/ 557409 h 638828"/>
              <a:gd name="connsiteX71" fmla="*/ 259915 w 501126"/>
              <a:gd name="connsiteY71" fmla="*/ 576198 h 638828"/>
              <a:gd name="connsiteX72" fmla="*/ 269310 w 501126"/>
              <a:gd name="connsiteY72" fmla="*/ 579329 h 638828"/>
              <a:gd name="connsiteX73" fmla="*/ 281836 w 501126"/>
              <a:gd name="connsiteY73" fmla="*/ 582461 h 638828"/>
              <a:gd name="connsiteX74" fmla="*/ 284967 w 501126"/>
              <a:gd name="connsiteY74" fmla="*/ 591855 h 638828"/>
              <a:gd name="connsiteX75" fmla="*/ 291231 w 501126"/>
              <a:gd name="connsiteY75" fmla="*/ 601250 h 638828"/>
              <a:gd name="connsiteX76" fmla="*/ 331940 w 501126"/>
              <a:gd name="connsiteY76" fmla="*/ 598118 h 638828"/>
              <a:gd name="connsiteX77" fmla="*/ 366387 w 501126"/>
              <a:gd name="connsiteY77" fmla="*/ 594987 h 638828"/>
              <a:gd name="connsiteX78" fmla="*/ 363255 w 501126"/>
              <a:gd name="connsiteY78" fmla="*/ 573066 h 638828"/>
              <a:gd name="connsiteX79" fmla="*/ 350729 w 501126"/>
              <a:gd name="connsiteY79" fmla="*/ 554277 h 638828"/>
              <a:gd name="connsiteX80" fmla="*/ 353861 w 501126"/>
              <a:gd name="connsiteY80" fmla="*/ 535488 h 638828"/>
              <a:gd name="connsiteX81" fmla="*/ 363255 w 501126"/>
              <a:gd name="connsiteY81" fmla="*/ 526094 h 638828"/>
              <a:gd name="connsiteX82" fmla="*/ 372650 w 501126"/>
              <a:gd name="connsiteY82" fmla="*/ 507305 h 638828"/>
              <a:gd name="connsiteX83" fmla="*/ 375781 w 501126"/>
              <a:gd name="connsiteY83" fmla="*/ 488515 h 638828"/>
              <a:gd name="connsiteX84" fmla="*/ 382044 w 501126"/>
              <a:gd name="connsiteY84" fmla="*/ 469726 h 638828"/>
              <a:gd name="connsiteX85" fmla="*/ 388307 w 501126"/>
              <a:gd name="connsiteY85" fmla="*/ 441543 h 638828"/>
              <a:gd name="connsiteX86" fmla="*/ 385176 w 501126"/>
              <a:gd name="connsiteY86" fmla="*/ 422754 h 638828"/>
              <a:gd name="connsiteX87" fmla="*/ 366387 w 501126"/>
              <a:gd name="connsiteY87" fmla="*/ 410228 h 638828"/>
              <a:gd name="connsiteX88" fmla="*/ 369649 w 501126"/>
              <a:gd name="connsiteY88" fmla="*/ 396070 h 638828"/>
              <a:gd name="connsiteX89" fmla="*/ 369649 w 501126"/>
              <a:gd name="connsiteY89" fmla="*/ 372650 h 638828"/>
              <a:gd name="connsiteX90" fmla="*/ 372650 w 501126"/>
              <a:gd name="connsiteY90" fmla="*/ 353861 h 638828"/>
              <a:gd name="connsiteX91" fmla="*/ 369518 w 501126"/>
              <a:gd name="connsiteY91" fmla="*/ 344466 h 638828"/>
              <a:gd name="connsiteX92" fmla="*/ 350729 w 501126"/>
              <a:gd name="connsiteY92" fmla="*/ 325677 h 638828"/>
              <a:gd name="connsiteX93" fmla="*/ 344466 w 501126"/>
              <a:gd name="connsiteY93" fmla="*/ 316283 h 638828"/>
              <a:gd name="connsiteX94" fmla="*/ 344466 w 501126"/>
              <a:gd name="connsiteY94" fmla="*/ 275573 h 638828"/>
              <a:gd name="connsiteX95" fmla="*/ 353861 w 501126"/>
              <a:gd name="connsiteY95" fmla="*/ 269310 h 638828"/>
              <a:gd name="connsiteX96" fmla="*/ 372650 w 501126"/>
              <a:gd name="connsiteY96" fmla="*/ 278705 h 638828"/>
              <a:gd name="connsiteX97" fmla="*/ 379663 w 501126"/>
              <a:gd name="connsiteY97" fmla="*/ 291361 h 638828"/>
              <a:gd name="connsiteX98" fmla="*/ 384295 w 501126"/>
              <a:gd name="connsiteY98" fmla="*/ 300756 h 638828"/>
              <a:gd name="connsiteX99" fmla="*/ 403214 w 501126"/>
              <a:gd name="connsiteY99" fmla="*/ 308650 h 638828"/>
              <a:gd name="connsiteX100" fmla="*/ 432279 w 501126"/>
              <a:gd name="connsiteY100" fmla="*/ 310150 h 638828"/>
              <a:gd name="connsiteX101" fmla="*/ 458831 w 501126"/>
              <a:gd name="connsiteY101" fmla="*/ 298374 h 638828"/>
              <a:gd name="connsiteX102" fmla="*/ 469857 w 501126"/>
              <a:gd name="connsiteY102" fmla="*/ 284218 h 638828"/>
              <a:gd name="connsiteX103" fmla="*/ 457200 w 501126"/>
              <a:gd name="connsiteY103" fmla="*/ 259915 h 638828"/>
              <a:gd name="connsiteX104" fmla="*/ 454069 w 501126"/>
              <a:gd name="connsiteY104" fmla="*/ 250521 h 638828"/>
              <a:gd name="connsiteX105" fmla="*/ 449957 w 501126"/>
              <a:gd name="connsiteY105" fmla="*/ 239235 h 638828"/>
              <a:gd name="connsiteX106" fmla="*/ 444805 w 501126"/>
              <a:gd name="connsiteY106" fmla="*/ 231732 h 638828"/>
              <a:gd name="connsiteX107" fmla="*/ 438411 w 501126"/>
              <a:gd name="connsiteY107" fmla="*/ 212943 h 638828"/>
              <a:gd name="connsiteX108" fmla="*/ 457200 w 501126"/>
              <a:gd name="connsiteY108" fmla="*/ 206680 h 638828"/>
              <a:gd name="connsiteX109" fmla="*/ 466595 w 501126"/>
              <a:gd name="connsiteY109" fmla="*/ 203548 h 638828"/>
              <a:gd name="connsiteX110" fmla="*/ 501041 w 501126"/>
              <a:gd name="connsiteY110" fmla="*/ 184759 h 638828"/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57130 w 501126"/>
              <a:gd name="connsiteY24" fmla="*/ 193991 h 638828"/>
              <a:gd name="connsiteX25" fmla="*/ 148551 w 501126"/>
              <a:gd name="connsiteY25" fmla="*/ 226970 h 638828"/>
              <a:gd name="connsiteX26" fmla="*/ 140788 w 501126"/>
              <a:gd name="connsiteY26" fmla="*/ 248140 h 638828"/>
              <a:gd name="connsiteX27" fmla="*/ 132144 w 501126"/>
              <a:gd name="connsiteY27" fmla="*/ 265429 h 638828"/>
              <a:gd name="connsiteX28" fmla="*/ 114855 w 501126"/>
              <a:gd name="connsiteY28" fmla="*/ 277074 h 638828"/>
              <a:gd name="connsiteX29" fmla="*/ 118867 w 501126"/>
              <a:gd name="connsiteY29" fmla="*/ 288850 h 638828"/>
              <a:gd name="connsiteX30" fmla="*/ 111854 w 501126"/>
              <a:gd name="connsiteY30" fmla="*/ 300625 h 638828"/>
              <a:gd name="connsiteX31" fmla="*/ 106472 w 501126"/>
              <a:gd name="connsiteY31" fmla="*/ 319414 h 638828"/>
              <a:gd name="connsiteX32" fmla="*/ 97077 w 501126"/>
              <a:gd name="connsiteY32" fmla="*/ 328809 h 638828"/>
              <a:gd name="connsiteX33" fmla="*/ 84551 w 501126"/>
              <a:gd name="connsiteY33" fmla="*/ 347598 h 638828"/>
              <a:gd name="connsiteX34" fmla="*/ 78288 w 501126"/>
              <a:gd name="connsiteY34" fmla="*/ 356992 h 638828"/>
              <a:gd name="connsiteX35" fmla="*/ 65762 w 501126"/>
              <a:gd name="connsiteY35" fmla="*/ 366387 h 638828"/>
              <a:gd name="connsiteX36" fmla="*/ 37578 w 501126"/>
              <a:gd name="connsiteY36" fmla="*/ 388307 h 638828"/>
              <a:gd name="connsiteX37" fmla="*/ 28184 w 501126"/>
              <a:gd name="connsiteY37" fmla="*/ 394570 h 638828"/>
              <a:gd name="connsiteX38" fmla="*/ 18789 w 501126"/>
              <a:gd name="connsiteY38" fmla="*/ 397702 h 638828"/>
              <a:gd name="connsiteX39" fmla="*/ 0 w 501126"/>
              <a:gd name="connsiteY39" fmla="*/ 410228 h 638828"/>
              <a:gd name="connsiteX40" fmla="*/ 9395 w 501126"/>
              <a:gd name="connsiteY40" fmla="*/ 413359 h 638828"/>
              <a:gd name="connsiteX41" fmla="*/ 21921 w 501126"/>
              <a:gd name="connsiteY41" fmla="*/ 416491 h 638828"/>
              <a:gd name="connsiteX42" fmla="*/ 31315 w 501126"/>
              <a:gd name="connsiteY42" fmla="*/ 422754 h 638828"/>
              <a:gd name="connsiteX43" fmla="*/ 34447 w 501126"/>
              <a:gd name="connsiteY43" fmla="*/ 479121 h 638828"/>
              <a:gd name="connsiteX44" fmla="*/ 37578 w 501126"/>
              <a:gd name="connsiteY44" fmla="*/ 488515 h 638828"/>
              <a:gd name="connsiteX45" fmla="*/ 46973 w 501126"/>
              <a:gd name="connsiteY45" fmla="*/ 491647 h 638828"/>
              <a:gd name="connsiteX46" fmla="*/ 75157 w 501126"/>
              <a:gd name="connsiteY46" fmla="*/ 491647 h 638828"/>
              <a:gd name="connsiteX47" fmla="*/ 78288 w 501126"/>
              <a:gd name="connsiteY47" fmla="*/ 501042 h 638828"/>
              <a:gd name="connsiteX48" fmla="*/ 87683 w 501126"/>
              <a:gd name="connsiteY48" fmla="*/ 504173 h 638828"/>
              <a:gd name="connsiteX49" fmla="*/ 112735 w 501126"/>
              <a:gd name="connsiteY49" fmla="*/ 507305 h 638828"/>
              <a:gd name="connsiteX50" fmla="*/ 93946 w 501126"/>
              <a:gd name="connsiteY50" fmla="*/ 522962 h 638828"/>
              <a:gd name="connsiteX51" fmla="*/ 90814 w 501126"/>
              <a:gd name="connsiteY51" fmla="*/ 532357 h 638828"/>
              <a:gd name="connsiteX52" fmla="*/ 97077 w 501126"/>
              <a:gd name="connsiteY52" fmla="*/ 541751 h 638828"/>
              <a:gd name="connsiteX53" fmla="*/ 103340 w 501126"/>
              <a:gd name="connsiteY53" fmla="*/ 560540 h 638828"/>
              <a:gd name="connsiteX54" fmla="*/ 100209 w 501126"/>
              <a:gd name="connsiteY54" fmla="*/ 573066 h 638828"/>
              <a:gd name="connsiteX55" fmla="*/ 103340 w 501126"/>
              <a:gd name="connsiteY55" fmla="*/ 610644 h 638828"/>
              <a:gd name="connsiteX56" fmla="*/ 112735 w 501126"/>
              <a:gd name="connsiteY56" fmla="*/ 613776 h 638828"/>
              <a:gd name="connsiteX57" fmla="*/ 150313 w 501126"/>
              <a:gd name="connsiteY57" fmla="*/ 616907 h 638828"/>
              <a:gd name="connsiteX58" fmla="*/ 156576 w 501126"/>
              <a:gd name="connsiteY58" fmla="*/ 626302 h 638828"/>
              <a:gd name="connsiteX59" fmla="*/ 175365 w 501126"/>
              <a:gd name="connsiteY59" fmla="*/ 632565 h 638828"/>
              <a:gd name="connsiteX60" fmla="*/ 184759 w 501126"/>
              <a:gd name="connsiteY60" fmla="*/ 638828 h 638828"/>
              <a:gd name="connsiteX61" fmla="*/ 203548 w 501126"/>
              <a:gd name="connsiteY61" fmla="*/ 629433 h 638828"/>
              <a:gd name="connsiteX62" fmla="*/ 209811 w 501126"/>
              <a:gd name="connsiteY62" fmla="*/ 620039 h 638828"/>
              <a:gd name="connsiteX63" fmla="*/ 219206 w 501126"/>
              <a:gd name="connsiteY63" fmla="*/ 610644 h 638828"/>
              <a:gd name="connsiteX64" fmla="*/ 209811 w 501126"/>
              <a:gd name="connsiteY64" fmla="*/ 601250 h 638828"/>
              <a:gd name="connsiteX65" fmla="*/ 209811 w 501126"/>
              <a:gd name="connsiteY65" fmla="*/ 557409 h 638828"/>
              <a:gd name="connsiteX66" fmla="*/ 212943 w 501126"/>
              <a:gd name="connsiteY66" fmla="*/ 544883 h 638828"/>
              <a:gd name="connsiteX67" fmla="*/ 222337 w 501126"/>
              <a:gd name="connsiteY67" fmla="*/ 538620 h 638828"/>
              <a:gd name="connsiteX68" fmla="*/ 250521 w 501126"/>
              <a:gd name="connsiteY68" fmla="*/ 544883 h 638828"/>
              <a:gd name="connsiteX69" fmla="*/ 259915 w 501126"/>
              <a:gd name="connsiteY69" fmla="*/ 548014 h 638828"/>
              <a:gd name="connsiteX70" fmla="*/ 266178 w 501126"/>
              <a:gd name="connsiteY70" fmla="*/ 557409 h 638828"/>
              <a:gd name="connsiteX71" fmla="*/ 259915 w 501126"/>
              <a:gd name="connsiteY71" fmla="*/ 576198 h 638828"/>
              <a:gd name="connsiteX72" fmla="*/ 269310 w 501126"/>
              <a:gd name="connsiteY72" fmla="*/ 579329 h 638828"/>
              <a:gd name="connsiteX73" fmla="*/ 281836 w 501126"/>
              <a:gd name="connsiteY73" fmla="*/ 582461 h 638828"/>
              <a:gd name="connsiteX74" fmla="*/ 284967 w 501126"/>
              <a:gd name="connsiteY74" fmla="*/ 591855 h 638828"/>
              <a:gd name="connsiteX75" fmla="*/ 291231 w 501126"/>
              <a:gd name="connsiteY75" fmla="*/ 601250 h 638828"/>
              <a:gd name="connsiteX76" fmla="*/ 331940 w 501126"/>
              <a:gd name="connsiteY76" fmla="*/ 598118 h 638828"/>
              <a:gd name="connsiteX77" fmla="*/ 366387 w 501126"/>
              <a:gd name="connsiteY77" fmla="*/ 594987 h 638828"/>
              <a:gd name="connsiteX78" fmla="*/ 363255 w 501126"/>
              <a:gd name="connsiteY78" fmla="*/ 573066 h 638828"/>
              <a:gd name="connsiteX79" fmla="*/ 350729 w 501126"/>
              <a:gd name="connsiteY79" fmla="*/ 554277 h 638828"/>
              <a:gd name="connsiteX80" fmla="*/ 353861 w 501126"/>
              <a:gd name="connsiteY80" fmla="*/ 535488 h 638828"/>
              <a:gd name="connsiteX81" fmla="*/ 363255 w 501126"/>
              <a:gd name="connsiteY81" fmla="*/ 526094 h 638828"/>
              <a:gd name="connsiteX82" fmla="*/ 372650 w 501126"/>
              <a:gd name="connsiteY82" fmla="*/ 507305 h 638828"/>
              <a:gd name="connsiteX83" fmla="*/ 375781 w 501126"/>
              <a:gd name="connsiteY83" fmla="*/ 488515 h 638828"/>
              <a:gd name="connsiteX84" fmla="*/ 382044 w 501126"/>
              <a:gd name="connsiteY84" fmla="*/ 469726 h 638828"/>
              <a:gd name="connsiteX85" fmla="*/ 388307 w 501126"/>
              <a:gd name="connsiteY85" fmla="*/ 441543 h 638828"/>
              <a:gd name="connsiteX86" fmla="*/ 385176 w 501126"/>
              <a:gd name="connsiteY86" fmla="*/ 422754 h 638828"/>
              <a:gd name="connsiteX87" fmla="*/ 366387 w 501126"/>
              <a:gd name="connsiteY87" fmla="*/ 410228 h 638828"/>
              <a:gd name="connsiteX88" fmla="*/ 369649 w 501126"/>
              <a:gd name="connsiteY88" fmla="*/ 396070 h 638828"/>
              <a:gd name="connsiteX89" fmla="*/ 369649 w 501126"/>
              <a:gd name="connsiteY89" fmla="*/ 372650 h 638828"/>
              <a:gd name="connsiteX90" fmla="*/ 372650 w 501126"/>
              <a:gd name="connsiteY90" fmla="*/ 353861 h 638828"/>
              <a:gd name="connsiteX91" fmla="*/ 369518 w 501126"/>
              <a:gd name="connsiteY91" fmla="*/ 344466 h 638828"/>
              <a:gd name="connsiteX92" fmla="*/ 350729 w 501126"/>
              <a:gd name="connsiteY92" fmla="*/ 325677 h 638828"/>
              <a:gd name="connsiteX93" fmla="*/ 344466 w 501126"/>
              <a:gd name="connsiteY93" fmla="*/ 316283 h 638828"/>
              <a:gd name="connsiteX94" fmla="*/ 344466 w 501126"/>
              <a:gd name="connsiteY94" fmla="*/ 275573 h 638828"/>
              <a:gd name="connsiteX95" fmla="*/ 353861 w 501126"/>
              <a:gd name="connsiteY95" fmla="*/ 269310 h 638828"/>
              <a:gd name="connsiteX96" fmla="*/ 372650 w 501126"/>
              <a:gd name="connsiteY96" fmla="*/ 278705 h 638828"/>
              <a:gd name="connsiteX97" fmla="*/ 379663 w 501126"/>
              <a:gd name="connsiteY97" fmla="*/ 291361 h 638828"/>
              <a:gd name="connsiteX98" fmla="*/ 384295 w 501126"/>
              <a:gd name="connsiteY98" fmla="*/ 300756 h 638828"/>
              <a:gd name="connsiteX99" fmla="*/ 403214 w 501126"/>
              <a:gd name="connsiteY99" fmla="*/ 308650 h 638828"/>
              <a:gd name="connsiteX100" fmla="*/ 432279 w 501126"/>
              <a:gd name="connsiteY100" fmla="*/ 310150 h 638828"/>
              <a:gd name="connsiteX101" fmla="*/ 458831 w 501126"/>
              <a:gd name="connsiteY101" fmla="*/ 298374 h 638828"/>
              <a:gd name="connsiteX102" fmla="*/ 469857 w 501126"/>
              <a:gd name="connsiteY102" fmla="*/ 284218 h 638828"/>
              <a:gd name="connsiteX103" fmla="*/ 466725 w 501126"/>
              <a:gd name="connsiteY103" fmla="*/ 257533 h 638828"/>
              <a:gd name="connsiteX104" fmla="*/ 454069 w 501126"/>
              <a:gd name="connsiteY104" fmla="*/ 250521 h 638828"/>
              <a:gd name="connsiteX105" fmla="*/ 449957 w 501126"/>
              <a:gd name="connsiteY105" fmla="*/ 239235 h 638828"/>
              <a:gd name="connsiteX106" fmla="*/ 444805 w 501126"/>
              <a:gd name="connsiteY106" fmla="*/ 231732 h 638828"/>
              <a:gd name="connsiteX107" fmla="*/ 438411 w 501126"/>
              <a:gd name="connsiteY107" fmla="*/ 212943 h 638828"/>
              <a:gd name="connsiteX108" fmla="*/ 457200 w 501126"/>
              <a:gd name="connsiteY108" fmla="*/ 206680 h 638828"/>
              <a:gd name="connsiteX109" fmla="*/ 466595 w 501126"/>
              <a:gd name="connsiteY109" fmla="*/ 203548 h 638828"/>
              <a:gd name="connsiteX110" fmla="*/ 501041 w 501126"/>
              <a:gd name="connsiteY110" fmla="*/ 184759 h 638828"/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57130 w 501126"/>
              <a:gd name="connsiteY24" fmla="*/ 193991 h 638828"/>
              <a:gd name="connsiteX25" fmla="*/ 148551 w 501126"/>
              <a:gd name="connsiteY25" fmla="*/ 226970 h 638828"/>
              <a:gd name="connsiteX26" fmla="*/ 140788 w 501126"/>
              <a:gd name="connsiteY26" fmla="*/ 248140 h 638828"/>
              <a:gd name="connsiteX27" fmla="*/ 132144 w 501126"/>
              <a:gd name="connsiteY27" fmla="*/ 265429 h 638828"/>
              <a:gd name="connsiteX28" fmla="*/ 114855 w 501126"/>
              <a:gd name="connsiteY28" fmla="*/ 277074 h 638828"/>
              <a:gd name="connsiteX29" fmla="*/ 118867 w 501126"/>
              <a:gd name="connsiteY29" fmla="*/ 288850 h 638828"/>
              <a:gd name="connsiteX30" fmla="*/ 111854 w 501126"/>
              <a:gd name="connsiteY30" fmla="*/ 300625 h 638828"/>
              <a:gd name="connsiteX31" fmla="*/ 106472 w 501126"/>
              <a:gd name="connsiteY31" fmla="*/ 319414 h 638828"/>
              <a:gd name="connsiteX32" fmla="*/ 97077 w 501126"/>
              <a:gd name="connsiteY32" fmla="*/ 328809 h 638828"/>
              <a:gd name="connsiteX33" fmla="*/ 84551 w 501126"/>
              <a:gd name="connsiteY33" fmla="*/ 347598 h 638828"/>
              <a:gd name="connsiteX34" fmla="*/ 78288 w 501126"/>
              <a:gd name="connsiteY34" fmla="*/ 356992 h 638828"/>
              <a:gd name="connsiteX35" fmla="*/ 65762 w 501126"/>
              <a:gd name="connsiteY35" fmla="*/ 366387 h 638828"/>
              <a:gd name="connsiteX36" fmla="*/ 37578 w 501126"/>
              <a:gd name="connsiteY36" fmla="*/ 388307 h 638828"/>
              <a:gd name="connsiteX37" fmla="*/ 28184 w 501126"/>
              <a:gd name="connsiteY37" fmla="*/ 394570 h 638828"/>
              <a:gd name="connsiteX38" fmla="*/ 18789 w 501126"/>
              <a:gd name="connsiteY38" fmla="*/ 397702 h 638828"/>
              <a:gd name="connsiteX39" fmla="*/ 0 w 501126"/>
              <a:gd name="connsiteY39" fmla="*/ 410228 h 638828"/>
              <a:gd name="connsiteX40" fmla="*/ 9395 w 501126"/>
              <a:gd name="connsiteY40" fmla="*/ 413359 h 638828"/>
              <a:gd name="connsiteX41" fmla="*/ 21921 w 501126"/>
              <a:gd name="connsiteY41" fmla="*/ 416491 h 638828"/>
              <a:gd name="connsiteX42" fmla="*/ 31315 w 501126"/>
              <a:gd name="connsiteY42" fmla="*/ 422754 h 638828"/>
              <a:gd name="connsiteX43" fmla="*/ 34447 w 501126"/>
              <a:gd name="connsiteY43" fmla="*/ 479121 h 638828"/>
              <a:gd name="connsiteX44" fmla="*/ 37578 w 501126"/>
              <a:gd name="connsiteY44" fmla="*/ 488515 h 638828"/>
              <a:gd name="connsiteX45" fmla="*/ 46973 w 501126"/>
              <a:gd name="connsiteY45" fmla="*/ 491647 h 638828"/>
              <a:gd name="connsiteX46" fmla="*/ 75157 w 501126"/>
              <a:gd name="connsiteY46" fmla="*/ 491647 h 638828"/>
              <a:gd name="connsiteX47" fmla="*/ 78288 w 501126"/>
              <a:gd name="connsiteY47" fmla="*/ 501042 h 638828"/>
              <a:gd name="connsiteX48" fmla="*/ 87683 w 501126"/>
              <a:gd name="connsiteY48" fmla="*/ 504173 h 638828"/>
              <a:gd name="connsiteX49" fmla="*/ 112735 w 501126"/>
              <a:gd name="connsiteY49" fmla="*/ 507305 h 638828"/>
              <a:gd name="connsiteX50" fmla="*/ 93946 w 501126"/>
              <a:gd name="connsiteY50" fmla="*/ 522962 h 638828"/>
              <a:gd name="connsiteX51" fmla="*/ 90814 w 501126"/>
              <a:gd name="connsiteY51" fmla="*/ 532357 h 638828"/>
              <a:gd name="connsiteX52" fmla="*/ 97077 w 501126"/>
              <a:gd name="connsiteY52" fmla="*/ 541751 h 638828"/>
              <a:gd name="connsiteX53" fmla="*/ 103340 w 501126"/>
              <a:gd name="connsiteY53" fmla="*/ 560540 h 638828"/>
              <a:gd name="connsiteX54" fmla="*/ 100209 w 501126"/>
              <a:gd name="connsiteY54" fmla="*/ 573066 h 638828"/>
              <a:gd name="connsiteX55" fmla="*/ 103340 w 501126"/>
              <a:gd name="connsiteY55" fmla="*/ 610644 h 638828"/>
              <a:gd name="connsiteX56" fmla="*/ 112735 w 501126"/>
              <a:gd name="connsiteY56" fmla="*/ 613776 h 638828"/>
              <a:gd name="connsiteX57" fmla="*/ 150313 w 501126"/>
              <a:gd name="connsiteY57" fmla="*/ 616907 h 638828"/>
              <a:gd name="connsiteX58" fmla="*/ 156576 w 501126"/>
              <a:gd name="connsiteY58" fmla="*/ 626302 h 638828"/>
              <a:gd name="connsiteX59" fmla="*/ 175365 w 501126"/>
              <a:gd name="connsiteY59" fmla="*/ 632565 h 638828"/>
              <a:gd name="connsiteX60" fmla="*/ 184759 w 501126"/>
              <a:gd name="connsiteY60" fmla="*/ 638828 h 638828"/>
              <a:gd name="connsiteX61" fmla="*/ 203548 w 501126"/>
              <a:gd name="connsiteY61" fmla="*/ 629433 h 638828"/>
              <a:gd name="connsiteX62" fmla="*/ 209811 w 501126"/>
              <a:gd name="connsiteY62" fmla="*/ 620039 h 638828"/>
              <a:gd name="connsiteX63" fmla="*/ 219206 w 501126"/>
              <a:gd name="connsiteY63" fmla="*/ 610644 h 638828"/>
              <a:gd name="connsiteX64" fmla="*/ 209811 w 501126"/>
              <a:gd name="connsiteY64" fmla="*/ 601250 h 638828"/>
              <a:gd name="connsiteX65" fmla="*/ 209811 w 501126"/>
              <a:gd name="connsiteY65" fmla="*/ 557409 h 638828"/>
              <a:gd name="connsiteX66" fmla="*/ 212943 w 501126"/>
              <a:gd name="connsiteY66" fmla="*/ 544883 h 638828"/>
              <a:gd name="connsiteX67" fmla="*/ 222337 w 501126"/>
              <a:gd name="connsiteY67" fmla="*/ 538620 h 638828"/>
              <a:gd name="connsiteX68" fmla="*/ 250521 w 501126"/>
              <a:gd name="connsiteY68" fmla="*/ 544883 h 638828"/>
              <a:gd name="connsiteX69" fmla="*/ 259915 w 501126"/>
              <a:gd name="connsiteY69" fmla="*/ 548014 h 638828"/>
              <a:gd name="connsiteX70" fmla="*/ 266178 w 501126"/>
              <a:gd name="connsiteY70" fmla="*/ 557409 h 638828"/>
              <a:gd name="connsiteX71" fmla="*/ 259915 w 501126"/>
              <a:gd name="connsiteY71" fmla="*/ 576198 h 638828"/>
              <a:gd name="connsiteX72" fmla="*/ 269310 w 501126"/>
              <a:gd name="connsiteY72" fmla="*/ 579329 h 638828"/>
              <a:gd name="connsiteX73" fmla="*/ 281836 w 501126"/>
              <a:gd name="connsiteY73" fmla="*/ 582461 h 638828"/>
              <a:gd name="connsiteX74" fmla="*/ 284967 w 501126"/>
              <a:gd name="connsiteY74" fmla="*/ 591855 h 638828"/>
              <a:gd name="connsiteX75" fmla="*/ 291231 w 501126"/>
              <a:gd name="connsiteY75" fmla="*/ 601250 h 638828"/>
              <a:gd name="connsiteX76" fmla="*/ 331940 w 501126"/>
              <a:gd name="connsiteY76" fmla="*/ 598118 h 638828"/>
              <a:gd name="connsiteX77" fmla="*/ 366387 w 501126"/>
              <a:gd name="connsiteY77" fmla="*/ 594987 h 638828"/>
              <a:gd name="connsiteX78" fmla="*/ 363255 w 501126"/>
              <a:gd name="connsiteY78" fmla="*/ 573066 h 638828"/>
              <a:gd name="connsiteX79" fmla="*/ 350729 w 501126"/>
              <a:gd name="connsiteY79" fmla="*/ 554277 h 638828"/>
              <a:gd name="connsiteX80" fmla="*/ 353861 w 501126"/>
              <a:gd name="connsiteY80" fmla="*/ 535488 h 638828"/>
              <a:gd name="connsiteX81" fmla="*/ 363255 w 501126"/>
              <a:gd name="connsiteY81" fmla="*/ 526094 h 638828"/>
              <a:gd name="connsiteX82" fmla="*/ 372650 w 501126"/>
              <a:gd name="connsiteY82" fmla="*/ 507305 h 638828"/>
              <a:gd name="connsiteX83" fmla="*/ 375781 w 501126"/>
              <a:gd name="connsiteY83" fmla="*/ 488515 h 638828"/>
              <a:gd name="connsiteX84" fmla="*/ 382044 w 501126"/>
              <a:gd name="connsiteY84" fmla="*/ 469726 h 638828"/>
              <a:gd name="connsiteX85" fmla="*/ 388307 w 501126"/>
              <a:gd name="connsiteY85" fmla="*/ 441543 h 638828"/>
              <a:gd name="connsiteX86" fmla="*/ 385176 w 501126"/>
              <a:gd name="connsiteY86" fmla="*/ 422754 h 638828"/>
              <a:gd name="connsiteX87" fmla="*/ 366387 w 501126"/>
              <a:gd name="connsiteY87" fmla="*/ 410228 h 638828"/>
              <a:gd name="connsiteX88" fmla="*/ 369649 w 501126"/>
              <a:gd name="connsiteY88" fmla="*/ 396070 h 638828"/>
              <a:gd name="connsiteX89" fmla="*/ 369649 w 501126"/>
              <a:gd name="connsiteY89" fmla="*/ 372650 h 638828"/>
              <a:gd name="connsiteX90" fmla="*/ 372650 w 501126"/>
              <a:gd name="connsiteY90" fmla="*/ 353861 h 638828"/>
              <a:gd name="connsiteX91" fmla="*/ 369518 w 501126"/>
              <a:gd name="connsiteY91" fmla="*/ 344466 h 638828"/>
              <a:gd name="connsiteX92" fmla="*/ 350729 w 501126"/>
              <a:gd name="connsiteY92" fmla="*/ 325677 h 638828"/>
              <a:gd name="connsiteX93" fmla="*/ 344466 w 501126"/>
              <a:gd name="connsiteY93" fmla="*/ 316283 h 638828"/>
              <a:gd name="connsiteX94" fmla="*/ 344466 w 501126"/>
              <a:gd name="connsiteY94" fmla="*/ 275573 h 638828"/>
              <a:gd name="connsiteX95" fmla="*/ 353861 w 501126"/>
              <a:gd name="connsiteY95" fmla="*/ 269310 h 638828"/>
              <a:gd name="connsiteX96" fmla="*/ 372650 w 501126"/>
              <a:gd name="connsiteY96" fmla="*/ 278705 h 638828"/>
              <a:gd name="connsiteX97" fmla="*/ 379663 w 501126"/>
              <a:gd name="connsiteY97" fmla="*/ 291361 h 638828"/>
              <a:gd name="connsiteX98" fmla="*/ 384295 w 501126"/>
              <a:gd name="connsiteY98" fmla="*/ 300756 h 638828"/>
              <a:gd name="connsiteX99" fmla="*/ 403214 w 501126"/>
              <a:gd name="connsiteY99" fmla="*/ 308650 h 638828"/>
              <a:gd name="connsiteX100" fmla="*/ 432279 w 501126"/>
              <a:gd name="connsiteY100" fmla="*/ 310150 h 638828"/>
              <a:gd name="connsiteX101" fmla="*/ 458831 w 501126"/>
              <a:gd name="connsiteY101" fmla="*/ 298374 h 638828"/>
              <a:gd name="connsiteX102" fmla="*/ 469857 w 501126"/>
              <a:gd name="connsiteY102" fmla="*/ 284218 h 638828"/>
              <a:gd name="connsiteX103" fmla="*/ 466725 w 501126"/>
              <a:gd name="connsiteY103" fmla="*/ 257533 h 638828"/>
              <a:gd name="connsiteX104" fmla="*/ 454069 w 501126"/>
              <a:gd name="connsiteY104" fmla="*/ 250521 h 638828"/>
              <a:gd name="connsiteX105" fmla="*/ 461863 w 501126"/>
              <a:gd name="connsiteY105" fmla="*/ 239235 h 638828"/>
              <a:gd name="connsiteX106" fmla="*/ 444805 w 501126"/>
              <a:gd name="connsiteY106" fmla="*/ 231732 h 638828"/>
              <a:gd name="connsiteX107" fmla="*/ 438411 w 501126"/>
              <a:gd name="connsiteY107" fmla="*/ 212943 h 638828"/>
              <a:gd name="connsiteX108" fmla="*/ 457200 w 501126"/>
              <a:gd name="connsiteY108" fmla="*/ 206680 h 638828"/>
              <a:gd name="connsiteX109" fmla="*/ 466595 w 501126"/>
              <a:gd name="connsiteY109" fmla="*/ 203548 h 638828"/>
              <a:gd name="connsiteX110" fmla="*/ 501041 w 501126"/>
              <a:gd name="connsiteY110" fmla="*/ 184759 h 638828"/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57130 w 501126"/>
              <a:gd name="connsiteY24" fmla="*/ 193991 h 638828"/>
              <a:gd name="connsiteX25" fmla="*/ 148551 w 501126"/>
              <a:gd name="connsiteY25" fmla="*/ 226970 h 638828"/>
              <a:gd name="connsiteX26" fmla="*/ 140788 w 501126"/>
              <a:gd name="connsiteY26" fmla="*/ 248140 h 638828"/>
              <a:gd name="connsiteX27" fmla="*/ 132144 w 501126"/>
              <a:gd name="connsiteY27" fmla="*/ 265429 h 638828"/>
              <a:gd name="connsiteX28" fmla="*/ 114855 w 501126"/>
              <a:gd name="connsiteY28" fmla="*/ 277074 h 638828"/>
              <a:gd name="connsiteX29" fmla="*/ 118867 w 501126"/>
              <a:gd name="connsiteY29" fmla="*/ 288850 h 638828"/>
              <a:gd name="connsiteX30" fmla="*/ 111854 w 501126"/>
              <a:gd name="connsiteY30" fmla="*/ 300625 h 638828"/>
              <a:gd name="connsiteX31" fmla="*/ 106472 w 501126"/>
              <a:gd name="connsiteY31" fmla="*/ 319414 h 638828"/>
              <a:gd name="connsiteX32" fmla="*/ 97077 w 501126"/>
              <a:gd name="connsiteY32" fmla="*/ 328809 h 638828"/>
              <a:gd name="connsiteX33" fmla="*/ 84551 w 501126"/>
              <a:gd name="connsiteY33" fmla="*/ 347598 h 638828"/>
              <a:gd name="connsiteX34" fmla="*/ 78288 w 501126"/>
              <a:gd name="connsiteY34" fmla="*/ 356992 h 638828"/>
              <a:gd name="connsiteX35" fmla="*/ 65762 w 501126"/>
              <a:gd name="connsiteY35" fmla="*/ 366387 h 638828"/>
              <a:gd name="connsiteX36" fmla="*/ 37578 w 501126"/>
              <a:gd name="connsiteY36" fmla="*/ 388307 h 638828"/>
              <a:gd name="connsiteX37" fmla="*/ 28184 w 501126"/>
              <a:gd name="connsiteY37" fmla="*/ 394570 h 638828"/>
              <a:gd name="connsiteX38" fmla="*/ 18789 w 501126"/>
              <a:gd name="connsiteY38" fmla="*/ 397702 h 638828"/>
              <a:gd name="connsiteX39" fmla="*/ 0 w 501126"/>
              <a:gd name="connsiteY39" fmla="*/ 410228 h 638828"/>
              <a:gd name="connsiteX40" fmla="*/ 9395 w 501126"/>
              <a:gd name="connsiteY40" fmla="*/ 413359 h 638828"/>
              <a:gd name="connsiteX41" fmla="*/ 21921 w 501126"/>
              <a:gd name="connsiteY41" fmla="*/ 416491 h 638828"/>
              <a:gd name="connsiteX42" fmla="*/ 31315 w 501126"/>
              <a:gd name="connsiteY42" fmla="*/ 422754 h 638828"/>
              <a:gd name="connsiteX43" fmla="*/ 34447 w 501126"/>
              <a:gd name="connsiteY43" fmla="*/ 479121 h 638828"/>
              <a:gd name="connsiteX44" fmla="*/ 37578 w 501126"/>
              <a:gd name="connsiteY44" fmla="*/ 488515 h 638828"/>
              <a:gd name="connsiteX45" fmla="*/ 46973 w 501126"/>
              <a:gd name="connsiteY45" fmla="*/ 491647 h 638828"/>
              <a:gd name="connsiteX46" fmla="*/ 75157 w 501126"/>
              <a:gd name="connsiteY46" fmla="*/ 491647 h 638828"/>
              <a:gd name="connsiteX47" fmla="*/ 78288 w 501126"/>
              <a:gd name="connsiteY47" fmla="*/ 501042 h 638828"/>
              <a:gd name="connsiteX48" fmla="*/ 87683 w 501126"/>
              <a:gd name="connsiteY48" fmla="*/ 504173 h 638828"/>
              <a:gd name="connsiteX49" fmla="*/ 112735 w 501126"/>
              <a:gd name="connsiteY49" fmla="*/ 507305 h 638828"/>
              <a:gd name="connsiteX50" fmla="*/ 93946 w 501126"/>
              <a:gd name="connsiteY50" fmla="*/ 522962 h 638828"/>
              <a:gd name="connsiteX51" fmla="*/ 90814 w 501126"/>
              <a:gd name="connsiteY51" fmla="*/ 532357 h 638828"/>
              <a:gd name="connsiteX52" fmla="*/ 97077 w 501126"/>
              <a:gd name="connsiteY52" fmla="*/ 541751 h 638828"/>
              <a:gd name="connsiteX53" fmla="*/ 103340 w 501126"/>
              <a:gd name="connsiteY53" fmla="*/ 560540 h 638828"/>
              <a:gd name="connsiteX54" fmla="*/ 100209 w 501126"/>
              <a:gd name="connsiteY54" fmla="*/ 573066 h 638828"/>
              <a:gd name="connsiteX55" fmla="*/ 103340 w 501126"/>
              <a:gd name="connsiteY55" fmla="*/ 610644 h 638828"/>
              <a:gd name="connsiteX56" fmla="*/ 112735 w 501126"/>
              <a:gd name="connsiteY56" fmla="*/ 613776 h 638828"/>
              <a:gd name="connsiteX57" fmla="*/ 150313 w 501126"/>
              <a:gd name="connsiteY57" fmla="*/ 616907 h 638828"/>
              <a:gd name="connsiteX58" fmla="*/ 156576 w 501126"/>
              <a:gd name="connsiteY58" fmla="*/ 626302 h 638828"/>
              <a:gd name="connsiteX59" fmla="*/ 175365 w 501126"/>
              <a:gd name="connsiteY59" fmla="*/ 632565 h 638828"/>
              <a:gd name="connsiteX60" fmla="*/ 184759 w 501126"/>
              <a:gd name="connsiteY60" fmla="*/ 638828 h 638828"/>
              <a:gd name="connsiteX61" fmla="*/ 203548 w 501126"/>
              <a:gd name="connsiteY61" fmla="*/ 629433 h 638828"/>
              <a:gd name="connsiteX62" fmla="*/ 209811 w 501126"/>
              <a:gd name="connsiteY62" fmla="*/ 620039 h 638828"/>
              <a:gd name="connsiteX63" fmla="*/ 219206 w 501126"/>
              <a:gd name="connsiteY63" fmla="*/ 610644 h 638828"/>
              <a:gd name="connsiteX64" fmla="*/ 209811 w 501126"/>
              <a:gd name="connsiteY64" fmla="*/ 601250 h 638828"/>
              <a:gd name="connsiteX65" fmla="*/ 209811 w 501126"/>
              <a:gd name="connsiteY65" fmla="*/ 557409 h 638828"/>
              <a:gd name="connsiteX66" fmla="*/ 212943 w 501126"/>
              <a:gd name="connsiteY66" fmla="*/ 544883 h 638828"/>
              <a:gd name="connsiteX67" fmla="*/ 222337 w 501126"/>
              <a:gd name="connsiteY67" fmla="*/ 538620 h 638828"/>
              <a:gd name="connsiteX68" fmla="*/ 250521 w 501126"/>
              <a:gd name="connsiteY68" fmla="*/ 544883 h 638828"/>
              <a:gd name="connsiteX69" fmla="*/ 259915 w 501126"/>
              <a:gd name="connsiteY69" fmla="*/ 548014 h 638828"/>
              <a:gd name="connsiteX70" fmla="*/ 266178 w 501126"/>
              <a:gd name="connsiteY70" fmla="*/ 557409 h 638828"/>
              <a:gd name="connsiteX71" fmla="*/ 259915 w 501126"/>
              <a:gd name="connsiteY71" fmla="*/ 576198 h 638828"/>
              <a:gd name="connsiteX72" fmla="*/ 269310 w 501126"/>
              <a:gd name="connsiteY72" fmla="*/ 579329 h 638828"/>
              <a:gd name="connsiteX73" fmla="*/ 281836 w 501126"/>
              <a:gd name="connsiteY73" fmla="*/ 582461 h 638828"/>
              <a:gd name="connsiteX74" fmla="*/ 284967 w 501126"/>
              <a:gd name="connsiteY74" fmla="*/ 591855 h 638828"/>
              <a:gd name="connsiteX75" fmla="*/ 291231 w 501126"/>
              <a:gd name="connsiteY75" fmla="*/ 601250 h 638828"/>
              <a:gd name="connsiteX76" fmla="*/ 331940 w 501126"/>
              <a:gd name="connsiteY76" fmla="*/ 598118 h 638828"/>
              <a:gd name="connsiteX77" fmla="*/ 366387 w 501126"/>
              <a:gd name="connsiteY77" fmla="*/ 594987 h 638828"/>
              <a:gd name="connsiteX78" fmla="*/ 363255 w 501126"/>
              <a:gd name="connsiteY78" fmla="*/ 573066 h 638828"/>
              <a:gd name="connsiteX79" fmla="*/ 350729 w 501126"/>
              <a:gd name="connsiteY79" fmla="*/ 554277 h 638828"/>
              <a:gd name="connsiteX80" fmla="*/ 353861 w 501126"/>
              <a:gd name="connsiteY80" fmla="*/ 535488 h 638828"/>
              <a:gd name="connsiteX81" fmla="*/ 363255 w 501126"/>
              <a:gd name="connsiteY81" fmla="*/ 526094 h 638828"/>
              <a:gd name="connsiteX82" fmla="*/ 372650 w 501126"/>
              <a:gd name="connsiteY82" fmla="*/ 507305 h 638828"/>
              <a:gd name="connsiteX83" fmla="*/ 375781 w 501126"/>
              <a:gd name="connsiteY83" fmla="*/ 488515 h 638828"/>
              <a:gd name="connsiteX84" fmla="*/ 382044 w 501126"/>
              <a:gd name="connsiteY84" fmla="*/ 469726 h 638828"/>
              <a:gd name="connsiteX85" fmla="*/ 388307 w 501126"/>
              <a:gd name="connsiteY85" fmla="*/ 441543 h 638828"/>
              <a:gd name="connsiteX86" fmla="*/ 385176 w 501126"/>
              <a:gd name="connsiteY86" fmla="*/ 422754 h 638828"/>
              <a:gd name="connsiteX87" fmla="*/ 366387 w 501126"/>
              <a:gd name="connsiteY87" fmla="*/ 410228 h 638828"/>
              <a:gd name="connsiteX88" fmla="*/ 369649 w 501126"/>
              <a:gd name="connsiteY88" fmla="*/ 396070 h 638828"/>
              <a:gd name="connsiteX89" fmla="*/ 369649 w 501126"/>
              <a:gd name="connsiteY89" fmla="*/ 372650 h 638828"/>
              <a:gd name="connsiteX90" fmla="*/ 372650 w 501126"/>
              <a:gd name="connsiteY90" fmla="*/ 353861 h 638828"/>
              <a:gd name="connsiteX91" fmla="*/ 369518 w 501126"/>
              <a:gd name="connsiteY91" fmla="*/ 344466 h 638828"/>
              <a:gd name="connsiteX92" fmla="*/ 350729 w 501126"/>
              <a:gd name="connsiteY92" fmla="*/ 325677 h 638828"/>
              <a:gd name="connsiteX93" fmla="*/ 344466 w 501126"/>
              <a:gd name="connsiteY93" fmla="*/ 316283 h 638828"/>
              <a:gd name="connsiteX94" fmla="*/ 344466 w 501126"/>
              <a:gd name="connsiteY94" fmla="*/ 275573 h 638828"/>
              <a:gd name="connsiteX95" fmla="*/ 353861 w 501126"/>
              <a:gd name="connsiteY95" fmla="*/ 269310 h 638828"/>
              <a:gd name="connsiteX96" fmla="*/ 372650 w 501126"/>
              <a:gd name="connsiteY96" fmla="*/ 278705 h 638828"/>
              <a:gd name="connsiteX97" fmla="*/ 379663 w 501126"/>
              <a:gd name="connsiteY97" fmla="*/ 291361 h 638828"/>
              <a:gd name="connsiteX98" fmla="*/ 384295 w 501126"/>
              <a:gd name="connsiteY98" fmla="*/ 300756 h 638828"/>
              <a:gd name="connsiteX99" fmla="*/ 403214 w 501126"/>
              <a:gd name="connsiteY99" fmla="*/ 308650 h 638828"/>
              <a:gd name="connsiteX100" fmla="*/ 432279 w 501126"/>
              <a:gd name="connsiteY100" fmla="*/ 310150 h 638828"/>
              <a:gd name="connsiteX101" fmla="*/ 458831 w 501126"/>
              <a:gd name="connsiteY101" fmla="*/ 298374 h 638828"/>
              <a:gd name="connsiteX102" fmla="*/ 469857 w 501126"/>
              <a:gd name="connsiteY102" fmla="*/ 284218 h 638828"/>
              <a:gd name="connsiteX103" fmla="*/ 466725 w 501126"/>
              <a:gd name="connsiteY103" fmla="*/ 257533 h 638828"/>
              <a:gd name="connsiteX104" fmla="*/ 454069 w 501126"/>
              <a:gd name="connsiteY104" fmla="*/ 250521 h 638828"/>
              <a:gd name="connsiteX105" fmla="*/ 461863 w 501126"/>
              <a:gd name="connsiteY105" fmla="*/ 239235 h 638828"/>
              <a:gd name="connsiteX106" fmla="*/ 454330 w 501126"/>
              <a:gd name="connsiteY106" fmla="*/ 231732 h 638828"/>
              <a:gd name="connsiteX107" fmla="*/ 438411 w 501126"/>
              <a:gd name="connsiteY107" fmla="*/ 212943 h 638828"/>
              <a:gd name="connsiteX108" fmla="*/ 457200 w 501126"/>
              <a:gd name="connsiteY108" fmla="*/ 206680 h 638828"/>
              <a:gd name="connsiteX109" fmla="*/ 466595 w 501126"/>
              <a:gd name="connsiteY109" fmla="*/ 203548 h 638828"/>
              <a:gd name="connsiteX110" fmla="*/ 501041 w 501126"/>
              <a:gd name="connsiteY110" fmla="*/ 184759 h 638828"/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57130 w 501126"/>
              <a:gd name="connsiteY24" fmla="*/ 193991 h 638828"/>
              <a:gd name="connsiteX25" fmla="*/ 148551 w 501126"/>
              <a:gd name="connsiteY25" fmla="*/ 226970 h 638828"/>
              <a:gd name="connsiteX26" fmla="*/ 140788 w 501126"/>
              <a:gd name="connsiteY26" fmla="*/ 248140 h 638828"/>
              <a:gd name="connsiteX27" fmla="*/ 132144 w 501126"/>
              <a:gd name="connsiteY27" fmla="*/ 265429 h 638828"/>
              <a:gd name="connsiteX28" fmla="*/ 114855 w 501126"/>
              <a:gd name="connsiteY28" fmla="*/ 277074 h 638828"/>
              <a:gd name="connsiteX29" fmla="*/ 118867 w 501126"/>
              <a:gd name="connsiteY29" fmla="*/ 288850 h 638828"/>
              <a:gd name="connsiteX30" fmla="*/ 111854 w 501126"/>
              <a:gd name="connsiteY30" fmla="*/ 300625 h 638828"/>
              <a:gd name="connsiteX31" fmla="*/ 106472 w 501126"/>
              <a:gd name="connsiteY31" fmla="*/ 319414 h 638828"/>
              <a:gd name="connsiteX32" fmla="*/ 97077 w 501126"/>
              <a:gd name="connsiteY32" fmla="*/ 328809 h 638828"/>
              <a:gd name="connsiteX33" fmla="*/ 84551 w 501126"/>
              <a:gd name="connsiteY33" fmla="*/ 347598 h 638828"/>
              <a:gd name="connsiteX34" fmla="*/ 78288 w 501126"/>
              <a:gd name="connsiteY34" fmla="*/ 356992 h 638828"/>
              <a:gd name="connsiteX35" fmla="*/ 65762 w 501126"/>
              <a:gd name="connsiteY35" fmla="*/ 366387 h 638828"/>
              <a:gd name="connsiteX36" fmla="*/ 37578 w 501126"/>
              <a:gd name="connsiteY36" fmla="*/ 388307 h 638828"/>
              <a:gd name="connsiteX37" fmla="*/ 28184 w 501126"/>
              <a:gd name="connsiteY37" fmla="*/ 394570 h 638828"/>
              <a:gd name="connsiteX38" fmla="*/ 18789 w 501126"/>
              <a:gd name="connsiteY38" fmla="*/ 397702 h 638828"/>
              <a:gd name="connsiteX39" fmla="*/ 0 w 501126"/>
              <a:gd name="connsiteY39" fmla="*/ 410228 h 638828"/>
              <a:gd name="connsiteX40" fmla="*/ 9395 w 501126"/>
              <a:gd name="connsiteY40" fmla="*/ 413359 h 638828"/>
              <a:gd name="connsiteX41" fmla="*/ 21921 w 501126"/>
              <a:gd name="connsiteY41" fmla="*/ 416491 h 638828"/>
              <a:gd name="connsiteX42" fmla="*/ 31315 w 501126"/>
              <a:gd name="connsiteY42" fmla="*/ 422754 h 638828"/>
              <a:gd name="connsiteX43" fmla="*/ 34447 w 501126"/>
              <a:gd name="connsiteY43" fmla="*/ 479121 h 638828"/>
              <a:gd name="connsiteX44" fmla="*/ 37578 w 501126"/>
              <a:gd name="connsiteY44" fmla="*/ 488515 h 638828"/>
              <a:gd name="connsiteX45" fmla="*/ 46973 w 501126"/>
              <a:gd name="connsiteY45" fmla="*/ 491647 h 638828"/>
              <a:gd name="connsiteX46" fmla="*/ 75157 w 501126"/>
              <a:gd name="connsiteY46" fmla="*/ 491647 h 638828"/>
              <a:gd name="connsiteX47" fmla="*/ 78288 w 501126"/>
              <a:gd name="connsiteY47" fmla="*/ 501042 h 638828"/>
              <a:gd name="connsiteX48" fmla="*/ 87683 w 501126"/>
              <a:gd name="connsiteY48" fmla="*/ 504173 h 638828"/>
              <a:gd name="connsiteX49" fmla="*/ 112735 w 501126"/>
              <a:gd name="connsiteY49" fmla="*/ 507305 h 638828"/>
              <a:gd name="connsiteX50" fmla="*/ 93946 w 501126"/>
              <a:gd name="connsiteY50" fmla="*/ 522962 h 638828"/>
              <a:gd name="connsiteX51" fmla="*/ 90814 w 501126"/>
              <a:gd name="connsiteY51" fmla="*/ 532357 h 638828"/>
              <a:gd name="connsiteX52" fmla="*/ 97077 w 501126"/>
              <a:gd name="connsiteY52" fmla="*/ 541751 h 638828"/>
              <a:gd name="connsiteX53" fmla="*/ 103340 w 501126"/>
              <a:gd name="connsiteY53" fmla="*/ 560540 h 638828"/>
              <a:gd name="connsiteX54" fmla="*/ 100209 w 501126"/>
              <a:gd name="connsiteY54" fmla="*/ 573066 h 638828"/>
              <a:gd name="connsiteX55" fmla="*/ 103340 w 501126"/>
              <a:gd name="connsiteY55" fmla="*/ 610644 h 638828"/>
              <a:gd name="connsiteX56" fmla="*/ 112735 w 501126"/>
              <a:gd name="connsiteY56" fmla="*/ 613776 h 638828"/>
              <a:gd name="connsiteX57" fmla="*/ 150313 w 501126"/>
              <a:gd name="connsiteY57" fmla="*/ 616907 h 638828"/>
              <a:gd name="connsiteX58" fmla="*/ 156576 w 501126"/>
              <a:gd name="connsiteY58" fmla="*/ 626302 h 638828"/>
              <a:gd name="connsiteX59" fmla="*/ 175365 w 501126"/>
              <a:gd name="connsiteY59" fmla="*/ 632565 h 638828"/>
              <a:gd name="connsiteX60" fmla="*/ 184759 w 501126"/>
              <a:gd name="connsiteY60" fmla="*/ 638828 h 638828"/>
              <a:gd name="connsiteX61" fmla="*/ 203548 w 501126"/>
              <a:gd name="connsiteY61" fmla="*/ 629433 h 638828"/>
              <a:gd name="connsiteX62" fmla="*/ 209811 w 501126"/>
              <a:gd name="connsiteY62" fmla="*/ 620039 h 638828"/>
              <a:gd name="connsiteX63" fmla="*/ 219206 w 501126"/>
              <a:gd name="connsiteY63" fmla="*/ 610644 h 638828"/>
              <a:gd name="connsiteX64" fmla="*/ 209811 w 501126"/>
              <a:gd name="connsiteY64" fmla="*/ 601250 h 638828"/>
              <a:gd name="connsiteX65" fmla="*/ 209811 w 501126"/>
              <a:gd name="connsiteY65" fmla="*/ 557409 h 638828"/>
              <a:gd name="connsiteX66" fmla="*/ 212943 w 501126"/>
              <a:gd name="connsiteY66" fmla="*/ 544883 h 638828"/>
              <a:gd name="connsiteX67" fmla="*/ 222337 w 501126"/>
              <a:gd name="connsiteY67" fmla="*/ 538620 h 638828"/>
              <a:gd name="connsiteX68" fmla="*/ 250521 w 501126"/>
              <a:gd name="connsiteY68" fmla="*/ 544883 h 638828"/>
              <a:gd name="connsiteX69" fmla="*/ 259915 w 501126"/>
              <a:gd name="connsiteY69" fmla="*/ 548014 h 638828"/>
              <a:gd name="connsiteX70" fmla="*/ 266178 w 501126"/>
              <a:gd name="connsiteY70" fmla="*/ 557409 h 638828"/>
              <a:gd name="connsiteX71" fmla="*/ 259915 w 501126"/>
              <a:gd name="connsiteY71" fmla="*/ 576198 h 638828"/>
              <a:gd name="connsiteX72" fmla="*/ 269310 w 501126"/>
              <a:gd name="connsiteY72" fmla="*/ 579329 h 638828"/>
              <a:gd name="connsiteX73" fmla="*/ 281836 w 501126"/>
              <a:gd name="connsiteY73" fmla="*/ 582461 h 638828"/>
              <a:gd name="connsiteX74" fmla="*/ 284967 w 501126"/>
              <a:gd name="connsiteY74" fmla="*/ 591855 h 638828"/>
              <a:gd name="connsiteX75" fmla="*/ 291231 w 501126"/>
              <a:gd name="connsiteY75" fmla="*/ 601250 h 638828"/>
              <a:gd name="connsiteX76" fmla="*/ 331940 w 501126"/>
              <a:gd name="connsiteY76" fmla="*/ 598118 h 638828"/>
              <a:gd name="connsiteX77" fmla="*/ 366387 w 501126"/>
              <a:gd name="connsiteY77" fmla="*/ 594987 h 638828"/>
              <a:gd name="connsiteX78" fmla="*/ 363255 w 501126"/>
              <a:gd name="connsiteY78" fmla="*/ 573066 h 638828"/>
              <a:gd name="connsiteX79" fmla="*/ 350729 w 501126"/>
              <a:gd name="connsiteY79" fmla="*/ 554277 h 638828"/>
              <a:gd name="connsiteX80" fmla="*/ 353861 w 501126"/>
              <a:gd name="connsiteY80" fmla="*/ 535488 h 638828"/>
              <a:gd name="connsiteX81" fmla="*/ 363255 w 501126"/>
              <a:gd name="connsiteY81" fmla="*/ 526094 h 638828"/>
              <a:gd name="connsiteX82" fmla="*/ 372650 w 501126"/>
              <a:gd name="connsiteY82" fmla="*/ 507305 h 638828"/>
              <a:gd name="connsiteX83" fmla="*/ 375781 w 501126"/>
              <a:gd name="connsiteY83" fmla="*/ 488515 h 638828"/>
              <a:gd name="connsiteX84" fmla="*/ 382044 w 501126"/>
              <a:gd name="connsiteY84" fmla="*/ 469726 h 638828"/>
              <a:gd name="connsiteX85" fmla="*/ 388307 w 501126"/>
              <a:gd name="connsiteY85" fmla="*/ 441543 h 638828"/>
              <a:gd name="connsiteX86" fmla="*/ 385176 w 501126"/>
              <a:gd name="connsiteY86" fmla="*/ 422754 h 638828"/>
              <a:gd name="connsiteX87" fmla="*/ 366387 w 501126"/>
              <a:gd name="connsiteY87" fmla="*/ 410228 h 638828"/>
              <a:gd name="connsiteX88" fmla="*/ 369649 w 501126"/>
              <a:gd name="connsiteY88" fmla="*/ 396070 h 638828"/>
              <a:gd name="connsiteX89" fmla="*/ 369649 w 501126"/>
              <a:gd name="connsiteY89" fmla="*/ 372650 h 638828"/>
              <a:gd name="connsiteX90" fmla="*/ 372650 w 501126"/>
              <a:gd name="connsiteY90" fmla="*/ 353861 h 638828"/>
              <a:gd name="connsiteX91" fmla="*/ 369518 w 501126"/>
              <a:gd name="connsiteY91" fmla="*/ 344466 h 638828"/>
              <a:gd name="connsiteX92" fmla="*/ 350729 w 501126"/>
              <a:gd name="connsiteY92" fmla="*/ 325677 h 638828"/>
              <a:gd name="connsiteX93" fmla="*/ 344466 w 501126"/>
              <a:gd name="connsiteY93" fmla="*/ 316283 h 638828"/>
              <a:gd name="connsiteX94" fmla="*/ 344466 w 501126"/>
              <a:gd name="connsiteY94" fmla="*/ 275573 h 638828"/>
              <a:gd name="connsiteX95" fmla="*/ 353861 w 501126"/>
              <a:gd name="connsiteY95" fmla="*/ 269310 h 638828"/>
              <a:gd name="connsiteX96" fmla="*/ 372650 w 501126"/>
              <a:gd name="connsiteY96" fmla="*/ 278705 h 638828"/>
              <a:gd name="connsiteX97" fmla="*/ 379663 w 501126"/>
              <a:gd name="connsiteY97" fmla="*/ 291361 h 638828"/>
              <a:gd name="connsiteX98" fmla="*/ 384295 w 501126"/>
              <a:gd name="connsiteY98" fmla="*/ 300756 h 638828"/>
              <a:gd name="connsiteX99" fmla="*/ 403214 w 501126"/>
              <a:gd name="connsiteY99" fmla="*/ 308650 h 638828"/>
              <a:gd name="connsiteX100" fmla="*/ 432279 w 501126"/>
              <a:gd name="connsiteY100" fmla="*/ 310150 h 638828"/>
              <a:gd name="connsiteX101" fmla="*/ 458831 w 501126"/>
              <a:gd name="connsiteY101" fmla="*/ 298374 h 638828"/>
              <a:gd name="connsiteX102" fmla="*/ 469857 w 501126"/>
              <a:gd name="connsiteY102" fmla="*/ 284218 h 638828"/>
              <a:gd name="connsiteX103" fmla="*/ 466725 w 501126"/>
              <a:gd name="connsiteY103" fmla="*/ 257533 h 638828"/>
              <a:gd name="connsiteX104" fmla="*/ 468356 w 501126"/>
              <a:gd name="connsiteY104" fmla="*/ 252902 h 638828"/>
              <a:gd name="connsiteX105" fmla="*/ 461863 w 501126"/>
              <a:gd name="connsiteY105" fmla="*/ 239235 h 638828"/>
              <a:gd name="connsiteX106" fmla="*/ 454330 w 501126"/>
              <a:gd name="connsiteY106" fmla="*/ 231732 h 638828"/>
              <a:gd name="connsiteX107" fmla="*/ 438411 w 501126"/>
              <a:gd name="connsiteY107" fmla="*/ 212943 h 638828"/>
              <a:gd name="connsiteX108" fmla="*/ 457200 w 501126"/>
              <a:gd name="connsiteY108" fmla="*/ 206680 h 638828"/>
              <a:gd name="connsiteX109" fmla="*/ 466595 w 501126"/>
              <a:gd name="connsiteY109" fmla="*/ 203548 h 638828"/>
              <a:gd name="connsiteX110" fmla="*/ 501041 w 501126"/>
              <a:gd name="connsiteY110" fmla="*/ 184759 h 638828"/>
              <a:gd name="connsiteX0" fmla="*/ 501041 w 501126"/>
              <a:gd name="connsiteY0" fmla="*/ 184759 h 638828"/>
              <a:gd name="connsiteX1" fmla="*/ 475989 w 501126"/>
              <a:gd name="connsiteY1" fmla="*/ 175365 h 638828"/>
              <a:gd name="connsiteX2" fmla="*/ 472858 w 501126"/>
              <a:gd name="connsiteY2" fmla="*/ 165970 h 638828"/>
              <a:gd name="connsiteX3" fmla="*/ 466595 w 501126"/>
              <a:gd name="connsiteY3" fmla="*/ 156576 h 638828"/>
              <a:gd name="connsiteX4" fmla="*/ 460332 w 501126"/>
              <a:gd name="connsiteY4" fmla="*/ 137787 h 638828"/>
              <a:gd name="connsiteX5" fmla="*/ 441543 w 501126"/>
              <a:gd name="connsiteY5" fmla="*/ 122129 h 638828"/>
              <a:gd name="connsiteX6" fmla="*/ 438411 w 501126"/>
              <a:gd name="connsiteY6" fmla="*/ 112735 h 638828"/>
              <a:gd name="connsiteX7" fmla="*/ 429017 w 501126"/>
              <a:gd name="connsiteY7" fmla="*/ 109603 h 638828"/>
              <a:gd name="connsiteX8" fmla="*/ 419622 w 501126"/>
              <a:gd name="connsiteY8" fmla="*/ 103340 h 638828"/>
              <a:gd name="connsiteX9" fmla="*/ 391439 w 501126"/>
              <a:gd name="connsiteY9" fmla="*/ 103340 h 638828"/>
              <a:gd name="connsiteX10" fmla="*/ 388307 w 501126"/>
              <a:gd name="connsiteY10" fmla="*/ 65762 h 638828"/>
              <a:gd name="connsiteX11" fmla="*/ 385176 w 501126"/>
              <a:gd name="connsiteY11" fmla="*/ 50105 h 638828"/>
              <a:gd name="connsiteX12" fmla="*/ 360124 w 501126"/>
              <a:gd name="connsiteY12" fmla="*/ 18789 h 638828"/>
              <a:gd name="connsiteX13" fmla="*/ 335072 w 501126"/>
              <a:gd name="connsiteY13" fmla="*/ 15658 h 638828"/>
              <a:gd name="connsiteX14" fmla="*/ 325677 w 501126"/>
              <a:gd name="connsiteY14" fmla="*/ 12526 h 638828"/>
              <a:gd name="connsiteX15" fmla="*/ 306888 w 501126"/>
              <a:gd name="connsiteY15" fmla="*/ 3132 h 638828"/>
              <a:gd name="connsiteX16" fmla="*/ 266178 w 501126"/>
              <a:gd name="connsiteY16" fmla="*/ 0 h 638828"/>
              <a:gd name="connsiteX17" fmla="*/ 256784 w 501126"/>
              <a:gd name="connsiteY17" fmla="*/ 3132 h 638828"/>
              <a:gd name="connsiteX18" fmla="*/ 250521 w 501126"/>
              <a:gd name="connsiteY18" fmla="*/ 25052 h 638828"/>
              <a:gd name="connsiteX19" fmla="*/ 234863 w 501126"/>
              <a:gd name="connsiteY19" fmla="*/ 43842 h 638828"/>
              <a:gd name="connsiteX20" fmla="*/ 225469 w 501126"/>
              <a:gd name="connsiteY20" fmla="*/ 62631 h 638828"/>
              <a:gd name="connsiteX21" fmla="*/ 219206 w 501126"/>
              <a:gd name="connsiteY21" fmla="*/ 81420 h 638828"/>
              <a:gd name="connsiteX22" fmla="*/ 212943 w 501126"/>
              <a:gd name="connsiteY22" fmla="*/ 90814 h 638828"/>
              <a:gd name="connsiteX23" fmla="*/ 203548 w 501126"/>
              <a:gd name="connsiteY23" fmla="*/ 109603 h 638828"/>
              <a:gd name="connsiteX24" fmla="*/ 157130 w 501126"/>
              <a:gd name="connsiteY24" fmla="*/ 193991 h 638828"/>
              <a:gd name="connsiteX25" fmla="*/ 148551 w 501126"/>
              <a:gd name="connsiteY25" fmla="*/ 226970 h 638828"/>
              <a:gd name="connsiteX26" fmla="*/ 140788 w 501126"/>
              <a:gd name="connsiteY26" fmla="*/ 248140 h 638828"/>
              <a:gd name="connsiteX27" fmla="*/ 132144 w 501126"/>
              <a:gd name="connsiteY27" fmla="*/ 265429 h 638828"/>
              <a:gd name="connsiteX28" fmla="*/ 114855 w 501126"/>
              <a:gd name="connsiteY28" fmla="*/ 277074 h 638828"/>
              <a:gd name="connsiteX29" fmla="*/ 118867 w 501126"/>
              <a:gd name="connsiteY29" fmla="*/ 288850 h 638828"/>
              <a:gd name="connsiteX30" fmla="*/ 111854 w 501126"/>
              <a:gd name="connsiteY30" fmla="*/ 300625 h 638828"/>
              <a:gd name="connsiteX31" fmla="*/ 106472 w 501126"/>
              <a:gd name="connsiteY31" fmla="*/ 319414 h 638828"/>
              <a:gd name="connsiteX32" fmla="*/ 97077 w 501126"/>
              <a:gd name="connsiteY32" fmla="*/ 328809 h 638828"/>
              <a:gd name="connsiteX33" fmla="*/ 84551 w 501126"/>
              <a:gd name="connsiteY33" fmla="*/ 347598 h 638828"/>
              <a:gd name="connsiteX34" fmla="*/ 78288 w 501126"/>
              <a:gd name="connsiteY34" fmla="*/ 356992 h 638828"/>
              <a:gd name="connsiteX35" fmla="*/ 65762 w 501126"/>
              <a:gd name="connsiteY35" fmla="*/ 366387 h 638828"/>
              <a:gd name="connsiteX36" fmla="*/ 37578 w 501126"/>
              <a:gd name="connsiteY36" fmla="*/ 388307 h 638828"/>
              <a:gd name="connsiteX37" fmla="*/ 28184 w 501126"/>
              <a:gd name="connsiteY37" fmla="*/ 394570 h 638828"/>
              <a:gd name="connsiteX38" fmla="*/ 18789 w 501126"/>
              <a:gd name="connsiteY38" fmla="*/ 397702 h 638828"/>
              <a:gd name="connsiteX39" fmla="*/ 0 w 501126"/>
              <a:gd name="connsiteY39" fmla="*/ 410228 h 638828"/>
              <a:gd name="connsiteX40" fmla="*/ 9395 w 501126"/>
              <a:gd name="connsiteY40" fmla="*/ 413359 h 638828"/>
              <a:gd name="connsiteX41" fmla="*/ 21921 w 501126"/>
              <a:gd name="connsiteY41" fmla="*/ 416491 h 638828"/>
              <a:gd name="connsiteX42" fmla="*/ 31315 w 501126"/>
              <a:gd name="connsiteY42" fmla="*/ 422754 h 638828"/>
              <a:gd name="connsiteX43" fmla="*/ 34447 w 501126"/>
              <a:gd name="connsiteY43" fmla="*/ 479121 h 638828"/>
              <a:gd name="connsiteX44" fmla="*/ 37578 w 501126"/>
              <a:gd name="connsiteY44" fmla="*/ 488515 h 638828"/>
              <a:gd name="connsiteX45" fmla="*/ 46973 w 501126"/>
              <a:gd name="connsiteY45" fmla="*/ 491647 h 638828"/>
              <a:gd name="connsiteX46" fmla="*/ 75157 w 501126"/>
              <a:gd name="connsiteY46" fmla="*/ 491647 h 638828"/>
              <a:gd name="connsiteX47" fmla="*/ 78288 w 501126"/>
              <a:gd name="connsiteY47" fmla="*/ 501042 h 638828"/>
              <a:gd name="connsiteX48" fmla="*/ 87683 w 501126"/>
              <a:gd name="connsiteY48" fmla="*/ 504173 h 638828"/>
              <a:gd name="connsiteX49" fmla="*/ 112735 w 501126"/>
              <a:gd name="connsiteY49" fmla="*/ 507305 h 638828"/>
              <a:gd name="connsiteX50" fmla="*/ 93946 w 501126"/>
              <a:gd name="connsiteY50" fmla="*/ 522962 h 638828"/>
              <a:gd name="connsiteX51" fmla="*/ 90814 w 501126"/>
              <a:gd name="connsiteY51" fmla="*/ 532357 h 638828"/>
              <a:gd name="connsiteX52" fmla="*/ 97077 w 501126"/>
              <a:gd name="connsiteY52" fmla="*/ 541751 h 638828"/>
              <a:gd name="connsiteX53" fmla="*/ 103340 w 501126"/>
              <a:gd name="connsiteY53" fmla="*/ 560540 h 638828"/>
              <a:gd name="connsiteX54" fmla="*/ 100209 w 501126"/>
              <a:gd name="connsiteY54" fmla="*/ 573066 h 638828"/>
              <a:gd name="connsiteX55" fmla="*/ 103340 w 501126"/>
              <a:gd name="connsiteY55" fmla="*/ 610644 h 638828"/>
              <a:gd name="connsiteX56" fmla="*/ 112735 w 501126"/>
              <a:gd name="connsiteY56" fmla="*/ 613776 h 638828"/>
              <a:gd name="connsiteX57" fmla="*/ 150313 w 501126"/>
              <a:gd name="connsiteY57" fmla="*/ 616907 h 638828"/>
              <a:gd name="connsiteX58" fmla="*/ 156576 w 501126"/>
              <a:gd name="connsiteY58" fmla="*/ 626302 h 638828"/>
              <a:gd name="connsiteX59" fmla="*/ 175365 w 501126"/>
              <a:gd name="connsiteY59" fmla="*/ 632565 h 638828"/>
              <a:gd name="connsiteX60" fmla="*/ 184759 w 501126"/>
              <a:gd name="connsiteY60" fmla="*/ 638828 h 638828"/>
              <a:gd name="connsiteX61" fmla="*/ 203548 w 501126"/>
              <a:gd name="connsiteY61" fmla="*/ 629433 h 638828"/>
              <a:gd name="connsiteX62" fmla="*/ 209811 w 501126"/>
              <a:gd name="connsiteY62" fmla="*/ 620039 h 638828"/>
              <a:gd name="connsiteX63" fmla="*/ 219206 w 501126"/>
              <a:gd name="connsiteY63" fmla="*/ 610644 h 638828"/>
              <a:gd name="connsiteX64" fmla="*/ 209811 w 501126"/>
              <a:gd name="connsiteY64" fmla="*/ 601250 h 638828"/>
              <a:gd name="connsiteX65" fmla="*/ 209811 w 501126"/>
              <a:gd name="connsiteY65" fmla="*/ 557409 h 638828"/>
              <a:gd name="connsiteX66" fmla="*/ 212943 w 501126"/>
              <a:gd name="connsiteY66" fmla="*/ 544883 h 638828"/>
              <a:gd name="connsiteX67" fmla="*/ 222337 w 501126"/>
              <a:gd name="connsiteY67" fmla="*/ 538620 h 638828"/>
              <a:gd name="connsiteX68" fmla="*/ 250521 w 501126"/>
              <a:gd name="connsiteY68" fmla="*/ 544883 h 638828"/>
              <a:gd name="connsiteX69" fmla="*/ 259915 w 501126"/>
              <a:gd name="connsiteY69" fmla="*/ 548014 h 638828"/>
              <a:gd name="connsiteX70" fmla="*/ 266178 w 501126"/>
              <a:gd name="connsiteY70" fmla="*/ 557409 h 638828"/>
              <a:gd name="connsiteX71" fmla="*/ 259915 w 501126"/>
              <a:gd name="connsiteY71" fmla="*/ 576198 h 638828"/>
              <a:gd name="connsiteX72" fmla="*/ 269310 w 501126"/>
              <a:gd name="connsiteY72" fmla="*/ 579329 h 638828"/>
              <a:gd name="connsiteX73" fmla="*/ 281836 w 501126"/>
              <a:gd name="connsiteY73" fmla="*/ 582461 h 638828"/>
              <a:gd name="connsiteX74" fmla="*/ 284967 w 501126"/>
              <a:gd name="connsiteY74" fmla="*/ 591855 h 638828"/>
              <a:gd name="connsiteX75" fmla="*/ 291231 w 501126"/>
              <a:gd name="connsiteY75" fmla="*/ 601250 h 638828"/>
              <a:gd name="connsiteX76" fmla="*/ 331940 w 501126"/>
              <a:gd name="connsiteY76" fmla="*/ 598118 h 638828"/>
              <a:gd name="connsiteX77" fmla="*/ 366387 w 501126"/>
              <a:gd name="connsiteY77" fmla="*/ 594987 h 638828"/>
              <a:gd name="connsiteX78" fmla="*/ 363255 w 501126"/>
              <a:gd name="connsiteY78" fmla="*/ 573066 h 638828"/>
              <a:gd name="connsiteX79" fmla="*/ 350729 w 501126"/>
              <a:gd name="connsiteY79" fmla="*/ 554277 h 638828"/>
              <a:gd name="connsiteX80" fmla="*/ 353861 w 501126"/>
              <a:gd name="connsiteY80" fmla="*/ 535488 h 638828"/>
              <a:gd name="connsiteX81" fmla="*/ 363255 w 501126"/>
              <a:gd name="connsiteY81" fmla="*/ 526094 h 638828"/>
              <a:gd name="connsiteX82" fmla="*/ 372650 w 501126"/>
              <a:gd name="connsiteY82" fmla="*/ 507305 h 638828"/>
              <a:gd name="connsiteX83" fmla="*/ 375781 w 501126"/>
              <a:gd name="connsiteY83" fmla="*/ 488515 h 638828"/>
              <a:gd name="connsiteX84" fmla="*/ 382044 w 501126"/>
              <a:gd name="connsiteY84" fmla="*/ 469726 h 638828"/>
              <a:gd name="connsiteX85" fmla="*/ 388307 w 501126"/>
              <a:gd name="connsiteY85" fmla="*/ 441543 h 638828"/>
              <a:gd name="connsiteX86" fmla="*/ 385176 w 501126"/>
              <a:gd name="connsiteY86" fmla="*/ 422754 h 638828"/>
              <a:gd name="connsiteX87" fmla="*/ 366387 w 501126"/>
              <a:gd name="connsiteY87" fmla="*/ 410228 h 638828"/>
              <a:gd name="connsiteX88" fmla="*/ 369649 w 501126"/>
              <a:gd name="connsiteY88" fmla="*/ 396070 h 638828"/>
              <a:gd name="connsiteX89" fmla="*/ 369649 w 501126"/>
              <a:gd name="connsiteY89" fmla="*/ 372650 h 638828"/>
              <a:gd name="connsiteX90" fmla="*/ 372650 w 501126"/>
              <a:gd name="connsiteY90" fmla="*/ 353861 h 638828"/>
              <a:gd name="connsiteX91" fmla="*/ 369518 w 501126"/>
              <a:gd name="connsiteY91" fmla="*/ 344466 h 638828"/>
              <a:gd name="connsiteX92" fmla="*/ 350729 w 501126"/>
              <a:gd name="connsiteY92" fmla="*/ 325677 h 638828"/>
              <a:gd name="connsiteX93" fmla="*/ 344466 w 501126"/>
              <a:gd name="connsiteY93" fmla="*/ 316283 h 638828"/>
              <a:gd name="connsiteX94" fmla="*/ 347563 w 501126"/>
              <a:gd name="connsiteY94" fmla="*/ 291622 h 638828"/>
              <a:gd name="connsiteX95" fmla="*/ 344466 w 501126"/>
              <a:gd name="connsiteY95" fmla="*/ 275573 h 638828"/>
              <a:gd name="connsiteX96" fmla="*/ 353861 w 501126"/>
              <a:gd name="connsiteY96" fmla="*/ 269310 h 638828"/>
              <a:gd name="connsiteX97" fmla="*/ 372650 w 501126"/>
              <a:gd name="connsiteY97" fmla="*/ 278705 h 638828"/>
              <a:gd name="connsiteX98" fmla="*/ 379663 w 501126"/>
              <a:gd name="connsiteY98" fmla="*/ 291361 h 638828"/>
              <a:gd name="connsiteX99" fmla="*/ 384295 w 501126"/>
              <a:gd name="connsiteY99" fmla="*/ 300756 h 638828"/>
              <a:gd name="connsiteX100" fmla="*/ 403214 w 501126"/>
              <a:gd name="connsiteY100" fmla="*/ 308650 h 638828"/>
              <a:gd name="connsiteX101" fmla="*/ 432279 w 501126"/>
              <a:gd name="connsiteY101" fmla="*/ 310150 h 638828"/>
              <a:gd name="connsiteX102" fmla="*/ 458831 w 501126"/>
              <a:gd name="connsiteY102" fmla="*/ 298374 h 638828"/>
              <a:gd name="connsiteX103" fmla="*/ 469857 w 501126"/>
              <a:gd name="connsiteY103" fmla="*/ 284218 h 638828"/>
              <a:gd name="connsiteX104" fmla="*/ 466725 w 501126"/>
              <a:gd name="connsiteY104" fmla="*/ 257533 h 638828"/>
              <a:gd name="connsiteX105" fmla="*/ 468356 w 501126"/>
              <a:gd name="connsiteY105" fmla="*/ 252902 h 638828"/>
              <a:gd name="connsiteX106" fmla="*/ 461863 w 501126"/>
              <a:gd name="connsiteY106" fmla="*/ 239235 h 638828"/>
              <a:gd name="connsiteX107" fmla="*/ 454330 w 501126"/>
              <a:gd name="connsiteY107" fmla="*/ 231732 h 638828"/>
              <a:gd name="connsiteX108" fmla="*/ 438411 w 501126"/>
              <a:gd name="connsiteY108" fmla="*/ 212943 h 638828"/>
              <a:gd name="connsiteX109" fmla="*/ 457200 w 501126"/>
              <a:gd name="connsiteY109" fmla="*/ 206680 h 638828"/>
              <a:gd name="connsiteX110" fmla="*/ 466595 w 501126"/>
              <a:gd name="connsiteY110" fmla="*/ 203548 h 638828"/>
              <a:gd name="connsiteX111" fmla="*/ 501041 w 501126"/>
              <a:gd name="connsiteY111" fmla="*/ 184759 h 638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501126" h="638828">
                <a:moveTo>
                  <a:pt x="501041" y="184759"/>
                </a:moveTo>
                <a:cubicBezTo>
                  <a:pt x="502607" y="180062"/>
                  <a:pt x="482132" y="183044"/>
                  <a:pt x="475989" y="175365"/>
                </a:cubicBezTo>
                <a:cubicBezTo>
                  <a:pt x="473927" y="172787"/>
                  <a:pt x="474334" y="168923"/>
                  <a:pt x="472858" y="165970"/>
                </a:cubicBezTo>
                <a:cubicBezTo>
                  <a:pt x="471175" y="162604"/>
                  <a:pt x="468124" y="160015"/>
                  <a:pt x="466595" y="156576"/>
                </a:cubicBezTo>
                <a:cubicBezTo>
                  <a:pt x="463914" y="150543"/>
                  <a:pt x="465000" y="142455"/>
                  <a:pt x="460332" y="137787"/>
                </a:cubicBezTo>
                <a:cubicBezTo>
                  <a:pt x="448276" y="125731"/>
                  <a:pt x="454622" y="130849"/>
                  <a:pt x="441543" y="122129"/>
                </a:cubicBezTo>
                <a:cubicBezTo>
                  <a:pt x="440499" y="118998"/>
                  <a:pt x="440745" y="115069"/>
                  <a:pt x="438411" y="112735"/>
                </a:cubicBezTo>
                <a:cubicBezTo>
                  <a:pt x="436077" y="110401"/>
                  <a:pt x="431969" y="111079"/>
                  <a:pt x="429017" y="109603"/>
                </a:cubicBezTo>
                <a:cubicBezTo>
                  <a:pt x="425651" y="107920"/>
                  <a:pt x="422754" y="105428"/>
                  <a:pt x="419622" y="103340"/>
                </a:cubicBezTo>
                <a:cubicBezTo>
                  <a:pt x="397263" y="110793"/>
                  <a:pt x="406326" y="113265"/>
                  <a:pt x="391439" y="103340"/>
                </a:cubicBezTo>
                <a:cubicBezTo>
                  <a:pt x="390395" y="90814"/>
                  <a:pt x="389776" y="78245"/>
                  <a:pt x="388307" y="65762"/>
                </a:cubicBezTo>
                <a:cubicBezTo>
                  <a:pt x="387685" y="60476"/>
                  <a:pt x="386576" y="55240"/>
                  <a:pt x="385176" y="50105"/>
                </a:cubicBezTo>
                <a:cubicBezTo>
                  <a:pt x="381417" y="36321"/>
                  <a:pt x="378838" y="21128"/>
                  <a:pt x="360124" y="18789"/>
                </a:cubicBezTo>
                <a:lnTo>
                  <a:pt x="335072" y="15658"/>
                </a:lnTo>
                <a:cubicBezTo>
                  <a:pt x="331940" y="14614"/>
                  <a:pt x="328630" y="14002"/>
                  <a:pt x="325677" y="12526"/>
                </a:cubicBezTo>
                <a:cubicBezTo>
                  <a:pt x="316350" y="7862"/>
                  <a:pt x="317386" y="4444"/>
                  <a:pt x="306888" y="3132"/>
                </a:cubicBezTo>
                <a:cubicBezTo>
                  <a:pt x="293383" y="1444"/>
                  <a:pt x="279748" y="1044"/>
                  <a:pt x="266178" y="0"/>
                </a:cubicBezTo>
                <a:cubicBezTo>
                  <a:pt x="263047" y="1044"/>
                  <a:pt x="259118" y="798"/>
                  <a:pt x="256784" y="3132"/>
                </a:cubicBezTo>
                <a:cubicBezTo>
                  <a:pt x="255258" y="4658"/>
                  <a:pt x="250584" y="24906"/>
                  <a:pt x="250521" y="25052"/>
                </a:cubicBezTo>
                <a:cubicBezTo>
                  <a:pt x="247251" y="32682"/>
                  <a:pt x="240507" y="38198"/>
                  <a:pt x="234863" y="43842"/>
                </a:cubicBezTo>
                <a:cubicBezTo>
                  <a:pt x="223447" y="78094"/>
                  <a:pt x="241653" y="26216"/>
                  <a:pt x="225469" y="62631"/>
                </a:cubicBezTo>
                <a:cubicBezTo>
                  <a:pt x="222788" y="68664"/>
                  <a:pt x="221294" y="75157"/>
                  <a:pt x="219206" y="81420"/>
                </a:cubicBezTo>
                <a:cubicBezTo>
                  <a:pt x="218016" y="84990"/>
                  <a:pt x="214626" y="87448"/>
                  <a:pt x="212943" y="90814"/>
                </a:cubicBezTo>
                <a:cubicBezTo>
                  <a:pt x="199978" y="116743"/>
                  <a:pt x="221496" y="82683"/>
                  <a:pt x="203548" y="109603"/>
                </a:cubicBezTo>
                <a:cubicBezTo>
                  <a:pt x="192044" y="137732"/>
                  <a:pt x="168634" y="165862"/>
                  <a:pt x="157130" y="193991"/>
                </a:cubicBezTo>
                <a:cubicBezTo>
                  <a:pt x="159033" y="206571"/>
                  <a:pt x="151275" y="217945"/>
                  <a:pt x="148551" y="226970"/>
                </a:cubicBezTo>
                <a:cubicBezTo>
                  <a:pt x="145827" y="235995"/>
                  <a:pt x="143523" y="241730"/>
                  <a:pt x="140788" y="248140"/>
                </a:cubicBezTo>
                <a:cubicBezTo>
                  <a:pt x="138054" y="254550"/>
                  <a:pt x="136466" y="260607"/>
                  <a:pt x="132144" y="265429"/>
                </a:cubicBezTo>
                <a:cubicBezTo>
                  <a:pt x="127822" y="270251"/>
                  <a:pt x="117068" y="273171"/>
                  <a:pt x="114855" y="277074"/>
                </a:cubicBezTo>
                <a:cubicBezTo>
                  <a:pt x="112642" y="280977"/>
                  <a:pt x="119367" y="284925"/>
                  <a:pt x="118867" y="288850"/>
                </a:cubicBezTo>
                <a:cubicBezTo>
                  <a:pt x="118367" y="292775"/>
                  <a:pt x="113920" y="295531"/>
                  <a:pt x="111854" y="300625"/>
                </a:cubicBezTo>
                <a:cubicBezTo>
                  <a:pt x="109788" y="305719"/>
                  <a:pt x="108935" y="314717"/>
                  <a:pt x="106472" y="319414"/>
                </a:cubicBezTo>
                <a:cubicBezTo>
                  <a:pt x="104009" y="324111"/>
                  <a:pt x="99796" y="325313"/>
                  <a:pt x="97077" y="328809"/>
                </a:cubicBezTo>
                <a:cubicBezTo>
                  <a:pt x="92456" y="334751"/>
                  <a:pt x="88726" y="341335"/>
                  <a:pt x="84551" y="347598"/>
                </a:cubicBezTo>
                <a:lnTo>
                  <a:pt x="78288" y="356992"/>
                </a:lnTo>
                <a:cubicBezTo>
                  <a:pt x="75393" y="361335"/>
                  <a:pt x="69725" y="362990"/>
                  <a:pt x="65762" y="366387"/>
                </a:cubicBezTo>
                <a:cubicBezTo>
                  <a:pt x="40010" y="388460"/>
                  <a:pt x="78806" y="360821"/>
                  <a:pt x="37578" y="388307"/>
                </a:cubicBezTo>
                <a:cubicBezTo>
                  <a:pt x="34447" y="390395"/>
                  <a:pt x="31754" y="393380"/>
                  <a:pt x="28184" y="394570"/>
                </a:cubicBezTo>
                <a:cubicBezTo>
                  <a:pt x="25052" y="395614"/>
                  <a:pt x="21675" y="396099"/>
                  <a:pt x="18789" y="397702"/>
                </a:cubicBezTo>
                <a:cubicBezTo>
                  <a:pt x="12209" y="401358"/>
                  <a:pt x="0" y="410228"/>
                  <a:pt x="0" y="410228"/>
                </a:cubicBezTo>
                <a:cubicBezTo>
                  <a:pt x="3132" y="411272"/>
                  <a:pt x="6221" y="412452"/>
                  <a:pt x="9395" y="413359"/>
                </a:cubicBezTo>
                <a:cubicBezTo>
                  <a:pt x="13533" y="414541"/>
                  <a:pt x="17965" y="414796"/>
                  <a:pt x="21921" y="416491"/>
                </a:cubicBezTo>
                <a:cubicBezTo>
                  <a:pt x="25380" y="417974"/>
                  <a:pt x="28184" y="420666"/>
                  <a:pt x="31315" y="422754"/>
                </a:cubicBezTo>
                <a:cubicBezTo>
                  <a:pt x="32359" y="441543"/>
                  <a:pt x="32663" y="460388"/>
                  <a:pt x="34447" y="479121"/>
                </a:cubicBezTo>
                <a:cubicBezTo>
                  <a:pt x="34760" y="482407"/>
                  <a:pt x="35244" y="486181"/>
                  <a:pt x="37578" y="488515"/>
                </a:cubicBezTo>
                <a:cubicBezTo>
                  <a:pt x="39912" y="490849"/>
                  <a:pt x="43841" y="490603"/>
                  <a:pt x="46973" y="491647"/>
                </a:cubicBezTo>
                <a:cubicBezTo>
                  <a:pt x="54819" y="490078"/>
                  <a:pt x="67196" y="485278"/>
                  <a:pt x="75157" y="491647"/>
                </a:cubicBezTo>
                <a:cubicBezTo>
                  <a:pt x="77735" y="493709"/>
                  <a:pt x="75954" y="498708"/>
                  <a:pt x="78288" y="501042"/>
                </a:cubicBezTo>
                <a:cubicBezTo>
                  <a:pt x="80622" y="503376"/>
                  <a:pt x="84435" y="503583"/>
                  <a:pt x="87683" y="504173"/>
                </a:cubicBezTo>
                <a:cubicBezTo>
                  <a:pt x="95963" y="505678"/>
                  <a:pt x="104384" y="506261"/>
                  <a:pt x="112735" y="507305"/>
                </a:cubicBezTo>
                <a:cubicBezTo>
                  <a:pt x="105803" y="511926"/>
                  <a:pt x="98768" y="515728"/>
                  <a:pt x="93946" y="522962"/>
                </a:cubicBezTo>
                <a:cubicBezTo>
                  <a:pt x="92115" y="525709"/>
                  <a:pt x="91858" y="529225"/>
                  <a:pt x="90814" y="532357"/>
                </a:cubicBezTo>
                <a:cubicBezTo>
                  <a:pt x="92902" y="535488"/>
                  <a:pt x="95548" y="538312"/>
                  <a:pt x="97077" y="541751"/>
                </a:cubicBezTo>
                <a:cubicBezTo>
                  <a:pt x="99758" y="547784"/>
                  <a:pt x="103340" y="560540"/>
                  <a:pt x="103340" y="560540"/>
                </a:cubicBezTo>
                <a:cubicBezTo>
                  <a:pt x="102296" y="564715"/>
                  <a:pt x="100209" y="568762"/>
                  <a:pt x="100209" y="573066"/>
                </a:cubicBezTo>
                <a:cubicBezTo>
                  <a:pt x="100209" y="585635"/>
                  <a:pt x="99644" y="598630"/>
                  <a:pt x="103340" y="610644"/>
                </a:cubicBezTo>
                <a:cubicBezTo>
                  <a:pt x="104311" y="613799"/>
                  <a:pt x="109463" y="613340"/>
                  <a:pt x="112735" y="613776"/>
                </a:cubicBezTo>
                <a:cubicBezTo>
                  <a:pt x="125194" y="615437"/>
                  <a:pt x="137787" y="615863"/>
                  <a:pt x="150313" y="616907"/>
                </a:cubicBezTo>
                <a:cubicBezTo>
                  <a:pt x="152401" y="620039"/>
                  <a:pt x="153384" y="624307"/>
                  <a:pt x="156576" y="626302"/>
                </a:cubicBezTo>
                <a:cubicBezTo>
                  <a:pt x="162174" y="629801"/>
                  <a:pt x="169872" y="628903"/>
                  <a:pt x="175365" y="632565"/>
                </a:cubicBezTo>
                <a:lnTo>
                  <a:pt x="184759" y="638828"/>
                </a:lnTo>
                <a:cubicBezTo>
                  <a:pt x="192400" y="636281"/>
                  <a:pt x="197477" y="635504"/>
                  <a:pt x="203548" y="629433"/>
                </a:cubicBezTo>
                <a:cubicBezTo>
                  <a:pt x="206209" y="626772"/>
                  <a:pt x="207402" y="622930"/>
                  <a:pt x="209811" y="620039"/>
                </a:cubicBezTo>
                <a:cubicBezTo>
                  <a:pt x="212646" y="616637"/>
                  <a:pt x="216074" y="613776"/>
                  <a:pt x="219206" y="610644"/>
                </a:cubicBezTo>
                <a:cubicBezTo>
                  <a:pt x="216074" y="607513"/>
                  <a:pt x="212268" y="604935"/>
                  <a:pt x="209811" y="601250"/>
                </a:cubicBezTo>
                <a:cubicBezTo>
                  <a:pt x="202287" y="589964"/>
                  <a:pt x="208993" y="563544"/>
                  <a:pt x="209811" y="557409"/>
                </a:cubicBezTo>
                <a:cubicBezTo>
                  <a:pt x="210380" y="553143"/>
                  <a:pt x="210556" y="548464"/>
                  <a:pt x="212943" y="544883"/>
                </a:cubicBezTo>
                <a:cubicBezTo>
                  <a:pt x="215031" y="541752"/>
                  <a:pt x="219206" y="540708"/>
                  <a:pt x="222337" y="538620"/>
                </a:cubicBezTo>
                <a:cubicBezTo>
                  <a:pt x="233113" y="540775"/>
                  <a:pt x="240191" y="541932"/>
                  <a:pt x="250521" y="544883"/>
                </a:cubicBezTo>
                <a:cubicBezTo>
                  <a:pt x="253695" y="545790"/>
                  <a:pt x="256784" y="546970"/>
                  <a:pt x="259915" y="548014"/>
                </a:cubicBezTo>
                <a:cubicBezTo>
                  <a:pt x="262003" y="551146"/>
                  <a:pt x="266178" y="553645"/>
                  <a:pt x="266178" y="557409"/>
                </a:cubicBezTo>
                <a:cubicBezTo>
                  <a:pt x="266178" y="564011"/>
                  <a:pt x="259915" y="576198"/>
                  <a:pt x="259915" y="576198"/>
                </a:cubicBezTo>
                <a:cubicBezTo>
                  <a:pt x="263047" y="577242"/>
                  <a:pt x="266136" y="578422"/>
                  <a:pt x="269310" y="579329"/>
                </a:cubicBezTo>
                <a:cubicBezTo>
                  <a:pt x="273448" y="580511"/>
                  <a:pt x="278475" y="579772"/>
                  <a:pt x="281836" y="582461"/>
                </a:cubicBezTo>
                <a:cubicBezTo>
                  <a:pt x="284413" y="584523"/>
                  <a:pt x="283491" y="588903"/>
                  <a:pt x="284967" y="591855"/>
                </a:cubicBezTo>
                <a:cubicBezTo>
                  <a:pt x="286650" y="595222"/>
                  <a:pt x="289143" y="598118"/>
                  <a:pt x="291231" y="601250"/>
                </a:cubicBezTo>
                <a:lnTo>
                  <a:pt x="331940" y="598118"/>
                </a:lnTo>
                <a:cubicBezTo>
                  <a:pt x="343430" y="597161"/>
                  <a:pt x="357384" y="602190"/>
                  <a:pt x="366387" y="594987"/>
                </a:cubicBezTo>
                <a:cubicBezTo>
                  <a:pt x="372151" y="590376"/>
                  <a:pt x="365905" y="579955"/>
                  <a:pt x="363255" y="573066"/>
                </a:cubicBezTo>
                <a:cubicBezTo>
                  <a:pt x="360553" y="566041"/>
                  <a:pt x="350729" y="554277"/>
                  <a:pt x="350729" y="554277"/>
                </a:cubicBezTo>
                <a:cubicBezTo>
                  <a:pt x="351773" y="548014"/>
                  <a:pt x="351282" y="541290"/>
                  <a:pt x="353861" y="535488"/>
                </a:cubicBezTo>
                <a:cubicBezTo>
                  <a:pt x="355660" y="531441"/>
                  <a:pt x="360420" y="529496"/>
                  <a:pt x="363255" y="526094"/>
                </a:cubicBezTo>
                <a:cubicBezTo>
                  <a:pt x="369999" y="518001"/>
                  <a:pt x="369511" y="516719"/>
                  <a:pt x="372650" y="507305"/>
                </a:cubicBezTo>
                <a:cubicBezTo>
                  <a:pt x="373694" y="501042"/>
                  <a:pt x="374241" y="494675"/>
                  <a:pt x="375781" y="488515"/>
                </a:cubicBezTo>
                <a:cubicBezTo>
                  <a:pt x="377382" y="482110"/>
                  <a:pt x="380959" y="476238"/>
                  <a:pt x="382044" y="469726"/>
                </a:cubicBezTo>
                <a:cubicBezTo>
                  <a:pt x="385719" y="447681"/>
                  <a:pt x="383168" y="456961"/>
                  <a:pt x="388307" y="441543"/>
                </a:cubicBezTo>
                <a:cubicBezTo>
                  <a:pt x="387263" y="435280"/>
                  <a:pt x="388817" y="427956"/>
                  <a:pt x="385176" y="422754"/>
                </a:cubicBezTo>
                <a:cubicBezTo>
                  <a:pt x="380860" y="416587"/>
                  <a:pt x="368975" y="414675"/>
                  <a:pt x="366387" y="410228"/>
                </a:cubicBezTo>
                <a:cubicBezTo>
                  <a:pt x="363799" y="405781"/>
                  <a:pt x="369105" y="402333"/>
                  <a:pt x="369649" y="396070"/>
                </a:cubicBezTo>
                <a:cubicBezTo>
                  <a:pt x="370193" y="389807"/>
                  <a:pt x="369149" y="379685"/>
                  <a:pt x="369649" y="372650"/>
                </a:cubicBezTo>
                <a:cubicBezTo>
                  <a:pt x="370149" y="365615"/>
                  <a:pt x="372672" y="358558"/>
                  <a:pt x="372650" y="353861"/>
                </a:cubicBezTo>
                <a:cubicBezTo>
                  <a:pt x="372628" y="349164"/>
                  <a:pt x="371545" y="347072"/>
                  <a:pt x="369518" y="344466"/>
                </a:cubicBezTo>
                <a:cubicBezTo>
                  <a:pt x="364080" y="337475"/>
                  <a:pt x="355642" y="333047"/>
                  <a:pt x="350729" y="325677"/>
                </a:cubicBezTo>
                <a:lnTo>
                  <a:pt x="344466" y="316283"/>
                </a:lnTo>
                <a:cubicBezTo>
                  <a:pt x="342748" y="310607"/>
                  <a:pt x="347563" y="298407"/>
                  <a:pt x="347563" y="291622"/>
                </a:cubicBezTo>
                <a:cubicBezTo>
                  <a:pt x="347563" y="284837"/>
                  <a:pt x="343416" y="279292"/>
                  <a:pt x="344466" y="275573"/>
                </a:cubicBezTo>
                <a:cubicBezTo>
                  <a:pt x="345516" y="271854"/>
                  <a:pt x="350729" y="271398"/>
                  <a:pt x="353861" y="269310"/>
                </a:cubicBezTo>
                <a:cubicBezTo>
                  <a:pt x="377479" y="277184"/>
                  <a:pt x="368350" y="275030"/>
                  <a:pt x="372650" y="278705"/>
                </a:cubicBezTo>
                <a:cubicBezTo>
                  <a:pt x="376950" y="282380"/>
                  <a:pt x="376532" y="290317"/>
                  <a:pt x="379663" y="291361"/>
                </a:cubicBezTo>
                <a:cubicBezTo>
                  <a:pt x="382795" y="294493"/>
                  <a:pt x="380370" y="297875"/>
                  <a:pt x="384295" y="300756"/>
                </a:cubicBezTo>
                <a:cubicBezTo>
                  <a:pt x="388220" y="303637"/>
                  <a:pt x="395217" y="307084"/>
                  <a:pt x="403214" y="308650"/>
                </a:cubicBezTo>
                <a:cubicBezTo>
                  <a:pt x="411211" y="310216"/>
                  <a:pt x="423010" y="311863"/>
                  <a:pt x="432279" y="310150"/>
                </a:cubicBezTo>
                <a:cubicBezTo>
                  <a:pt x="441548" y="308437"/>
                  <a:pt x="452568" y="302696"/>
                  <a:pt x="458831" y="298374"/>
                </a:cubicBezTo>
                <a:cubicBezTo>
                  <a:pt x="465094" y="294052"/>
                  <a:pt x="467769" y="287350"/>
                  <a:pt x="469857" y="284218"/>
                </a:cubicBezTo>
                <a:cubicBezTo>
                  <a:pt x="468813" y="276911"/>
                  <a:pt x="466975" y="262752"/>
                  <a:pt x="466725" y="257533"/>
                </a:cubicBezTo>
                <a:cubicBezTo>
                  <a:pt x="466475" y="252314"/>
                  <a:pt x="469166" y="255952"/>
                  <a:pt x="468356" y="252902"/>
                </a:cubicBezTo>
                <a:cubicBezTo>
                  <a:pt x="467546" y="249852"/>
                  <a:pt x="464994" y="242366"/>
                  <a:pt x="461863" y="239235"/>
                </a:cubicBezTo>
                <a:cubicBezTo>
                  <a:pt x="458732" y="236104"/>
                  <a:pt x="458239" y="236114"/>
                  <a:pt x="454330" y="231732"/>
                </a:cubicBezTo>
                <a:cubicBezTo>
                  <a:pt x="450421" y="227350"/>
                  <a:pt x="437933" y="217118"/>
                  <a:pt x="438411" y="212943"/>
                </a:cubicBezTo>
                <a:cubicBezTo>
                  <a:pt x="438889" y="208768"/>
                  <a:pt x="450937" y="208768"/>
                  <a:pt x="457200" y="206680"/>
                </a:cubicBezTo>
                <a:lnTo>
                  <a:pt x="466595" y="203548"/>
                </a:lnTo>
                <a:cubicBezTo>
                  <a:pt x="473736" y="201167"/>
                  <a:pt x="499475" y="189456"/>
                  <a:pt x="501041" y="184759"/>
                </a:cubicBezTo>
                <a:close/>
              </a:path>
            </a:pathLst>
          </a:custGeom>
          <a:solidFill>
            <a:srgbClr val="FDECDF"/>
          </a:solidFill>
          <a:ln w="190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srgbClr val="182F41"/>
              </a:solidFill>
            </a:endParaRPr>
          </a:p>
        </p:txBody>
      </p:sp>
      <p:sp>
        <p:nvSpPr>
          <p:cNvPr id="10" name="Forme libre 115">
            <a:extLst>
              <a:ext uri="{FF2B5EF4-FFF2-40B4-BE49-F238E27FC236}">
                <a16:creationId xmlns:a16="http://schemas.microsoft.com/office/drawing/2014/main" id="{0B0076AA-BEEE-4F54-8CEB-9334613D7A82}"/>
              </a:ext>
            </a:extLst>
          </p:cNvPr>
          <p:cNvSpPr/>
          <p:nvPr/>
        </p:nvSpPr>
        <p:spPr>
          <a:xfrm>
            <a:off x="3140075" y="2144803"/>
            <a:ext cx="565150" cy="772730"/>
          </a:xfrm>
          <a:custGeom>
            <a:avLst/>
            <a:gdLst>
              <a:gd name="connsiteX0" fmla="*/ 571576 w 571586"/>
              <a:gd name="connsiteY0" fmla="*/ 188123 h 736540"/>
              <a:gd name="connsiteX1" fmla="*/ 557288 w 571586"/>
              <a:gd name="connsiteY1" fmla="*/ 204791 h 736540"/>
              <a:gd name="connsiteX2" fmla="*/ 547763 w 571586"/>
              <a:gd name="connsiteY2" fmla="*/ 219079 h 736540"/>
              <a:gd name="connsiteX3" fmla="*/ 540620 w 571586"/>
              <a:gd name="connsiteY3" fmla="*/ 269085 h 736540"/>
              <a:gd name="connsiteX4" fmla="*/ 535857 w 571586"/>
              <a:gd name="connsiteY4" fmla="*/ 311948 h 736540"/>
              <a:gd name="connsiteX5" fmla="*/ 533476 w 571586"/>
              <a:gd name="connsiteY5" fmla="*/ 319091 h 736540"/>
              <a:gd name="connsiteX6" fmla="*/ 521570 w 571586"/>
              <a:gd name="connsiteY6" fmla="*/ 321473 h 736540"/>
              <a:gd name="connsiteX7" fmla="*/ 516807 w 571586"/>
              <a:gd name="connsiteY7" fmla="*/ 338141 h 736540"/>
              <a:gd name="connsiteX8" fmla="*/ 514426 w 571586"/>
              <a:gd name="connsiteY8" fmla="*/ 345285 h 736540"/>
              <a:gd name="connsiteX9" fmla="*/ 500138 w 571586"/>
              <a:gd name="connsiteY9" fmla="*/ 357191 h 736540"/>
              <a:gd name="connsiteX10" fmla="*/ 492995 w 571586"/>
              <a:gd name="connsiteY10" fmla="*/ 359573 h 736540"/>
              <a:gd name="connsiteX11" fmla="*/ 485851 w 571586"/>
              <a:gd name="connsiteY11" fmla="*/ 383385 h 736540"/>
              <a:gd name="connsiteX12" fmla="*/ 492995 w 571586"/>
              <a:gd name="connsiteY12" fmla="*/ 388148 h 736540"/>
              <a:gd name="connsiteX13" fmla="*/ 502520 w 571586"/>
              <a:gd name="connsiteY13" fmla="*/ 390529 h 736540"/>
              <a:gd name="connsiteX14" fmla="*/ 507282 w 571586"/>
              <a:gd name="connsiteY14" fmla="*/ 397673 h 736540"/>
              <a:gd name="connsiteX15" fmla="*/ 504901 w 571586"/>
              <a:gd name="connsiteY15" fmla="*/ 409579 h 736540"/>
              <a:gd name="connsiteX16" fmla="*/ 500138 w 571586"/>
              <a:gd name="connsiteY16" fmla="*/ 416723 h 736540"/>
              <a:gd name="connsiteX17" fmla="*/ 497757 w 571586"/>
              <a:gd name="connsiteY17" fmla="*/ 423866 h 736540"/>
              <a:gd name="connsiteX18" fmla="*/ 507282 w 571586"/>
              <a:gd name="connsiteY18" fmla="*/ 438154 h 736540"/>
              <a:gd name="connsiteX19" fmla="*/ 509663 w 571586"/>
              <a:gd name="connsiteY19" fmla="*/ 445298 h 736540"/>
              <a:gd name="connsiteX20" fmla="*/ 497757 w 571586"/>
              <a:gd name="connsiteY20" fmla="*/ 442916 h 736540"/>
              <a:gd name="connsiteX21" fmla="*/ 476326 w 571586"/>
              <a:gd name="connsiteY21" fmla="*/ 433391 h 736540"/>
              <a:gd name="connsiteX22" fmla="*/ 469182 w 571586"/>
              <a:gd name="connsiteY22" fmla="*/ 431010 h 736540"/>
              <a:gd name="connsiteX23" fmla="*/ 457276 w 571586"/>
              <a:gd name="connsiteY23" fmla="*/ 433391 h 736540"/>
              <a:gd name="connsiteX24" fmla="*/ 454895 w 571586"/>
              <a:gd name="connsiteY24" fmla="*/ 450060 h 736540"/>
              <a:gd name="connsiteX25" fmla="*/ 447751 w 571586"/>
              <a:gd name="connsiteY25" fmla="*/ 464348 h 736540"/>
              <a:gd name="connsiteX26" fmla="*/ 440607 w 571586"/>
              <a:gd name="connsiteY26" fmla="*/ 471491 h 736540"/>
              <a:gd name="connsiteX27" fmla="*/ 423938 w 571586"/>
              <a:gd name="connsiteY27" fmla="*/ 473873 h 736540"/>
              <a:gd name="connsiteX28" fmla="*/ 402507 w 571586"/>
              <a:gd name="connsiteY28" fmla="*/ 485779 h 736540"/>
              <a:gd name="connsiteX29" fmla="*/ 392982 w 571586"/>
              <a:gd name="connsiteY29" fmla="*/ 500066 h 736540"/>
              <a:gd name="connsiteX30" fmla="*/ 400126 w 571586"/>
              <a:gd name="connsiteY30" fmla="*/ 521498 h 736540"/>
              <a:gd name="connsiteX31" fmla="*/ 407270 w 571586"/>
              <a:gd name="connsiteY31" fmla="*/ 526260 h 736540"/>
              <a:gd name="connsiteX32" fmla="*/ 400126 w 571586"/>
              <a:gd name="connsiteY32" fmla="*/ 564360 h 736540"/>
              <a:gd name="connsiteX33" fmla="*/ 392982 w 571586"/>
              <a:gd name="connsiteY33" fmla="*/ 569123 h 736540"/>
              <a:gd name="connsiteX34" fmla="*/ 383457 w 571586"/>
              <a:gd name="connsiteY34" fmla="*/ 571504 h 736540"/>
              <a:gd name="connsiteX35" fmla="*/ 369170 w 571586"/>
              <a:gd name="connsiteY35" fmla="*/ 585791 h 736540"/>
              <a:gd name="connsiteX36" fmla="*/ 354882 w 571586"/>
              <a:gd name="connsiteY36" fmla="*/ 600079 h 736540"/>
              <a:gd name="connsiteX37" fmla="*/ 345357 w 571586"/>
              <a:gd name="connsiteY37" fmla="*/ 609604 h 736540"/>
              <a:gd name="connsiteX38" fmla="*/ 340595 w 571586"/>
              <a:gd name="connsiteY38" fmla="*/ 616748 h 736540"/>
              <a:gd name="connsiteX39" fmla="*/ 326307 w 571586"/>
              <a:gd name="connsiteY39" fmla="*/ 623891 h 736540"/>
              <a:gd name="connsiteX40" fmla="*/ 319163 w 571586"/>
              <a:gd name="connsiteY40" fmla="*/ 628654 h 736540"/>
              <a:gd name="connsiteX41" fmla="*/ 302495 w 571586"/>
              <a:gd name="connsiteY41" fmla="*/ 633416 h 736540"/>
              <a:gd name="connsiteX42" fmla="*/ 295351 w 571586"/>
              <a:gd name="connsiteY42" fmla="*/ 635798 h 736540"/>
              <a:gd name="connsiteX43" fmla="*/ 285826 w 571586"/>
              <a:gd name="connsiteY43" fmla="*/ 638179 h 736540"/>
              <a:gd name="connsiteX44" fmla="*/ 271538 w 571586"/>
              <a:gd name="connsiteY44" fmla="*/ 642941 h 736540"/>
              <a:gd name="connsiteX45" fmla="*/ 262013 w 571586"/>
              <a:gd name="connsiteY45" fmla="*/ 647704 h 736540"/>
              <a:gd name="connsiteX46" fmla="*/ 254870 w 571586"/>
              <a:gd name="connsiteY46" fmla="*/ 650085 h 736540"/>
              <a:gd name="connsiteX47" fmla="*/ 247726 w 571586"/>
              <a:gd name="connsiteY47" fmla="*/ 654848 h 736540"/>
              <a:gd name="connsiteX48" fmla="*/ 245345 w 571586"/>
              <a:gd name="connsiteY48" fmla="*/ 661991 h 736540"/>
              <a:gd name="connsiteX49" fmla="*/ 216770 w 571586"/>
              <a:gd name="connsiteY49" fmla="*/ 676279 h 736540"/>
              <a:gd name="connsiteX50" fmla="*/ 202482 w 571586"/>
              <a:gd name="connsiteY50" fmla="*/ 681041 h 736540"/>
              <a:gd name="connsiteX51" fmla="*/ 195338 w 571586"/>
              <a:gd name="connsiteY51" fmla="*/ 683423 h 736540"/>
              <a:gd name="connsiteX52" fmla="*/ 164382 w 571586"/>
              <a:gd name="connsiteY52" fmla="*/ 681041 h 736540"/>
              <a:gd name="connsiteX53" fmla="*/ 150095 w 571586"/>
              <a:gd name="connsiteY53" fmla="*/ 683423 h 736540"/>
              <a:gd name="connsiteX54" fmla="*/ 126282 w 571586"/>
              <a:gd name="connsiteY54" fmla="*/ 735810 h 736540"/>
              <a:gd name="connsiteX55" fmla="*/ 78657 w 571586"/>
              <a:gd name="connsiteY55" fmla="*/ 726285 h 736540"/>
              <a:gd name="connsiteX56" fmla="*/ 73895 w 571586"/>
              <a:gd name="connsiteY56" fmla="*/ 719141 h 736540"/>
              <a:gd name="connsiteX57" fmla="*/ 66751 w 571586"/>
              <a:gd name="connsiteY57" fmla="*/ 721523 h 736540"/>
              <a:gd name="connsiteX58" fmla="*/ 57226 w 571586"/>
              <a:gd name="connsiteY58" fmla="*/ 721523 h 736540"/>
              <a:gd name="connsiteX59" fmla="*/ 52463 w 571586"/>
              <a:gd name="connsiteY59" fmla="*/ 707235 h 736540"/>
              <a:gd name="connsiteX60" fmla="*/ 50082 w 571586"/>
              <a:gd name="connsiteY60" fmla="*/ 700091 h 736540"/>
              <a:gd name="connsiteX61" fmla="*/ 52463 w 571586"/>
              <a:gd name="connsiteY61" fmla="*/ 681041 h 736540"/>
              <a:gd name="connsiteX62" fmla="*/ 57226 w 571586"/>
              <a:gd name="connsiteY62" fmla="*/ 671516 h 736540"/>
              <a:gd name="connsiteX63" fmla="*/ 59607 w 571586"/>
              <a:gd name="connsiteY63" fmla="*/ 664373 h 736540"/>
              <a:gd name="connsiteX64" fmla="*/ 57226 w 571586"/>
              <a:gd name="connsiteY64" fmla="*/ 654848 h 736540"/>
              <a:gd name="connsiteX65" fmla="*/ 50082 w 571586"/>
              <a:gd name="connsiteY65" fmla="*/ 652466 h 736540"/>
              <a:gd name="connsiteX66" fmla="*/ 31032 w 571586"/>
              <a:gd name="connsiteY66" fmla="*/ 650085 h 736540"/>
              <a:gd name="connsiteX67" fmla="*/ 26270 w 571586"/>
              <a:gd name="connsiteY67" fmla="*/ 635798 h 736540"/>
              <a:gd name="connsiteX68" fmla="*/ 23888 w 571586"/>
              <a:gd name="connsiteY68" fmla="*/ 626273 h 736540"/>
              <a:gd name="connsiteX69" fmla="*/ 9601 w 571586"/>
              <a:gd name="connsiteY69" fmla="*/ 621510 h 736540"/>
              <a:gd name="connsiteX70" fmla="*/ 2457 w 571586"/>
              <a:gd name="connsiteY70" fmla="*/ 600079 h 736540"/>
              <a:gd name="connsiteX71" fmla="*/ 9601 w 571586"/>
              <a:gd name="connsiteY71" fmla="*/ 595316 h 736540"/>
              <a:gd name="connsiteX72" fmla="*/ 16745 w 571586"/>
              <a:gd name="connsiteY72" fmla="*/ 592935 h 736540"/>
              <a:gd name="connsiteX73" fmla="*/ 31032 w 571586"/>
              <a:gd name="connsiteY73" fmla="*/ 585791 h 736540"/>
              <a:gd name="connsiteX74" fmla="*/ 33413 w 571586"/>
              <a:gd name="connsiteY74" fmla="*/ 595316 h 736540"/>
              <a:gd name="connsiteX75" fmla="*/ 42938 w 571586"/>
              <a:gd name="connsiteY75" fmla="*/ 607223 h 736540"/>
              <a:gd name="connsiteX76" fmla="*/ 61988 w 571586"/>
              <a:gd name="connsiteY76" fmla="*/ 604841 h 736540"/>
              <a:gd name="connsiteX77" fmla="*/ 85801 w 571586"/>
              <a:gd name="connsiteY77" fmla="*/ 595316 h 736540"/>
              <a:gd name="connsiteX78" fmla="*/ 90563 w 571586"/>
              <a:gd name="connsiteY78" fmla="*/ 588173 h 736540"/>
              <a:gd name="connsiteX79" fmla="*/ 97707 w 571586"/>
              <a:gd name="connsiteY79" fmla="*/ 583410 h 736540"/>
              <a:gd name="connsiteX80" fmla="*/ 104851 w 571586"/>
              <a:gd name="connsiteY80" fmla="*/ 566741 h 736540"/>
              <a:gd name="connsiteX81" fmla="*/ 100088 w 571586"/>
              <a:gd name="connsiteY81" fmla="*/ 559598 h 736540"/>
              <a:gd name="connsiteX82" fmla="*/ 85801 w 571586"/>
              <a:gd name="connsiteY82" fmla="*/ 554835 h 736540"/>
              <a:gd name="connsiteX83" fmla="*/ 78657 w 571586"/>
              <a:gd name="connsiteY83" fmla="*/ 550073 h 736540"/>
              <a:gd name="connsiteX84" fmla="*/ 73895 w 571586"/>
              <a:gd name="connsiteY84" fmla="*/ 542929 h 736540"/>
              <a:gd name="connsiteX85" fmla="*/ 73895 w 571586"/>
              <a:gd name="connsiteY85" fmla="*/ 509591 h 736540"/>
              <a:gd name="connsiteX86" fmla="*/ 71513 w 571586"/>
              <a:gd name="connsiteY86" fmla="*/ 495304 h 736540"/>
              <a:gd name="connsiteX87" fmla="*/ 66751 w 571586"/>
              <a:gd name="connsiteY87" fmla="*/ 481016 h 736540"/>
              <a:gd name="connsiteX88" fmla="*/ 73895 w 571586"/>
              <a:gd name="connsiteY88" fmla="*/ 376241 h 736540"/>
              <a:gd name="connsiteX89" fmla="*/ 85801 w 571586"/>
              <a:gd name="connsiteY89" fmla="*/ 361954 h 736540"/>
              <a:gd name="connsiteX90" fmla="*/ 95326 w 571586"/>
              <a:gd name="connsiteY90" fmla="*/ 340523 h 736540"/>
              <a:gd name="connsiteX91" fmla="*/ 97707 w 571586"/>
              <a:gd name="connsiteY91" fmla="*/ 333379 h 736540"/>
              <a:gd name="connsiteX92" fmla="*/ 97707 w 571586"/>
              <a:gd name="connsiteY92" fmla="*/ 276229 h 736540"/>
              <a:gd name="connsiteX93" fmla="*/ 83420 w 571586"/>
              <a:gd name="connsiteY93" fmla="*/ 261941 h 736540"/>
              <a:gd name="connsiteX94" fmla="*/ 83420 w 571586"/>
              <a:gd name="connsiteY94" fmla="*/ 226223 h 736540"/>
              <a:gd name="connsiteX95" fmla="*/ 88182 w 571586"/>
              <a:gd name="connsiteY95" fmla="*/ 219079 h 736540"/>
              <a:gd name="connsiteX96" fmla="*/ 92945 w 571586"/>
              <a:gd name="connsiteY96" fmla="*/ 204791 h 736540"/>
              <a:gd name="connsiteX97" fmla="*/ 100088 w 571586"/>
              <a:gd name="connsiteY97" fmla="*/ 164310 h 736540"/>
              <a:gd name="connsiteX98" fmla="*/ 104851 w 571586"/>
              <a:gd name="connsiteY98" fmla="*/ 157166 h 736540"/>
              <a:gd name="connsiteX99" fmla="*/ 114376 w 571586"/>
              <a:gd name="connsiteY99" fmla="*/ 154785 h 736540"/>
              <a:gd name="connsiteX100" fmla="*/ 119138 w 571586"/>
              <a:gd name="connsiteY100" fmla="*/ 140498 h 736540"/>
              <a:gd name="connsiteX101" fmla="*/ 121520 w 571586"/>
              <a:gd name="connsiteY101" fmla="*/ 123829 h 736540"/>
              <a:gd name="connsiteX102" fmla="*/ 126282 w 571586"/>
              <a:gd name="connsiteY102" fmla="*/ 104779 h 736540"/>
              <a:gd name="connsiteX103" fmla="*/ 131045 w 571586"/>
              <a:gd name="connsiteY103" fmla="*/ 85729 h 736540"/>
              <a:gd name="connsiteX104" fmla="*/ 138188 w 571586"/>
              <a:gd name="connsiteY104" fmla="*/ 80966 h 736540"/>
              <a:gd name="connsiteX105" fmla="*/ 195338 w 571586"/>
              <a:gd name="connsiteY105" fmla="*/ 83348 h 736540"/>
              <a:gd name="connsiteX106" fmla="*/ 207245 w 571586"/>
              <a:gd name="connsiteY106" fmla="*/ 95254 h 736540"/>
              <a:gd name="connsiteX107" fmla="*/ 221532 w 571586"/>
              <a:gd name="connsiteY107" fmla="*/ 104779 h 736540"/>
              <a:gd name="connsiteX108" fmla="*/ 228676 w 571586"/>
              <a:gd name="connsiteY108" fmla="*/ 109541 h 736540"/>
              <a:gd name="connsiteX109" fmla="*/ 238201 w 571586"/>
              <a:gd name="connsiteY109" fmla="*/ 107160 h 736540"/>
              <a:gd name="connsiteX110" fmla="*/ 245345 w 571586"/>
              <a:gd name="connsiteY110" fmla="*/ 102398 h 736540"/>
              <a:gd name="connsiteX111" fmla="*/ 262013 w 571586"/>
              <a:gd name="connsiteY111" fmla="*/ 88110 h 736540"/>
              <a:gd name="connsiteX112" fmla="*/ 266776 w 571586"/>
              <a:gd name="connsiteY112" fmla="*/ 80966 h 736540"/>
              <a:gd name="connsiteX113" fmla="*/ 269157 w 571586"/>
              <a:gd name="connsiteY113" fmla="*/ 73823 h 736540"/>
              <a:gd name="connsiteX114" fmla="*/ 264395 w 571586"/>
              <a:gd name="connsiteY114" fmla="*/ 30960 h 736540"/>
              <a:gd name="connsiteX115" fmla="*/ 273920 w 571586"/>
              <a:gd name="connsiteY115" fmla="*/ 2385 h 736540"/>
              <a:gd name="connsiteX116" fmla="*/ 281063 w 571586"/>
              <a:gd name="connsiteY116" fmla="*/ 4 h 736540"/>
              <a:gd name="connsiteX117" fmla="*/ 297732 w 571586"/>
              <a:gd name="connsiteY117" fmla="*/ 4766 h 736540"/>
              <a:gd name="connsiteX118" fmla="*/ 309638 w 571586"/>
              <a:gd name="connsiteY118" fmla="*/ 14291 h 736540"/>
              <a:gd name="connsiteX119" fmla="*/ 307257 w 571586"/>
              <a:gd name="connsiteY119" fmla="*/ 38104 h 736540"/>
              <a:gd name="connsiteX120" fmla="*/ 316782 w 571586"/>
              <a:gd name="connsiteY120" fmla="*/ 50010 h 736540"/>
              <a:gd name="connsiteX121" fmla="*/ 326307 w 571586"/>
              <a:gd name="connsiteY121" fmla="*/ 52391 h 736540"/>
              <a:gd name="connsiteX122" fmla="*/ 333451 w 571586"/>
              <a:gd name="connsiteY122" fmla="*/ 54773 h 736540"/>
              <a:gd name="connsiteX123" fmla="*/ 350120 w 571586"/>
              <a:gd name="connsiteY123" fmla="*/ 71441 h 736540"/>
              <a:gd name="connsiteX124" fmla="*/ 392982 w 571586"/>
              <a:gd name="connsiteY124" fmla="*/ 69060 h 736540"/>
              <a:gd name="connsiteX125" fmla="*/ 409651 w 571586"/>
              <a:gd name="connsiteY125" fmla="*/ 64298 h 736540"/>
              <a:gd name="connsiteX126" fmla="*/ 421557 w 571586"/>
              <a:gd name="connsiteY126" fmla="*/ 2385 h 736540"/>
              <a:gd name="connsiteX127" fmla="*/ 428701 w 571586"/>
              <a:gd name="connsiteY127" fmla="*/ 7148 h 736540"/>
              <a:gd name="connsiteX128" fmla="*/ 452513 w 571586"/>
              <a:gd name="connsiteY128" fmla="*/ 35723 h 736540"/>
              <a:gd name="connsiteX129" fmla="*/ 466801 w 571586"/>
              <a:gd name="connsiteY129" fmla="*/ 42866 h 736540"/>
              <a:gd name="connsiteX130" fmla="*/ 473945 w 571586"/>
              <a:gd name="connsiteY130" fmla="*/ 45248 h 736540"/>
              <a:gd name="connsiteX131" fmla="*/ 488232 w 571586"/>
              <a:gd name="connsiteY131" fmla="*/ 54773 h 736540"/>
              <a:gd name="connsiteX132" fmla="*/ 492995 w 571586"/>
              <a:gd name="connsiteY132" fmla="*/ 61916 h 736540"/>
              <a:gd name="connsiteX133" fmla="*/ 500138 w 571586"/>
              <a:gd name="connsiteY133" fmla="*/ 66679 h 736540"/>
              <a:gd name="connsiteX134" fmla="*/ 502520 w 571586"/>
              <a:gd name="connsiteY134" fmla="*/ 73823 h 736540"/>
              <a:gd name="connsiteX135" fmla="*/ 512045 w 571586"/>
              <a:gd name="connsiteY135" fmla="*/ 88110 h 736540"/>
              <a:gd name="connsiteX136" fmla="*/ 516807 w 571586"/>
              <a:gd name="connsiteY136" fmla="*/ 95254 h 736540"/>
              <a:gd name="connsiteX137" fmla="*/ 519188 w 571586"/>
              <a:gd name="connsiteY137" fmla="*/ 102398 h 736540"/>
              <a:gd name="connsiteX138" fmla="*/ 526332 w 571586"/>
              <a:gd name="connsiteY138" fmla="*/ 109541 h 736540"/>
              <a:gd name="connsiteX139" fmla="*/ 531095 w 571586"/>
              <a:gd name="connsiteY139" fmla="*/ 116685 h 736540"/>
              <a:gd name="connsiteX140" fmla="*/ 545382 w 571586"/>
              <a:gd name="connsiteY140" fmla="*/ 123829 h 736540"/>
              <a:gd name="connsiteX141" fmla="*/ 552526 w 571586"/>
              <a:gd name="connsiteY141" fmla="*/ 128591 h 736540"/>
              <a:gd name="connsiteX142" fmla="*/ 559670 w 571586"/>
              <a:gd name="connsiteY142" fmla="*/ 178598 h 736540"/>
              <a:gd name="connsiteX143" fmla="*/ 571576 w 571586"/>
              <a:gd name="connsiteY143" fmla="*/ 188123 h 736540"/>
              <a:gd name="connsiteX0" fmla="*/ 571576 w 571586"/>
              <a:gd name="connsiteY0" fmla="*/ 188123 h 736540"/>
              <a:gd name="connsiteX1" fmla="*/ 557288 w 571586"/>
              <a:gd name="connsiteY1" fmla="*/ 204791 h 736540"/>
              <a:gd name="connsiteX2" fmla="*/ 547763 w 571586"/>
              <a:gd name="connsiteY2" fmla="*/ 219079 h 736540"/>
              <a:gd name="connsiteX3" fmla="*/ 540620 w 571586"/>
              <a:gd name="connsiteY3" fmla="*/ 269085 h 736540"/>
              <a:gd name="connsiteX4" fmla="*/ 535857 w 571586"/>
              <a:gd name="connsiteY4" fmla="*/ 311948 h 736540"/>
              <a:gd name="connsiteX5" fmla="*/ 533476 w 571586"/>
              <a:gd name="connsiteY5" fmla="*/ 319091 h 736540"/>
              <a:gd name="connsiteX6" fmla="*/ 521570 w 571586"/>
              <a:gd name="connsiteY6" fmla="*/ 321473 h 736540"/>
              <a:gd name="connsiteX7" fmla="*/ 516807 w 571586"/>
              <a:gd name="connsiteY7" fmla="*/ 338141 h 736540"/>
              <a:gd name="connsiteX8" fmla="*/ 514426 w 571586"/>
              <a:gd name="connsiteY8" fmla="*/ 345285 h 736540"/>
              <a:gd name="connsiteX9" fmla="*/ 500138 w 571586"/>
              <a:gd name="connsiteY9" fmla="*/ 357191 h 736540"/>
              <a:gd name="connsiteX10" fmla="*/ 492995 w 571586"/>
              <a:gd name="connsiteY10" fmla="*/ 359573 h 736540"/>
              <a:gd name="connsiteX11" fmla="*/ 485851 w 571586"/>
              <a:gd name="connsiteY11" fmla="*/ 383385 h 736540"/>
              <a:gd name="connsiteX12" fmla="*/ 492995 w 571586"/>
              <a:gd name="connsiteY12" fmla="*/ 388148 h 736540"/>
              <a:gd name="connsiteX13" fmla="*/ 502520 w 571586"/>
              <a:gd name="connsiteY13" fmla="*/ 390529 h 736540"/>
              <a:gd name="connsiteX14" fmla="*/ 507282 w 571586"/>
              <a:gd name="connsiteY14" fmla="*/ 397673 h 736540"/>
              <a:gd name="connsiteX15" fmla="*/ 504901 w 571586"/>
              <a:gd name="connsiteY15" fmla="*/ 409579 h 736540"/>
              <a:gd name="connsiteX16" fmla="*/ 500138 w 571586"/>
              <a:gd name="connsiteY16" fmla="*/ 416723 h 736540"/>
              <a:gd name="connsiteX17" fmla="*/ 497757 w 571586"/>
              <a:gd name="connsiteY17" fmla="*/ 423866 h 736540"/>
              <a:gd name="connsiteX18" fmla="*/ 507282 w 571586"/>
              <a:gd name="connsiteY18" fmla="*/ 438154 h 736540"/>
              <a:gd name="connsiteX19" fmla="*/ 509663 w 571586"/>
              <a:gd name="connsiteY19" fmla="*/ 445298 h 736540"/>
              <a:gd name="connsiteX20" fmla="*/ 497757 w 571586"/>
              <a:gd name="connsiteY20" fmla="*/ 442916 h 736540"/>
              <a:gd name="connsiteX21" fmla="*/ 476326 w 571586"/>
              <a:gd name="connsiteY21" fmla="*/ 433391 h 736540"/>
              <a:gd name="connsiteX22" fmla="*/ 469182 w 571586"/>
              <a:gd name="connsiteY22" fmla="*/ 431010 h 736540"/>
              <a:gd name="connsiteX23" fmla="*/ 457276 w 571586"/>
              <a:gd name="connsiteY23" fmla="*/ 433391 h 736540"/>
              <a:gd name="connsiteX24" fmla="*/ 454895 w 571586"/>
              <a:gd name="connsiteY24" fmla="*/ 450060 h 736540"/>
              <a:gd name="connsiteX25" fmla="*/ 447751 w 571586"/>
              <a:gd name="connsiteY25" fmla="*/ 464348 h 736540"/>
              <a:gd name="connsiteX26" fmla="*/ 440607 w 571586"/>
              <a:gd name="connsiteY26" fmla="*/ 471491 h 736540"/>
              <a:gd name="connsiteX27" fmla="*/ 423938 w 571586"/>
              <a:gd name="connsiteY27" fmla="*/ 473873 h 736540"/>
              <a:gd name="connsiteX28" fmla="*/ 402507 w 571586"/>
              <a:gd name="connsiteY28" fmla="*/ 485779 h 736540"/>
              <a:gd name="connsiteX29" fmla="*/ 392982 w 571586"/>
              <a:gd name="connsiteY29" fmla="*/ 500066 h 736540"/>
              <a:gd name="connsiteX30" fmla="*/ 400126 w 571586"/>
              <a:gd name="connsiteY30" fmla="*/ 521498 h 736540"/>
              <a:gd name="connsiteX31" fmla="*/ 407270 w 571586"/>
              <a:gd name="connsiteY31" fmla="*/ 526260 h 736540"/>
              <a:gd name="connsiteX32" fmla="*/ 400126 w 571586"/>
              <a:gd name="connsiteY32" fmla="*/ 564360 h 736540"/>
              <a:gd name="connsiteX33" fmla="*/ 392982 w 571586"/>
              <a:gd name="connsiteY33" fmla="*/ 569123 h 736540"/>
              <a:gd name="connsiteX34" fmla="*/ 383457 w 571586"/>
              <a:gd name="connsiteY34" fmla="*/ 571504 h 736540"/>
              <a:gd name="connsiteX35" fmla="*/ 369170 w 571586"/>
              <a:gd name="connsiteY35" fmla="*/ 585791 h 736540"/>
              <a:gd name="connsiteX36" fmla="*/ 354882 w 571586"/>
              <a:gd name="connsiteY36" fmla="*/ 600079 h 736540"/>
              <a:gd name="connsiteX37" fmla="*/ 345357 w 571586"/>
              <a:gd name="connsiteY37" fmla="*/ 609604 h 736540"/>
              <a:gd name="connsiteX38" fmla="*/ 340595 w 571586"/>
              <a:gd name="connsiteY38" fmla="*/ 616748 h 736540"/>
              <a:gd name="connsiteX39" fmla="*/ 326307 w 571586"/>
              <a:gd name="connsiteY39" fmla="*/ 623891 h 736540"/>
              <a:gd name="connsiteX40" fmla="*/ 319163 w 571586"/>
              <a:gd name="connsiteY40" fmla="*/ 628654 h 736540"/>
              <a:gd name="connsiteX41" fmla="*/ 302495 w 571586"/>
              <a:gd name="connsiteY41" fmla="*/ 633416 h 736540"/>
              <a:gd name="connsiteX42" fmla="*/ 295351 w 571586"/>
              <a:gd name="connsiteY42" fmla="*/ 635798 h 736540"/>
              <a:gd name="connsiteX43" fmla="*/ 285826 w 571586"/>
              <a:gd name="connsiteY43" fmla="*/ 638179 h 736540"/>
              <a:gd name="connsiteX44" fmla="*/ 271538 w 571586"/>
              <a:gd name="connsiteY44" fmla="*/ 642941 h 736540"/>
              <a:gd name="connsiteX45" fmla="*/ 262013 w 571586"/>
              <a:gd name="connsiteY45" fmla="*/ 647704 h 736540"/>
              <a:gd name="connsiteX46" fmla="*/ 254870 w 571586"/>
              <a:gd name="connsiteY46" fmla="*/ 650085 h 736540"/>
              <a:gd name="connsiteX47" fmla="*/ 247726 w 571586"/>
              <a:gd name="connsiteY47" fmla="*/ 654848 h 736540"/>
              <a:gd name="connsiteX48" fmla="*/ 245345 w 571586"/>
              <a:gd name="connsiteY48" fmla="*/ 661991 h 736540"/>
              <a:gd name="connsiteX49" fmla="*/ 216770 w 571586"/>
              <a:gd name="connsiteY49" fmla="*/ 676279 h 736540"/>
              <a:gd name="connsiteX50" fmla="*/ 202482 w 571586"/>
              <a:gd name="connsiteY50" fmla="*/ 681041 h 736540"/>
              <a:gd name="connsiteX51" fmla="*/ 195338 w 571586"/>
              <a:gd name="connsiteY51" fmla="*/ 683423 h 736540"/>
              <a:gd name="connsiteX52" fmla="*/ 164382 w 571586"/>
              <a:gd name="connsiteY52" fmla="*/ 681041 h 736540"/>
              <a:gd name="connsiteX53" fmla="*/ 150095 w 571586"/>
              <a:gd name="connsiteY53" fmla="*/ 683423 h 736540"/>
              <a:gd name="connsiteX54" fmla="*/ 126282 w 571586"/>
              <a:gd name="connsiteY54" fmla="*/ 735810 h 736540"/>
              <a:gd name="connsiteX55" fmla="*/ 78657 w 571586"/>
              <a:gd name="connsiteY55" fmla="*/ 726285 h 736540"/>
              <a:gd name="connsiteX56" fmla="*/ 73895 w 571586"/>
              <a:gd name="connsiteY56" fmla="*/ 719141 h 736540"/>
              <a:gd name="connsiteX57" fmla="*/ 66751 w 571586"/>
              <a:gd name="connsiteY57" fmla="*/ 721523 h 736540"/>
              <a:gd name="connsiteX58" fmla="*/ 57226 w 571586"/>
              <a:gd name="connsiteY58" fmla="*/ 721523 h 736540"/>
              <a:gd name="connsiteX59" fmla="*/ 52463 w 571586"/>
              <a:gd name="connsiteY59" fmla="*/ 707235 h 736540"/>
              <a:gd name="connsiteX60" fmla="*/ 50082 w 571586"/>
              <a:gd name="connsiteY60" fmla="*/ 700091 h 736540"/>
              <a:gd name="connsiteX61" fmla="*/ 52463 w 571586"/>
              <a:gd name="connsiteY61" fmla="*/ 681041 h 736540"/>
              <a:gd name="connsiteX62" fmla="*/ 57226 w 571586"/>
              <a:gd name="connsiteY62" fmla="*/ 671516 h 736540"/>
              <a:gd name="connsiteX63" fmla="*/ 59607 w 571586"/>
              <a:gd name="connsiteY63" fmla="*/ 664373 h 736540"/>
              <a:gd name="connsiteX64" fmla="*/ 57226 w 571586"/>
              <a:gd name="connsiteY64" fmla="*/ 654848 h 736540"/>
              <a:gd name="connsiteX65" fmla="*/ 50082 w 571586"/>
              <a:gd name="connsiteY65" fmla="*/ 652466 h 736540"/>
              <a:gd name="connsiteX66" fmla="*/ 31032 w 571586"/>
              <a:gd name="connsiteY66" fmla="*/ 650085 h 736540"/>
              <a:gd name="connsiteX67" fmla="*/ 26270 w 571586"/>
              <a:gd name="connsiteY67" fmla="*/ 635798 h 736540"/>
              <a:gd name="connsiteX68" fmla="*/ 23888 w 571586"/>
              <a:gd name="connsiteY68" fmla="*/ 626273 h 736540"/>
              <a:gd name="connsiteX69" fmla="*/ 9601 w 571586"/>
              <a:gd name="connsiteY69" fmla="*/ 621510 h 736540"/>
              <a:gd name="connsiteX70" fmla="*/ 2457 w 571586"/>
              <a:gd name="connsiteY70" fmla="*/ 600079 h 736540"/>
              <a:gd name="connsiteX71" fmla="*/ 9601 w 571586"/>
              <a:gd name="connsiteY71" fmla="*/ 595316 h 736540"/>
              <a:gd name="connsiteX72" fmla="*/ 16745 w 571586"/>
              <a:gd name="connsiteY72" fmla="*/ 592935 h 736540"/>
              <a:gd name="connsiteX73" fmla="*/ 31032 w 571586"/>
              <a:gd name="connsiteY73" fmla="*/ 585791 h 736540"/>
              <a:gd name="connsiteX74" fmla="*/ 33413 w 571586"/>
              <a:gd name="connsiteY74" fmla="*/ 595316 h 736540"/>
              <a:gd name="connsiteX75" fmla="*/ 42938 w 571586"/>
              <a:gd name="connsiteY75" fmla="*/ 607223 h 736540"/>
              <a:gd name="connsiteX76" fmla="*/ 61988 w 571586"/>
              <a:gd name="connsiteY76" fmla="*/ 604841 h 736540"/>
              <a:gd name="connsiteX77" fmla="*/ 85801 w 571586"/>
              <a:gd name="connsiteY77" fmla="*/ 595316 h 736540"/>
              <a:gd name="connsiteX78" fmla="*/ 90563 w 571586"/>
              <a:gd name="connsiteY78" fmla="*/ 588173 h 736540"/>
              <a:gd name="connsiteX79" fmla="*/ 97707 w 571586"/>
              <a:gd name="connsiteY79" fmla="*/ 583410 h 736540"/>
              <a:gd name="connsiteX80" fmla="*/ 104851 w 571586"/>
              <a:gd name="connsiteY80" fmla="*/ 566741 h 736540"/>
              <a:gd name="connsiteX81" fmla="*/ 100088 w 571586"/>
              <a:gd name="connsiteY81" fmla="*/ 559598 h 736540"/>
              <a:gd name="connsiteX82" fmla="*/ 85801 w 571586"/>
              <a:gd name="connsiteY82" fmla="*/ 554835 h 736540"/>
              <a:gd name="connsiteX83" fmla="*/ 78657 w 571586"/>
              <a:gd name="connsiteY83" fmla="*/ 550073 h 736540"/>
              <a:gd name="connsiteX84" fmla="*/ 73895 w 571586"/>
              <a:gd name="connsiteY84" fmla="*/ 542929 h 736540"/>
              <a:gd name="connsiteX85" fmla="*/ 73895 w 571586"/>
              <a:gd name="connsiteY85" fmla="*/ 509591 h 736540"/>
              <a:gd name="connsiteX86" fmla="*/ 71513 w 571586"/>
              <a:gd name="connsiteY86" fmla="*/ 495304 h 736540"/>
              <a:gd name="connsiteX87" fmla="*/ 66751 w 571586"/>
              <a:gd name="connsiteY87" fmla="*/ 481016 h 736540"/>
              <a:gd name="connsiteX88" fmla="*/ 73895 w 571586"/>
              <a:gd name="connsiteY88" fmla="*/ 376241 h 736540"/>
              <a:gd name="connsiteX89" fmla="*/ 85801 w 571586"/>
              <a:gd name="connsiteY89" fmla="*/ 361954 h 736540"/>
              <a:gd name="connsiteX90" fmla="*/ 95326 w 571586"/>
              <a:gd name="connsiteY90" fmla="*/ 340523 h 736540"/>
              <a:gd name="connsiteX91" fmla="*/ 97707 w 571586"/>
              <a:gd name="connsiteY91" fmla="*/ 333379 h 736540"/>
              <a:gd name="connsiteX92" fmla="*/ 97707 w 571586"/>
              <a:gd name="connsiteY92" fmla="*/ 276229 h 736540"/>
              <a:gd name="connsiteX93" fmla="*/ 83420 w 571586"/>
              <a:gd name="connsiteY93" fmla="*/ 261941 h 736540"/>
              <a:gd name="connsiteX94" fmla="*/ 83420 w 571586"/>
              <a:gd name="connsiteY94" fmla="*/ 226223 h 736540"/>
              <a:gd name="connsiteX95" fmla="*/ 88182 w 571586"/>
              <a:gd name="connsiteY95" fmla="*/ 219079 h 736540"/>
              <a:gd name="connsiteX96" fmla="*/ 92945 w 571586"/>
              <a:gd name="connsiteY96" fmla="*/ 204791 h 736540"/>
              <a:gd name="connsiteX97" fmla="*/ 100088 w 571586"/>
              <a:gd name="connsiteY97" fmla="*/ 164310 h 736540"/>
              <a:gd name="connsiteX98" fmla="*/ 104851 w 571586"/>
              <a:gd name="connsiteY98" fmla="*/ 157166 h 736540"/>
              <a:gd name="connsiteX99" fmla="*/ 114376 w 571586"/>
              <a:gd name="connsiteY99" fmla="*/ 154785 h 736540"/>
              <a:gd name="connsiteX100" fmla="*/ 119138 w 571586"/>
              <a:gd name="connsiteY100" fmla="*/ 140498 h 736540"/>
              <a:gd name="connsiteX101" fmla="*/ 121520 w 571586"/>
              <a:gd name="connsiteY101" fmla="*/ 123829 h 736540"/>
              <a:gd name="connsiteX102" fmla="*/ 126282 w 571586"/>
              <a:gd name="connsiteY102" fmla="*/ 104779 h 736540"/>
              <a:gd name="connsiteX103" fmla="*/ 131045 w 571586"/>
              <a:gd name="connsiteY103" fmla="*/ 85729 h 736540"/>
              <a:gd name="connsiteX104" fmla="*/ 138188 w 571586"/>
              <a:gd name="connsiteY104" fmla="*/ 80966 h 736540"/>
              <a:gd name="connsiteX105" fmla="*/ 195338 w 571586"/>
              <a:gd name="connsiteY105" fmla="*/ 83348 h 736540"/>
              <a:gd name="connsiteX106" fmla="*/ 207245 w 571586"/>
              <a:gd name="connsiteY106" fmla="*/ 95254 h 736540"/>
              <a:gd name="connsiteX107" fmla="*/ 221532 w 571586"/>
              <a:gd name="connsiteY107" fmla="*/ 104779 h 736540"/>
              <a:gd name="connsiteX108" fmla="*/ 228676 w 571586"/>
              <a:gd name="connsiteY108" fmla="*/ 109541 h 736540"/>
              <a:gd name="connsiteX109" fmla="*/ 238201 w 571586"/>
              <a:gd name="connsiteY109" fmla="*/ 107160 h 736540"/>
              <a:gd name="connsiteX110" fmla="*/ 245345 w 571586"/>
              <a:gd name="connsiteY110" fmla="*/ 102398 h 736540"/>
              <a:gd name="connsiteX111" fmla="*/ 262013 w 571586"/>
              <a:gd name="connsiteY111" fmla="*/ 88110 h 736540"/>
              <a:gd name="connsiteX112" fmla="*/ 266776 w 571586"/>
              <a:gd name="connsiteY112" fmla="*/ 80966 h 736540"/>
              <a:gd name="connsiteX113" fmla="*/ 269157 w 571586"/>
              <a:gd name="connsiteY113" fmla="*/ 73823 h 736540"/>
              <a:gd name="connsiteX114" fmla="*/ 252488 w 571586"/>
              <a:gd name="connsiteY114" fmla="*/ 52391 h 736540"/>
              <a:gd name="connsiteX115" fmla="*/ 264395 w 571586"/>
              <a:gd name="connsiteY115" fmla="*/ 30960 h 736540"/>
              <a:gd name="connsiteX116" fmla="*/ 273920 w 571586"/>
              <a:gd name="connsiteY116" fmla="*/ 2385 h 736540"/>
              <a:gd name="connsiteX117" fmla="*/ 281063 w 571586"/>
              <a:gd name="connsiteY117" fmla="*/ 4 h 736540"/>
              <a:gd name="connsiteX118" fmla="*/ 297732 w 571586"/>
              <a:gd name="connsiteY118" fmla="*/ 4766 h 736540"/>
              <a:gd name="connsiteX119" fmla="*/ 309638 w 571586"/>
              <a:gd name="connsiteY119" fmla="*/ 14291 h 736540"/>
              <a:gd name="connsiteX120" fmla="*/ 307257 w 571586"/>
              <a:gd name="connsiteY120" fmla="*/ 38104 h 736540"/>
              <a:gd name="connsiteX121" fmla="*/ 316782 w 571586"/>
              <a:gd name="connsiteY121" fmla="*/ 50010 h 736540"/>
              <a:gd name="connsiteX122" fmla="*/ 326307 w 571586"/>
              <a:gd name="connsiteY122" fmla="*/ 52391 h 736540"/>
              <a:gd name="connsiteX123" fmla="*/ 333451 w 571586"/>
              <a:gd name="connsiteY123" fmla="*/ 54773 h 736540"/>
              <a:gd name="connsiteX124" fmla="*/ 350120 w 571586"/>
              <a:gd name="connsiteY124" fmla="*/ 71441 h 736540"/>
              <a:gd name="connsiteX125" fmla="*/ 392982 w 571586"/>
              <a:gd name="connsiteY125" fmla="*/ 69060 h 736540"/>
              <a:gd name="connsiteX126" fmla="*/ 409651 w 571586"/>
              <a:gd name="connsiteY126" fmla="*/ 64298 h 736540"/>
              <a:gd name="connsiteX127" fmla="*/ 421557 w 571586"/>
              <a:gd name="connsiteY127" fmla="*/ 2385 h 736540"/>
              <a:gd name="connsiteX128" fmla="*/ 428701 w 571586"/>
              <a:gd name="connsiteY128" fmla="*/ 7148 h 736540"/>
              <a:gd name="connsiteX129" fmla="*/ 452513 w 571586"/>
              <a:gd name="connsiteY129" fmla="*/ 35723 h 736540"/>
              <a:gd name="connsiteX130" fmla="*/ 466801 w 571586"/>
              <a:gd name="connsiteY130" fmla="*/ 42866 h 736540"/>
              <a:gd name="connsiteX131" fmla="*/ 473945 w 571586"/>
              <a:gd name="connsiteY131" fmla="*/ 45248 h 736540"/>
              <a:gd name="connsiteX132" fmla="*/ 488232 w 571586"/>
              <a:gd name="connsiteY132" fmla="*/ 54773 h 736540"/>
              <a:gd name="connsiteX133" fmla="*/ 492995 w 571586"/>
              <a:gd name="connsiteY133" fmla="*/ 61916 h 736540"/>
              <a:gd name="connsiteX134" fmla="*/ 500138 w 571586"/>
              <a:gd name="connsiteY134" fmla="*/ 66679 h 736540"/>
              <a:gd name="connsiteX135" fmla="*/ 502520 w 571586"/>
              <a:gd name="connsiteY135" fmla="*/ 73823 h 736540"/>
              <a:gd name="connsiteX136" fmla="*/ 512045 w 571586"/>
              <a:gd name="connsiteY136" fmla="*/ 88110 h 736540"/>
              <a:gd name="connsiteX137" fmla="*/ 516807 w 571586"/>
              <a:gd name="connsiteY137" fmla="*/ 95254 h 736540"/>
              <a:gd name="connsiteX138" fmla="*/ 519188 w 571586"/>
              <a:gd name="connsiteY138" fmla="*/ 102398 h 736540"/>
              <a:gd name="connsiteX139" fmla="*/ 526332 w 571586"/>
              <a:gd name="connsiteY139" fmla="*/ 109541 h 736540"/>
              <a:gd name="connsiteX140" fmla="*/ 531095 w 571586"/>
              <a:gd name="connsiteY140" fmla="*/ 116685 h 736540"/>
              <a:gd name="connsiteX141" fmla="*/ 545382 w 571586"/>
              <a:gd name="connsiteY141" fmla="*/ 123829 h 736540"/>
              <a:gd name="connsiteX142" fmla="*/ 552526 w 571586"/>
              <a:gd name="connsiteY142" fmla="*/ 128591 h 736540"/>
              <a:gd name="connsiteX143" fmla="*/ 559670 w 571586"/>
              <a:gd name="connsiteY143" fmla="*/ 178598 h 736540"/>
              <a:gd name="connsiteX144" fmla="*/ 571576 w 571586"/>
              <a:gd name="connsiteY144" fmla="*/ 188123 h 736540"/>
              <a:gd name="connsiteX0" fmla="*/ 571576 w 571586"/>
              <a:gd name="connsiteY0" fmla="*/ 188123 h 736540"/>
              <a:gd name="connsiteX1" fmla="*/ 557288 w 571586"/>
              <a:gd name="connsiteY1" fmla="*/ 204791 h 736540"/>
              <a:gd name="connsiteX2" fmla="*/ 547763 w 571586"/>
              <a:gd name="connsiteY2" fmla="*/ 219079 h 736540"/>
              <a:gd name="connsiteX3" fmla="*/ 540620 w 571586"/>
              <a:gd name="connsiteY3" fmla="*/ 269085 h 736540"/>
              <a:gd name="connsiteX4" fmla="*/ 535857 w 571586"/>
              <a:gd name="connsiteY4" fmla="*/ 311948 h 736540"/>
              <a:gd name="connsiteX5" fmla="*/ 533476 w 571586"/>
              <a:gd name="connsiteY5" fmla="*/ 319091 h 736540"/>
              <a:gd name="connsiteX6" fmla="*/ 521570 w 571586"/>
              <a:gd name="connsiteY6" fmla="*/ 321473 h 736540"/>
              <a:gd name="connsiteX7" fmla="*/ 516807 w 571586"/>
              <a:gd name="connsiteY7" fmla="*/ 338141 h 736540"/>
              <a:gd name="connsiteX8" fmla="*/ 514426 w 571586"/>
              <a:gd name="connsiteY8" fmla="*/ 345285 h 736540"/>
              <a:gd name="connsiteX9" fmla="*/ 500138 w 571586"/>
              <a:gd name="connsiteY9" fmla="*/ 357191 h 736540"/>
              <a:gd name="connsiteX10" fmla="*/ 492995 w 571586"/>
              <a:gd name="connsiteY10" fmla="*/ 359573 h 736540"/>
              <a:gd name="connsiteX11" fmla="*/ 485851 w 571586"/>
              <a:gd name="connsiteY11" fmla="*/ 383385 h 736540"/>
              <a:gd name="connsiteX12" fmla="*/ 492995 w 571586"/>
              <a:gd name="connsiteY12" fmla="*/ 388148 h 736540"/>
              <a:gd name="connsiteX13" fmla="*/ 502520 w 571586"/>
              <a:gd name="connsiteY13" fmla="*/ 390529 h 736540"/>
              <a:gd name="connsiteX14" fmla="*/ 507282 w 571586"/>
              <a:gd name="connsiteY14" fmla="*/ 397673 h 736540"/>
              <a:gd name="connsiteX15" fmla="*/ 504901 w 571586"/>
              <a:gd name="connsiteY15" fmla="*/ 409579 h 736540"/>
              <a:gd name="connsiteX16" fmla="*/ 500138 w 571586"/>
              <a:gd name="connsiteY16" fmla="*/ 416723 h 736540"/>
              <a:gd name="connsiteX17" fmla="*/ 497757 w 571586"/>
              <a:gd name="connsiteY17" fmla="*/ 423866 h 736540"/>
              <a:gd name="connsiteX18" fmla="*/ 507282 w 571586"/>
              <a:gd name="connsiteY18" fmla="*/ 438154 h 736540"/>
              <a:gd name="connsiteX19" fmla="*/ 509663 w 571586"/>
              <a:gd name="connsiteY19" fmla="*/ 445298 h 736540"/>
              <a:gd name="connsiteX20" fmla="*/ 497757 w 571586"/>
              <a:gd name="connsiteY20" fmla="*/ 442916 h 736540"/>
              <a:gd name="connsiteX21" fmla="*/ 476326 w 571586"/>
              <a:gd name="connsiteY21" fmla="*/ 433391 h 736540"/>
              <a:gd name="connsiteX22" fmla="*/ 469182 w 571586"/>
              <a:gd name="connsiteY22" fmla="*/ 431010 h 736540"/>
              <a:gd name="connsiteX23" fmla="*/ 457276 w 571586"/>
              <a:gd name="connsiteY23" fmla="*/ 433391 h 736540"/>
              <a:gd name="connsiteX24" fmla="*/ 454895 w 571586"/>
              <a:gd name="connsiteY24" fmla="*/ 450060 h 736540"/>
              <a:gd name="connsiteX25" fmla="*/ 447751 w 571586"/>
              <a:gd name="connsiteY25" fmla="*/ 464348 h 736540"/>
              <a:gd name="connsiteX26" fmla="*/ 440607 w 571586"/>
              <a:gd name="connsiteY26" fmla="*/ 471491 h 736540"/>
              <a:gd name="connsiteX27" fmla="*/ 423938 w 571586"/>
              <a:gd name="connsiteY27" fmla="*/ 473873 h 736540"/>
              <a:gd name="connsiteX28" fmla="*/ 402507 w 571586"/>
              <a:gd name="connsiteY28" fmla="*/ 485779 h 736540"/>
              <a:gd name="connsiteX29" fmla="*/ 392982 w 571586"/>
              <a:gd name="connsiteY29" fmla="*/ 500066 h 736540"/>
              <a:gd name="connsiteX30" fmla="*/ 400126 w 571586"/>
              <a:gd name="connsiteY30" fmla="*/ 521498 h 736540"/>
              <a:gd name="connsiteX31" fmla="*/ 407270 w 571586"/>
              <a:gd name="connsiteY31" fmla="*/ 526260 h 736540"/>
              <a:gd name="connsiteX32" fmla="*/ 400126 w 571586"/>
              <a:gd name="connsiteY32" fmla="*/ 564360 h 736540"/>
              <a:gd name="connsiteX33" fmla="*/ 392982 w 571586"/>
              <a:gd name="connsiteY33" fmla="*/ 569123 h 736540"/>
              <a:gd name="connsiteX34" fmla="*/ 383457 w 571586"/>
              <a:gd name="connsiteY34" fmla="*/ 571504 h 736540"/>
              <a:gd name="connsiteX35" fmla="*/ 369170 w 571586"/>
              <a:gd name="connsiteY35" fmla="*/ 585791 h 736540"/>
              <a:gd name="connsiteX36" fmla="*/ 354882 w 571586"/>
              <a:gd name="connsiteY36" fmla="*/ 600079 h 736540"/>
              <a:gd name="connsiteX37" fmla="*/ 345357 w 571586"/>
              <a:gd name="connsiteY37" fmla="*/ 609604 h 736540"/>
              <a:gd name="connsiteX38" fmla="*/ 340595 w 571586"/>
              <a:gd name="connsiteY38" fmla="*/ 616748 h 736540"/>
              <a:gd name="connsiteX39" fmla="*/ 326307 w 571586"/>
              <a:gd name="connsiteY39" fmla="*/ 623891 h 736540"/>
              <a:gd name="connsiteX40" fmla="*/ 319163 w 571586"/>
              <a:gd name="connsiteY40" fmla="*/ 628654 h 736540"/>
              <a:gd name="connsiteX41" fmla="*/ 302495 w 571586"/>
              <a:gd name="connsiteY41" fmla="*/ 633416 h 736540"/>
              <a:gd name="connsiteX42" fmla="*/ 295351 w 571586"/>
              <a:gd name="connsiteY42" fmla="*/ 635798 h 736540"/>
              <a:gd name="connsiteX43" fmla="*/ 285826 w 571586"/>
              <a:gd name="connsiteY43" fmla="*/ 638179 h 736540"/>
              <a:gd name="connsiteX44" fmla="*/ 271538 w 571586"/>
              <a:gd name="connsiteY44" fmla="*/ 642941 h 736540"/>
              <a:gd name="connsiteX45" fmla="*/ 262013 w 571586"/>
              <a:gd name="connsiteY45" fmla="*/ 647704 h 736540"/>
              <a:gd name="connsiteX46" fmla="*/ 254870 w 571586"/>
              <a:gd name="connsiteY46" fmla="*/ 650085 h 736540"/>
              <a:gd name="connsiteX47" fmla="*/ 247726 w 571586"/>
              <a:gd name="connsiteY47" fmla="*/ 654848 h 736540"/>
              <a:gd name="connsiteX48" fmla="*/ 245345 w 571586"/>
              <a:gd name="connsiteY48" fmla="*/ 661991 h 736540"/>
              <a:gd name="connsiteX49" fmla="*/ 216770 w 571586"/>
              <a:gd name="connsiteY49" fmla="*/ 676279 h 736540"/>
              <a:gd name="connsiteX50" fmla="*/ 202482 w 571586"/>
              <a:gd name="connsiteY50" fmla="*/ 681041 h 736540"/>
              <a:gd name="connsiteX51" fmla="*/ 195338 w 571586"/>
              <a:gd name="connsiteY51" fmla="*/ 683423 h 736540"/>
              <a:gd name="connsiteX52" fmla="*/ 164382 w 571586"/>
              <a:gd name="connsiteY52" fmla="*/ 681041 h 736540"/>
              <a:gd name="connsiteX53" fmla="*/ 150095 w 571586"/>
              <a:gd name="connsiteY53" fmla="*/ 683423 h 736540"/>
              <a:gd name="connsiteX54" fmla="*/ 126282 w 571586"/>
              <a:gd name="connsiteY54" fmla="*/ 735810 h 736540"/>
              <a:gd name="connsiteX55" fmla="*/ 78657 w 571586"/>
              <a:gd name="connsiteY55" fmla="*/ 726285 h 736540"/>
              <a:gd name="connsiteX56" fmla="*/ 73895 w 571586"/>
              <a:gd name="connsiteY56" fmla="*/ 719141 h 736540"/>
              <a:gd name="connsiteX57" fmla="*/ 66751 w 571586"/>
              <a:gd name="connsiteY57" fmla="*/ 721523 h 736540"/>
              <a:gd name="connsiteX58" fmla="*/ 57226 w 571586"/>
              <a:gd name="connsiteY58" fmla="*/ 721523 h 736540"/>
              <a:gd name="connsiteX59" fmla="*/ 52463 w 571586"/>
              <a:gd name="connsiteY59" fmla="*/ 707235 h 736540"/>
              <a:gd name="connsiteX60" fmla="*/ 50082 w 571586"/>
              <a:gd name="connsiteY60" fmla="*/ 700091 h 736540"/>
              <a:gd name="connsiteX61" fmla="*/ 52463 w 571586"/>
              <a:gd name="connsiteY61" fmla="*/ 681041 h 736540"/>
              <a:gd name="connsiteX62" fmla="*/ 57226 w 571586"/>
              <a:gd name="connsiteY62" fmla="*/ 671516 h 736540"/>
              <a:gd name="connsiteX63" fmla="*/ 59607 w 571586"/>
              <a:gd name="connsiteY63" fmla="*/ 664373 h 736540"/>
              <a:gd name="connsiteX64" fmla="*/ 57226 w 571586"/>
              <a:gd name="connsiteY64" fmla="*/ 654848 h 736540"/>
              <a:gd name="connsiteX65" fmla="*/ 50082 w 571586"/>
              <a:gd name="connsiteY65" fmla="*/ 652466 h 736540"/>
              <a:gd name="connsiteX66" fmla="*/ 31032 w 571586"/>
              <a:gd name="connsiteY66" fmla="*/ 650085 h 736540"/>
              <a:gd name="connsiteX67" fmla="*/ 26270 w 571586"/>
              <a:gd name="connsiteY67" fmla="*/ 635798 h 736540"/>
              <a:gd name="connsiteX68" fmla="*/ 23888 w 571586"/>
              <a:gd name="connsiteY68" fmla="*/ 626273 h 736540"/>
              <a:gd name="connsiteX69" fmla="*/ 9601 w 571586"/>
              <a:gd name="connsiteY69" fmla="*/ 621510 h 736540"/>
              <a:gd name="connsiteX70" fmla="*/ 2457 w 571586"/>
              <a:gd name="connsiteY70" fmla="*/ 600079 h 736540"/>
              <a:gd name="connsiteX71" fmla="*/ 9601 w 571586"/>
              <a:gd name="connsiteY71" fmla="*/ 595316 h 736540"/>
              <a:gd name="connsiteX72" fmla="*/ 16745 w 571586"/>
              <a:gd name="connsiteY72" fmla="*/ 592935 h 736540"/>
              <a:gd name="connsiteX73" fmla="*/ 31032 w 571586"/>
              <a:gd name="connsiteY73" fmla="*/ 585791 h 736540"/>
              <a:gd name="connsiteX74" fmla="*/ 33413 w 571586"/>
              <a:gd name="connsiteY74" fmla="*/ 595316 h 736540"/>
              <a:gd name="connsiteX75" fmla="*/ 42938 w 571586"/>
              <a:gd name="connsiteY75" fmla="*/ 607223 h 736540"/>
              <a:gd name="connsiteX76" fmla="*/ 61988 w 571586"/>
              <a:gd name="connsiteY76" fmla="*/ 604841 h 736540"/>
              <a:gd name="connsiteX77" fmla="*/ 85801 w 571586"/>
              <a:gd name="connsiteY77" fmla="*/ 595316 h 736540"/>
              <a:gd name="connsiteX78" fmla="*/ 90563 w 571586"/>
              <a:gd name="connsiteY78" fmla="*/ 588173 h 736540"/>
              <a:gd name="connsiteX79" fmla="*/ 97707 w 571586"/>
              <a:gd name="connsiteY79" fmla="*/ 583410 h 736540"/>
              <a:gd name="connsiteX80" fmla="*/ 104851 w 571586"/>
              <a:gd name="connsiteY80" fmla="*/ 566741 h 736540"/>
              <a:gd name="connsiteX81" fmla="*/ 100088 w 571586"/>
              <a:gd name="connsiteY81" fmla="*/ 559598 h 736540"/>
              <a:gd name="connsiteX82" fmla="*/ 85801 w 571586"/>
              <a:gd name="connsiteY82" fmla="*/ 554835 h 736540"/>
              <a:gd name="connsiteX83" fmla="*/ 78657 w 571586"/>
              <a:gd name="connsiteY83" fmla="*/ 550073 h 736540"/>
              <a:gd name="connsiteX84" fmla="*/ 73895 w 571586"/>
              <a:gd name="connsiteY84" fmla="*/ 542929 h 736540"/>
              <a:gd name="connsiteX85" fmla="*/ 73895 w 571586"/>
              <a:gd name="connsiteY85" fmla="*/ 509591 h 736540"/>
              <a:gd name="connsiteX86" fmla="*/ 71513 w 571586"/>
              <a:gd name="connsiteY86" fmla="*/ 495304 h 736540"/>
              <a:gd name="connsiteX87" fmla="*/ 66751 w 571586"/>
              <a:gd name="connsiteY87" fmla="*/ 481016 h 736540"/>
              <a:gd name="connsiteX88" fmla="*/ 73895 w 571586"/>
              <a:gd name="connsiteY88" fmla="*/ 376241 h 736540"/>
              <a:gd name="connsiteX89" fmla="*/ 85801 w 571586"/>
              <a:gd name="connsiteY89" fmla="*/ 361954 h 736540"/>
              <a:gd name="connsiteX90" fmla="*/ 95326 w 571586"/>
              <a:gd name="connsiteY90" fmla="*/ 340523 h 736540"/>
              <a:gd name="connsiteX91" fmla="*/ 97707 w 571586"/>
              <a:gd name="connsiteY91" fmla="*/ 333379 h 736540"/>
              <a:gd name="connsiteX92" fmla="*/ 97707 w 571586"/>
              <a:gd name="connsiteY92" fmla="*/ 276229 h 736540"/>
              <a:gd name="connsiteX93" fmla="*/ 83420 w 571586"/>
              <a:gd name="connsiteY93" fmla="*/ 261941 h 736540"/>
              <a:gd name="connsiteX94" fmla="*/ 83420 w 571586"/>
              <a:gd name="connsiteY94" fmla="*/ 226223 h 736540"/>
              <a:gd name="connsiteX95" fmla="*/ 88182 w 571586"/>
              <a:gd name="connsiteY95" fmla="*/ 219079 h 736540"/>
              <a:gd name="connsiteX96" fmla="*/ 92945 w 571586"/>
              <a:gd name="connsiteY96" fmla="*/ 204791 h 736540"/>
              <a:gd name="connsiteX97" fmla="*/ 100088 w 571586"/>
              <a:gd name="connsiteY97" fmla="*/ 164310 h 736540"/>
              <a:gd name="connsiteX98" fmla="*/ 104851 w 571586"/>
              <a:gd name="connsiteY98" fmla="*/ 157166 h 736540"/>
              <a:gd name="connsiteX99" fmla="*/ 107232 w 571586"/>
              <a:gd name="connsiteY99" fmla="*/ 152404 h 736540"/>
              <a:gd name="connsiteX100" fmla="*/ 119138 w 571586"/>
              <a:gd name="connsiteY100" fmla="*/ 140498 h 736540"/>
              <a:gd name="connsiteX101" fmla="*/ 121520 w 571586"/>
              <a:gd name="connsiteY101" fmla="*/ 123829 h 736540"/>
              <a:gd name="connsiteX102" fmla="*/ 126282 w 571586"/>
              <a:gd name="connsiteY102" fmla="*/ 104779 h 736540"/>
              <a:gd name="connsiteX103" fmla="*/ 131045 w 571586"/>
              <a:gd name="connsiteY103" fmla="*/ 85729 h 736540"/>
              <a:gd name="connsiteX104" fmla="*/ 138188 w 571586"/>
              <a:gd name="connsiteY104" fmla="*/ 80966 h 736540"/>
              <a:gd name="connsiteX105" fmla="*/ 195338 w 571586"/>
              <a:gd name="connsiteY105" fmla="*/ 83348 h 736540"/>
              <a:gd name="connsiteX106" fmla="*/ 207245 w 571586"/>
              <a:gd name="connsiteY106" fmla="*/ 95254 h 736540"/>
              <a:gd name="connsiteX107" fmla="*/ 221532 w 571586"/>
              <a:gd name="connsiteY107" fmla="*/ 104779 h 736540"/>
              <a:gd name="connsiteX108" fmla="*/ 228676 w 571586"/>
              <a:gd name="connsiteY108" fmla="*/ 109541 h 736540"/>
              <a:gd name="connsiteX109" fmla="*/ 238201 w 571586"/>
              <a:gd name="connsiteY109" fmla="*/ 107160 h 736540"/>
              <a:gd name="connsiteX110" fmla="*/ 245345 w 571586"/>
              <a:gd name="connsiteY110" fmla="*/ 102398 h 736540"/>
              <a:gd name="connsiteX111" fmla="*/ 262013 w 571586"/>
              <a:gd name="connsiteY111" fmla="*/ 88110 h 736540"/>
              <a:gd name="connsiteX112" fmla="*/ 266776 w 571586"/>
              <a:gd name="connsiteY112" fmla="*/ 80966 h 736540"/>
              <a:gd name="connsiteX113" fmla="*/ 269157 w 571586"/>
              <a:gd name="connsiteY113" fmla="*/ 73823 h 736540"/>
              <a:gd name="connsiteX114" fmla="*/ 252488 w 571586"/>
              <a:gd name="connsiteY114" fmla="*/ 52391 h 736540"/>
              <a:gd name="connsiteX115" fmla="*/ 264395 w 571586"/>
              <a:gd name="connsiteY115" fmla="*/ 30960 h 736540"/>
              <a:gd name="connsiteX116" fmla="*/ 273920 w 571586"/>
              <a:gd name="connsiteY116" fmla="*/ 2385 h 736540"/>
              <a:gd name="connsiteX117" fmla="*/ 281063 w 571586"/>
              <a:gd name="connsiteY117" fmla="*/ 4 h 736540"/>
              <a:gd name="connsiteX118" fmla="*/ 297732 w 571586"/>
              <a:gd name="connsiteY118" fmla="*/ 4766 h 736540"/>
              <a:gd name="connsiteX119" fmla="*/ 309638 w 571586"/>
              <a:gd name="connsiteY119" fmla="*/ 14291 h 736540"/>
              <a:gd name="connsiteX120" fmla="*/ 307257 w 571586"/>
              <a:gd name="connsiteY120" fmla="*/ 38104 h 736540"/>
              <a:gd name="connsiteX121" fmla="*/ 316782 w 571586"/>
              <a:gd name="connsiteY121" fmla="*/ 50010 h 736540"/>
              <a:gd name="connsiteX122" fmla="*/ 326307 w 571586"/>
              <a:gd name="connsiteY122" fmla="*/ 52391 h 736540"/>
              <a:gd name="connsiteX123" fmla="*/ 333451 w 571586"/>
              <a:gd name="connsiteY123" fmla="*/ 54773 h 736540"/>
              <a:gd name="connsiteX124" fmla="*/ 350120 w 571586"/>
              <a:gd name="connsiteY124" fmla="*/ 71441 h 736540"/>
              <a:gd name="connsiteX125" fmla="*/ 392982 w 571586"/>
              <a:gd name="connsiteY125" fmla="*/ 69060 h 736540"/>
              <a:gd name="connsiteX126" fmla="*/ 409651 w 571586"/>
              <a:gd name="connsiteY126" fmla="*/ 64298 h 736540"/>
              <a:gd name="connsiteX127" fmla="*/ 421557 w 571586"/>
              <a:gd name="connsiteY127" fmla="*/ 2385 h 736540"/>
              <a:gd name="connsiteX128" fmla="*/ 428701 w 571586"/>
              <a:gd name="connsiteY128" fmla="*/ 7148 h 736540"/>
              <a:gd name="connsiteX129" fmla="*/ 452513 w 571586"/>
              <a:gd name="connsiteY129" fmla="*/ 35723 h 736540"/>
              <a:gd name="connsiteX130" fmla="*/ 466801 w 571586"/>
              <a:gd name="connsiteY130" fmla="*/ 42866 h 736540"/>
              <a:gd name="connsiteX131" fmla="*/ 473945 w 571586"/>
              <a:gd name="connsiteY131" fmla="*/ 45248 h 736540"/>
              <a:gd name="connsiteX132" fmla="*/ 488232 w 571586"/>
              <a:gd name="connsiteY132" fmla="*/ 54773 h 736540"/>
              <a:gd name="connsiteX133" fmla="*/ 492995 w 571586"/>
              <a:gd name="connsiteY133" fmla="*/ 61916 h 736540"/>
              <a:gd name="connsiteX134" fmla="*/ 500138 w 571586"/>
              <a:gd name="connsiteY134" fmla="*/ 66679 h 736540"/>
              <a:gd name="connsiteX135" fmla="*/ 502520 w 571586"/>
              <a:gd name="connsiteY135" fmla="*/ 73823 h 736540"/>
              <a:gd name="connsiteX136" fmla="*/ 512045 w 571586"/>
              <a:gd name="connsiteY136" fmla="*/ 88110 h 736540"/>
              <a:gd name="connsiteX137" fmla="*/ 516807 w 571586"/>
              <a:gd name="connsiteY137" fmla="*/ 95254 h 736540"/>
              <a:gd name="connsiteX138" fmla="*/ 519188 w 571586"/>
              <a:gd name="connsiteY138" fmla="*/ 102398 h 736540"/>
              <a:gd name="connsiteX139" fmla="*/ 526332 w 571586"/>
              <a:gd name="connsiteY139" fmla="*/ 109541 h 736540"/>
              <a:gd name="connsiteX140" fmla="*/ 531095 w 571586"/>
              <a:gd name="connsiteY140" fmla="*/ 116685 h 736540"/>
              <a:gd name="connsiteX141" fmla="*/ 545382 w 571586"/>
              <a:gd name="connsiteY141" fmla="*/ 123829 h 736540"/>
              <a:gd name="connsiteX142" fmla="*/ 552526 w 571586"/>
              <a:gd name="connsiteY142" fmla="*/ 128591 h 736540"/>
              <a:gd name="connsiteX143" fmla="*/ 559670 w 571586"/>
              <a:gd name="connsiteY143" fmla="*/ 178598 h 736540"/>
              <a:gd name="connsiteX144" fmla="*/ 571576 w 571586"/>
              <a:gd name="connsiteY144" fmla="*/ 188123 h 736540"/>
              <a:gd name="connsiteX0" fmla="*/ 571576 w 571586"/>
              <a:gd name="connsiteY0" fmla="*/ 188123 h 736540"/>
              <a:gd name="connsiteX1" fmla="*/ 557288 w 571586"/>
              <a:gd name="connsiteY1" fmla="*/ 204791 h 736540"/>
              <a:gd name="connsiteX2" fmla="*/ 547763 w 571586"/>
              <a:gd name="connsiteY2" fmla="*/ 219079 h 736540"/>
              <a:gd name="connsiteX3" fmla="*/ 540620 w 571586"/>
              <a:gd name="connsiteY3" fmla="*/ 269085 h 736540"/>
              <a:gd name="connsiteX4" fmla="*/ 535857 w 571586"/>
              <a:gd name="connsiteY4" fmla="*/ 311948 h 736540"/>
              <a:gd name="connsiteX5" fmla="*/ 533476 w 571586"/>
              <a:gd name="connsiteY5" fmla="*/ 319091 h 736540"/>
              <a:gd name="connsiteX6" fmla="*/ 521570 w 571586"/>
              <a:gd name="connsiteY6" fmla="*/ 321473 h 736540"/>
              <a:gd name="connsiteX7" fmla="*/ 516807 w 571586"/>
              <a:gd name="connsiteY7" fmla="*/ 338141 h 736540"/>
              <a:gd name="connsiteX8" fmla="*/ 514426 w 571586"/>
              <a:gd name="connsiteY8" fmla="*/ 345285 h 736540"/>
              <a:gd name="connsiteX9" fmla="*/ 500138 w 571586"/>
              <a:gd name="connsiteY9" fmla="*/ 357191 h 736540"/>
              <a:gd name="connsiteX10" fmla="*/ 492995 w 571586"/>
              <a:gd name="connsiteY10" fmla="*/ 359573 h 736540"/>
              <a:gd name="connsiteX11" fmla="*/ 485851 w 571586"/>
              <a:gd name="connsiteY11" fmla="*/ 383385 h 736540"/>
              <a:gd name="connsiteX12" fmla="*/ 492995 w 571586"/>
              <a:gd name="connsiteY12" fmla="*/ 388148 h 736540"/>
              <a:gd name="connsiteX13" fmla="*/ 502520 w 571586"/>
              <a:gd name="connsiteY13" fmla="*/ 390529 h 736540"/>
              <a:gd name="connsiteX14" fmla="*/ 507282 w 571586"/>
              <a:gd name="connsiteY14" fmla="*/ 397673 h 736540"/>
              <a:gd name="connsiteX15" fmla="*/ 504901 w 571586"/>
              <a:gd name="connsiteY15" fmla="*/ 409579 h 736540"/>
              <a:gd name="connsiteX16" fmla="*/ 500138 w 571586"/>
              <a:gd name="connsiteY16" fmla="*/ 416723 h 736540"/>
              <a:gd name="connsiteX17" fmla="*/ 497757 w 571586"/>
              <a:gd name="connsiteY17" fmla="*/ 423866 h 736540"/>
              <a:gd name="connsiteX18" fmla="*/ 507282 w 571586"/>
              <a:gd name="connsiteY18" fmla="*/ 438154 h 736540"/>
              <a:gd name="connsiteX19" fmla="*/ 509663 w 571586"/>
              <a:gd name="connsiteY19" fmla="*/ 445298 h 736540"/>
              <a:gd name="connsiteX20" fmla="*/ 497757 w 571586"/>
              <a:gd name="connsiteY20" fmla="*/ 442916 h 736540"/>
              <a:gd name="connsiteX21" fmla="*/ 476326 w 571586"/>
              <a:gd name="connsiteY21" fmla="*/ 433391 h 736540"/>
              <a:gd name="connsiteX22" fmla="*/ 469182 w 571586"/>
              <a:gd name="connsiteY22" fmla="*/ 431010 h 736540"/>
              <a:gd name="connsiteX23" fmla="*/ 457276 w 571586"/>
              <a:gd name="connsiteY23" fmla="*/ 433391 h 736540"/>
              <a:gd name="connsiteX24" fmla="*/ 454895 w 571586"/>
              <a:gd name="connsiteY24" fmla="*/ 450060 h 736540"/>
              <a:gd name="connsiteX25" fmla="*/ 447751 w 571586"/>
              <a:gd name="connsiteY25" fmla="*/ 464348 h 736540"/>
              <a:gd name="connsiteX26" fmla="*/ 440607 w 571586"/>
              <a:gd name="connsiteY26" fmla="*/ 471491 h 736540"/>
              <a:gd name="connsiteX27" fmla="*/ 423938 w 571586"/>
              <a:gd name="connsiteY27" fmla="*/ 473873 h 736540"/>
              <a:gd name="connsiteX28" fmla="*/ 402507 w 571586"/>
              <a:gd name="connsiteY28" fmla="*/ 485779 h 736540"/>
              <a:gd name="connsiteX29" fmla="*/ 392982 w 571586"/>
              <a:gd name="connsiteY29" fmla="*/ 500066 h 736540"/>
              <a:gd name="connsiteX30" fmla="*/ 400126 w 571586"/>
              <a:gd name="connsiteY30" fmla="*/ 521498 h 736540"/>
              <a:gd name="connsiteX31" fmla="*/ 407270 w 571586"/>
              <a:gd name="connsiteY31" fmla="*/ 526260 h 736540"/>
              <a:gd name="connsiteX32" fmla="*/ 400126 w 571586"/>
              <a:gd name="connsiteY32" fmla="*/ 564360 h 736540"/>
              <a:gd name="connsiteX33" fmla="*/ 392982 w 571586"/>
              <a:gd name="connsiteY33" fmla="*/ 569123 h 736540"/>
              <a:gd name="connsiteX34" fmla="*/ 383457 w 571586"/>
              <a:gd name="connsiteY34" fmla="*/ 571504 h 736540"/>
              <a:gd name="connsiteX35" fmla="*/ 369170 w 571586"/>
              <a:gd name="connsiteY35" fmla="*/ 585791 h 736540"/>
              <a:gd name="connsiteX36" fmla="*/ 354882 w 571586"/>
              <a:gd name="connsiteY36" fmla="*/ 600079 h 736540"/>
              <a:gd name="connsiteX37" fmla="*/ 345357 w 571586"/>
              <a:gd name="connsiteY37" fmla="*/ 609604 h 736540"/>
              <a:gd name="connsiteX38" fmla="*/ 340595 w 571586"/>
              <a:gd name="connsiteY38" fmla="*/ 616748 h 736540"/>
              <a:gd name="connsiteX39" fmla="*/ 326307 w 571586"/>
              <a:gd name="connsiteY39" fmla="*/ 623891 h 736540"/>
              <a:gd name="connsiteX40" fmla="*/ 319163 w 571586"/>
              <a:gd name="connsiteY40" fmla="*/ 628654 h 736540"/>
              <a:gd name="connsiteX41" fmla="*/ 302495 w 571586"/>
              <a:gd name="connsiteY41" fmla="*/ 633416 h 736540"/>
              <a:gd name="connsiteX42" fmla="*/ 295351 w 571586"/>
              <a:gd name="connsiteY42" fmla="*/ 635798 h 736540"/>
              <a:gd name="connsiteX43" fmla="*/ 285826 w 571586"/>
              <a:gd name="connsiteY43" fmla="*/ 638179 h 736540"/>
              <a:gd name="connsiteX44" fmla="*/ 271538 w 571586"/>
              <a:gd name="connsiteY44" fmla="*/ 642941 h 736540"/>
              <a:gd name="connsiteX45" fmla="*/ 262013 w 571586"/>
              <a:gd name="connsiteY45" fmla="*/ 647704 h 736540"/>
              <a:gd name="connsiteX46" fmla="*/ 254870 w 571586"/>
              <a:gd name="connsiteY46" fmla="*/ 650085 h 736540"/>
              <a:gd name="connsiteX47" fmla="*/ 247726 w 571586"/>
              <a:gd name="connsiteY47" fmla="*/ 654848 h 736540"/>
              <a:gd name="connsiteX48" fmla="*/ 245345 w 571586"/>
              <a:gd name="connsiteY48" fmla="*/ 661991 h 736540"/>
              <a:gd name="connsiteX49" fmla="*/ 216770 w 571586"/>
              <a:gd name="connsiteY49" fmla="*/ 676279 h 736540"/>
              <a:gd name="connsiteX50" fmla="*/ 202482 w 571586"/>
              <a:gd name="connsiteY50" fmla="*/ 681041 h 736540"/>
              <a:gd name="connsiteX51" fmla="*/ 195338 w 571586"/>
              <a:gd name="connsiteY51" fmla="*/ 683423 h 736540"/>
              <a:gd name="connsiteX52" fmla="*/ 164382 w 571586"/>
              <a:gd name="connsiteY52" fmla="*/ 681041 h 736540"/>
              <a:gd name="connsiteX53" fmla="*/ 150095 w 571586"/>
              <a:gd name="connsiteY53" fmla="*/ 683423 h 736540"/>
              <a:gd name="connsiteX54" fmla="*/ 126282 w 571586"/>
              <a:gd name="connsiteY54" fmla="*/ 735810 h 736540"/>
              <a:gd name="connsiteX55" fmla="*/ 78657 w 571586"/>
              <a:gd name="connsiteY55" fmla="*/ 726285 h 736540"/>
              <a:gd name="connsiteX56" fmla="*/ 73895 w 571586"/>
              <a:gd name="connsiteY56" fmla="*/ 719141 h 736540"/>
              <a:gd name="connsiteX57" fmla="*/ 66751 w 571586"/>
              <a:gd name="connsiteY57" fmla="*/ 721523 h 736540"/>
              <a:gd name="connsiteX58" fmla="*/ 57226 w 571586"/>
              <a:gd name="connsiteY58" fmla="*/ 721523 h 736540"/>
              <a:gd name="connsiteX59" fmla="*/ 52463 w 571586"/>
              <a:gd name="connsiteY59" fmla="*/ 707235 h 736540"/>
              <a:gd name="connsiteX60" fmla="*/ 50082 w 571586"/>
              <a:gd name="connsiteY60" fmla="*/ 700091 h 736540"/>
              <a:gd name="connsiteX61" fmla="*/ 52463 w 571586"/>
              <a:gd name="connsiteY61" fmla="*/ 681041 h 736540"/>
              <a:gd name="connsiteX62" fmla="*/ 57226 w 571586"/>
              <a:gd name="connsiteY62" fmla="*/ 671516 h 736540"/>
              <a:gd name="connsiteX63" fmla="*/ 59607 w 571586"/>
              <a:gd name="connsiteY63" fmla="*/ 664373 h 736540"/>
              <a:gd name="connsiteX64" fmla="*/ 57226 w 571586"/>
              <a:gd name="connsiteY64" fmla="*/ 654848 h 736540"/>
              <a:gd name="connsiteX65" fmla="*/ 50082 w 571586"/>
              <a:gd name="connsiteY65" fmla="*/ 652466 h 736540"/>
              <a:gd name="connsiteX66" fmla="*/ 31032 w 571586"/>
              <a:gd name="connsiteY66" fmla="*/ 650085 h 736540"/>
              <a:gd name="connsiteX67" fmla="*/ 26270 w 571586"/>
              <a:gd name="connsiteY67" fmla="*/ 635798 h 736540"/>
              <a:gd name="connsiteX68" fmla="*/ 23888 w 571586"/>
              <a:gd name="connsiteY68" fmla="*/ 626273 h 736540"/>
              <a:gd name="connsiteX69" fmla="*/ 9601 w 571586"/>
              <a:gd name="connsiteY69" fmla="*/ 621510 h 736540"/>
              <a:gd name="connsiteX70" fmla="*/ 2457 w 571586"/>
              <a:gd name="connsiteY70" fmla="*/ 600079 h 736540"/>
              <a:gd name="connsiteX71" fmla="*/ 9601 w 571586"/>
              <a:gd name="connsiteY71" fmla="*/ 595316 h 736540"/>
              <a:gd name="connsiteX72" fmla="*/ 16745 w 571586"/>
              <a:gd name="connsiteY72" fmla="*/ 592935 h 736540"/>
              <a:gd name="connsiteX73" fmla="*/ 31032 w 571586"/>
              <a:gd name="connsiteY73" fmla="*/ 585791 h 736540"/>
              <a:gd name="connsiteX74" fmla="*/ 33413 w 571586"/>
              <a:gd name="connsiteY74" fmla="*/ 595316 h 736540"/>
              <a:gd name="connsiteX75" fmla="*/ 42938 w 571586"/>
              <a:gd name="connsiteY75" fmla="*/ 607223 h 736540"/>
              <a:gd name="connsiteX76" fmla="*/ 61988 w 571586"/>
              <a:gd name="connsiteY76" fmla="*/ 604841 h 736540"/>
              <a:gd name="connsiteX77" fmla="*/ 85801 w 571586"/>
              <a:gd name="connsiteY77" fmla="*/ 595316 h 736540"/>
              <a:gd name="connsiteX78" fmla="*/ 90563 w 571586"/>
              <a:gd name="connsiteY78" fmla="*/ 588173 h 736540"/>
              <a:gd name="connsiteX79" fmla="*/ 97707 w 571586"/>
              <a:gd name="connsiteY79" fmla="*/ 583410 h 736540"/>
              <a:gd name="connsiteX80" fmla="*/ 104851 w 571586"/>
              <a:gd name="connsiteY80" fmla="*/ 566741 h 736540"/>
              <a:gd name="connsiteX81" fmla="*/ 100088 w 571586"/>
              <a:gd name="connsiteY81" fmla="*/ 559598 h 736540"/>
              <a:gd name="connsiteX82" fmla="*/ 85801 w 571586"/>
              <a:gd name="connsiteY82" fmla="*/ 554835 h 736540"/>
              <a:gd name="connsiteX83" fmla="*/ 78657 w 571586"/>
              <a:gd name="connsiteY83" fmla="*/ 550073 h 736540"/>
              <a:gd name="connsiteX84" fmla="*/ 73895 w 571586"/>
              <a:gd name="connsiteY84" fmla="*/ 542929 h 736540"/>
              <a:gd name="connsiteX85" fmla="*/ 73895 w 571586"/>
              <a:gd name="connsiteY85" fmla="*/ 509591 h 736540"/>
              <a:gd name="connsiteX86" fmla="*/ 71513 w 571586"/>
              <a:gd name="connsiteY86" fmla="*/ 495304 h 736540"/>
              <a:gd name="connsiteX87" fmla="*/ 66751 w 571586"/>
              <a:gd name="connsiteY87" fmla="*/ 481016 h 736540"/>
              <a:gd name="connsiteX88" fmla="*/ 73895 w 571586"/>
              <a:gd name="connsiteY88" fmla="*/ 376241 h 736540"/>
              <a:gd name="connsiteX89" fmla="*/ 85801 w 571586"/>
              <a:gd name="connsiteY89" fmla="*/ 361954 h 736540"/>
              <a:gd name="connsiteX90" fmla="*/ 95326 w 571586"/>
              <a:gd name="connsiteY90" fmla="*/ 340523 h 736540"/>
              <a:gd name="connsiteX91" fmla="*/ 97707 w 571586"/>
              <a:gd name="connsiteY91" fmla="*/ 333379 h 736540"/>
              <a:gd name="connsiteX92" fmla="*/ 97707 w 571586"/>
              <a:gd name="connsiteY92" fmla="*/ 276229 h 736540"/>
              <a:gd name="connsiteX93" fmla="*/ 83420 w 571586"/>
              <a:gd name="connsiteY93" fmla="*/ 261941 h 736540"/>
              <a:gd name="connsiteX94" fmla="*/ 83420 w 571586"/>
              <a:gd name="connsiteY94" fmla="*/ 226223 h 736540"/>
              <a:gd name="connsiteX95" fmla="*/ 88182 w 571586"/>
              <a:gd name="connsiteY95" fmla="*/ 219079 h 736540"/>
              <a:gd name="connsiteX96" fmla="*/ 92945 w 571586"/>
              <a:gd name="connsiteY96" fmla="*/ 204791 h 736540"/>
              <a:gd name="connsiteX97" fmla="*/ 100088 w 571586"/>
              <a:gd name="connsiteY97" fmla="*/ 164310 h 736540"/>
              <a:gd name="connsiteX98" fmla="*/ 104851 w 571586"/>
              <a:gd name="connsiteY98" fmla="*/ 157166 h 736540"/>
              <a:gd name="connsiteX99" fmla="*/ 107232 w 571586"/>
              <a:gd name="connsiteY99" fmla="*/ 152404 h 736540"/>
              <a:gd name="connsiteX100" fmla="*/ 107232 w 571586"/>
              <a:gd name="connsiteY100" fmla="*/ 135736 h 736540"/>
              <a:gd name="connsiteX101" fmla="*/ 121520 w 571586"/>
              <a:gd name="connsiteY101" fmla="*/ 123829 h 736540"/>
              <a:gd name="connsiteX102" fmla="*/ 126282 w 571586"/>
              <a:gd name="connsiteY102" fmla="*/ 104779 h 736540"/>
              <a:gd name="connsiteX103" fmla="*/ 131045 w 571586"/>
              <a:gd name="connsiteY103" fmla="*/ 85729 h 736540"/>
              <a:gd name="connsiteX104" fmla="*/ 138188 w 571586"/>
              <a:gd name="connsiteY104" fmla="*/ 80966 h 736540"/>
              <a:gd name="connsiteX105" fmla="*/ 195338 w 571586"/>
              <a:gd name="connsiteY105" fmla="*/ 83348 h 736540"/>
              <a:gd name="connsiteX106" fmla="*/ 207245 w 571586"/>
              <a:gd name="connsiteY106" fmla="*/ 95254 h 736540"/>
              <a:gd name="connsiteX107" fmla="*/ 221532 w 571586"/>
              <a:gd name="connsiteY107" fmla="*/ 104779 h 736540"/>
              <a:gd name="connsiteX108" fmla="*/ 228676 w 571586"/>
              <a:gd name="connsiteY108" fmla="*/ 109541 h 736540"/>
              <a:gd name="connsiteX109" fmla="*/ 238201 w 571586"/>
              <a:gd name="connsiteY109" fmla="*/ 107160 h 736540"/>
              <a:gd name="connsiteX110" fmla="*/ 245345 w 571586"/>
              <a:gd name="connsiteY110" fmla="*/ 102398 h 736540"/>
              <a:gd name="connsiteX111" fmla="*/ 262013 w 571586"/>
              <a:gd name="connsiteY111" fmla="*/ 88110 h 736540"/>
              <a:gd name="connsiteX112" fmla="*/ 266776 w 571586"/>
              <a:gd name="connsiteY112" fmla="*/ 80966 h 736540"/>
              <a:gd name="connsiteX113" fmla="*/ 269157 w 571586"/>
              <a:gd name="connsiteY113" fmla="*/ 73823 h 736540"/>
              <a:gd name="connsiteX114" fmla="*/ 252488 w 571586"/>
              <a:gd name="connsiteY114" fmla="*/ 52391 h 736540"/>
              <a:gd name="connsiteX115" fmla="*/ 264395 w 571586"/>
              <a:gd name="connsiteY115" fmla="*/ 30960 h 736540"/>
              <a:gd name="connsiteX116" fmla="*/ 273920 w 571586"/>
              <a:gd name="connsiteY116" fmla="*/ 2385 h 736540"/>
              <a:gd name="connsiteX117" fmla="*/ 281063 w 571586"/>
              <a:gd name="connsiteY117" fmla="*/ 4 h 736540"/>
              <a:gd name="connsiteX118" fmla="*/ 297732 w 571586"/>
              <a:gd name="connsiteY118" fmla="*/ 4766 h 736540"/>
              <a:gd name="connsiteX119" fmla="*/ 309638 w 571586"/>
              <a:gd name="connsiteY119" fmla="*/ 14291 h 736540"/>
              <a:gd name="connsiteX120" fmla="*/ 307257 w 571586"/>
              <a:gd name="connsiteY120" fmla="*/ 38104 h 736540"/>
              <a:gd name="connsiteX121" fmla="*/ 316782 w 571586"/>
              <a:gd name="connsiteY121" fmla="*/ 50010 h 736540"/>
              <a:gd name="connsiteX122" fmla="*/ 326307 w 571586"/>
              <a:gd name="connsiteY122" fmla="*/ 52391 h 736540"/>
              <a:gd name="connsiteX123" fmla="*/ 333451 w 571586"/>
              <a:gd name="connsiteY123" fmla="*/ 54773 h 736540"/>
              <a:gd name="connsiteX124" fmla="*/ 350120 w 571586"/>
              <a:gd name="connsiteY124" fmla="*/ 71441 h 736540"/>
              <a:gd name="connsiteX125" fmla="*/ 392982 w 571586"/>
              <a:gd name="connsiteY125" fmla="*/ 69060 h 736540"/>
              <a:gd name="connsiteX126" fmla="*/ 409651 w 571586"/>
              <a:gd name="connsiteY126" fmla="*/ 64298 h 736540"/>
              <a:gd name="connsiteX127" fmla="*/ 421557 w 571586"/>
              <a:gd name="connsiteY127" fmla="*/ 2385 h 736540"/>
              <a:gd name="connsiteX128" fmla="*/ 428701 w 571586"/>
              <a:gd name="connsiteY128" fmla="*/ 7148 h 736540"/>
              <a:gd name="connsiteX129" fmla="*/ 452513 w 571586"/>
              <a:gd name="connsiteY129" fmla="*/ 35723 h 736540"/>
              <a:gd name="connsiteX130" fmla="*/ 466801 w 571586"/>
              <a:gd name="connsiteY130" fmla="*/ 42866 h 736540"/>
              <a:gd name="connsiteX131" fmla="*/ 473945 w 571586"/>
              <a:gd name="connsiteY131" fmla="*/ 45248 h 736540"/>
              <a:gd name="connsiteX132" fmla="*/ 488232 w 571586"/>
              <a:gd name="connsiteY132" fmla="*/ 54773 h 736540"/>
              <a:gd name="connsiteX133" fmla="*/ 492995 w 571586"/>
              <a:gd name="connsiteY133" fmla="*/ 61916 h 736540"/>
              <a:gd name="connsiteX134" fmla="*/ 500138 w 571586"/>
              <a:gd name="connsiteY134" fmla="*/ 66679 h 736540"/>
              <a:gd name="connsiteX135" fmla="*/ 502520 w 571586"/>
              <a:gd name="connsiteY135" fmla="*/ 73823 h 736540"/>
              <a:gd name="connsiteX136" fmla="*/ 512045 w 571586"/>
              <a:gd name="connsiteY136" fmla="*/ 88110 h 736540"/>
              <a:gd name="connsiteX137" fmla="*/ 516807 w 571586"/>
              <a:gd name="connsiteY137" fmla="*/ 95254 h 736540"/>
              <a:gd name="connsiteX138" fmla="*/ 519188 w 571586"/>
              <a:gd name="connsiteY138" fmla="*/ 102398 h 736540"/>
              <a:gd name="connsiteX139" fmla="*/ 526332 w 571586"/>
              <a:gd name="connsiteY139" fmla="*/ 109541 h 736540"/>
              <a:gd name="connsiteX140" fmla="*/ 531095 w 571586"/>
              <a:gd name="connsiteY140" fmla="*/ 116685 h 736540"/>
              <a:gd name="connsiteX141" fmla="*/ 545382 w 571586"/>
              <a:gd name="connsiteY141" fmla="*/ 123829 h 736540"/>
              <a:gd name="connsiteX142" fmla="*/ 552526 w 571586"/>
              <a:gd name="connsiteY142" fmla="*/ 128591 h 736540"/>
              <a:gd name="connsiteX143" fmla="*/ 559670 w 571586"/>
              <a:gd name="connsiteY143" fmla="*/ 178598 h 736540"/>
              <a:gd name="connsiteX144" fmla="*/ 571576 w 571586"/>
              <a:gd name="connsiteY144" fmla="*/ 188123 h 736540"/>
              <a:gd name="connsiteX0" fmla="*/ 571576 w 571586"/>
              <a:gd name="connsiteY0" fmla="*/ 188123 h 736540"/>
              <a:gd name="connsiteX1" fmla="*/ 557288 w 571586"/>
              <a:gd name="connsiteY1" fmla="*/ 204791 h 736540"/>
              <a:gd name="connsiteX2" fmla="*/ 547763 w 571586"/>
              <a:gd name="connsiteY2" fmla="*/ 219079 h 736540"/>
              <a:gd name="connsiteX3" fmla="*/ 540620 w 571586"/>
              <a:gd name="connsiteY3" fmla="*/ 269085 h 736540"/>
              <a:gd name="connsiteX4" fmla="*/ 535857 w 571586"/>
              <a:gd name="connsiteY4" fmla="*/ 311948 h 736540"/>
              <a:gd name="connsiteX5" fmla="*/ 533476 w 571586"/>
              <a:gd name="connsiteY5" fmla="*/ 319091 h 736540"/>
              <a:gd name="connsiteX6" fmla="*/ 521570 w 571586"/>
              <a:gd name="connsiteY6" fmla="*/ 321473 h 736540"/>
              <a:gd name="connsiteX7" fmla="*/ 516807 w 571586"/>
              <a:gd name="connsiteY7" fmla="*/ 338141 h 736540"/>
              <a:gd name="connsiteX8" fmla="*/ 514426 w 571586"/>
              <a:gd name="connsiteY8" fmla="*/ 345285 h 736540"/>
              <a:gd name="connsiteX9" fmla="*/ 500138 w 571586"/>
              <a:gd name="connsiteY9" fmla="*/ 357191 h 736540"/>
              <a:gd name="connsiteX10" fmla="*/ 492995 w 571586"/>
              <a:gd name="connsiteY10" fmla="*/ 359573 h 736540"/>
              <a:gd name="connsiteX11" fmla="*/ 485851 w 571586"/>
              <a:gd name="connsiteY11" fmla="*/ 383385 h 736540"/>
              <a:gd name="connsiteX12" fmla="*/ 492995 w 571586"/>
              <a:gd name="connsiteY12" fmla="*/ 388148 h 736540"/>
              <a:gd name="connsiteX13" fmla="*/ 502520 w 571586"/>
              <a:gd name="connsiteY13" fmla="*/ 390529 h 736540"/>
              <a:gd name="connsiteX14" fmla="*/ 507282 w 571586"/>
              <a:gd name="connsiteY14" fmla="*/ 397673 h 736540"/>
              <a:gd name="connsiteX15" fmla="*/ 504901 w 571586"/>
              <a:gd name="connsiteY15" fmla="*/ 409579 h 736540"/>
              <a:gd name="connsiteX16" fmla="*/ 500138 w 571586"/>
              <a:gd name="connsiteY16" fmla="*/ 416723 h 736540"/>
              <a:gd name="connsiteX17" fmla="*/ 497757 w 571586"/>
              <a:gd name="connsiteY17" fmla="*/ 423866 h 736540"/>
              <a:gd name="connsiteX18" fmla="*/ 507282 w 571586"/>
              <a:gd name="connsiteY18" fmla="*/ 438154 h 736540"/>
              <a:gd name="connsiteX19" fmla="*/ 509663 w 571586"/>
              <a:gd name="connsiteY19" fmla="*/ 445298 h 736540"/>
              <a:gd name="connsiteX20" fmla="*/ 497757 w 571586"/>
              <a:gd name="connsiteY20" fmla="*/ 442916 h 736540"/>
              <a:gd name="connsiteX21" fmla="*/ 476326 w 571586"/>
              <a:gd name="connsiteY21" fmla="*/ 433391 h 736540"/>
              <a:gd name="connsiteX22" fmla="*/ 469182 w 571586"/>
              <a:gd name="connsiteY22" fmla="*/ 431010 h 736540"/>
              <a:gd name="connsiteX23" fmla="*/ 457276 w 571586"/>
              <a:gd name="connsiteY23" fmla="*/ 433391 h 736540"/>
              <a:gd name="connsiteX24" fmla="*/ 454895 w 571586"/>
              <a:gd name="connsiteY24" fmla="*/ 450060 h 736540"/>
              <a:gd name="connsiteX25" fmla="*/ 447751 w 571586"/>
              <a:gd name="connsiteY25" fmla="*/ 464348 h 736540"/>
              <a:gd name="connsiteX26" fmla="*/ 440607 w 571586"/>
              <a:gd name="connsiteY26" fmla="*/ 471491 h 736540"/>
              <a:gd name="connsiteX27" fmla="*/ 423938 w 571586"/>
              <a:gd name="connsiteY27" fmla="*/ 473873 h 736540"/>
              <a:gd name="connsiteX28" fmla="*/ 402507 w 571586"/>
              <a:gd name="connsiteY28" fmla="*/ 485779 h 736540"/>
              <a:gd name="connsiteX29" fmla="*/ 392982 w 571586"/>
              <a:gd name="connsiteY29" fmla="*/ 500066 h 736540"/>
              <a:gd name="connsiteX30" fmla="*/ 400126 w 571586"/>
              <a:gd name="connsiteY30" fmla="*/ 521498 h 736540"/>
              <a:gd name="connsiteX31" fmla="*/ 407270 w 571586"/>
              <a:gd name="connsiteY31" fmla="*/ 526260 h 736540"/>
              <a:gd name="connsiteX32" fmla="*/ 400126 w 571586"/>
              <a:gd name="connsiteY32" fmla="*/ 564360 h 736540"/>
              <a:gd name="connsiteX33" fmla="*/ 392982 w 571586"/>
              <a:gd name="connsiteY33" fmla="*/ 569123 h 736540"/>
              <a:gd name="connsiteX34" fmla="*/ 383457 w 571586"/>
              <a:gd name="connsiteY34" fmla="*/ 571504 h 736540"/>
              <a:gd name="connsiteX35" fmla="*/ 369170 w 571586"/>
              <a:gd name="connsiteY35" fmla="*/ 585791 h 736540"/>
              <a:gd name="connsiteX36" fmla="*/ 354882 w 571586"/>
              <a:gd name="connsiteY36" fmla="*/ 600079 h 736540"/>
              <a:gd name="connsiteX37" fmla="*/ 345357 w 571586"/>
              <a:gd name="connsiteY37" fmla="*/ 609604 h 736540"/>
              <a:gd name="connsiteX38" fmla="*/ 340595 w 571586"/>
              <a:gd name="connsiteY38" fmla="*/ 616748 h 736540"/>
              <a:gd name="connsiteX39" fmla="*/ 326307 w 571586"/>
              <a:gd name="connsiteY39" fmla="*/ 623891 h 736540"/>
              <a:gd name="connsiteX40" fmla="*/ 319163 w 571586"/>
              <a:gd name="connsiteY40" fmla="*/ 628654 h 736540"/>
              <a:gd name="connsiteX41" fmla="*/ 302495 w 571586"/>
              <a:gd name="connsiteY41" fmla="*/ 633416 h 736540"/>
              <a:gd name="connsiteX42" fmla="*/ 295351 w 571586"/>
              <a:gd name="connsiteY42" fmla="*/ 635798 h 736540"/>
              <a:gd name="connsiteX43" fmla="*/ 285826 w 571586"/>
              <a:gd name="connsiteY43" fmla="*/ 638179 h 736540"/>
              <a:gd name="connsiteX44" fmla="*/ 271538 w 571586"/>
              <a:gd name="connsiteY44" fmla="*/ 642941 h 736540"/>
              <a:gd name="connsiteX45" fmla="*/ 262013 w 571586"/>
              <a:gd name="connsiteY45" fmla="*/ 647704 h 736540"/>
              <a:gd name="connsiteX46" fmla="*/ 254870 w 571586"/>
              <a:gd name="connsiteY46" fmla="*/ 650085 h 736540"/>
              <a:gd name="connsiteX47" fmla="*/ 247726 w 571586"/>
              <a:gd name="connsiteY47" fmla="*/ 654848 h 736540"/>
              <a:gd name="connsiteX48" fmla="*/ 245345 w 571586"/>
              <a:gd name="connsiteY48" fmla="*/ 661991 h 736540"/>
              <a:gd name="connsiteX49" fmla="*/ 216770 w 571586"/>
              <a:gd name="connsiteY49" fmla="*/ 676279 h 736540"/>
              <a:gd name="connsiteX50" fmla="*/ 202482 w 571586"/>
              <a:gd name="connsiteY50" fmla="*/ 681041 h 736540"/>
              <a:gd name="connsiteX51" fmla="*/ 195338 w 571586"/>
              <a:gd name="connsiteY51" fmla="*/ 683423 h 736540"/>
              <a:gd name="connsiteX52" fmla="*/ 164382 w 571586"/>
              <a:gd name="connsiteY52" fmla="*/ 681041 h 736540"/>
              <a:gd name="connsiteX53" fmla="*/ 150095 w 571586"/>
              <a:gd name="connsiteY53" fmla="*/ 683423 h 736540"/>
              <a:gd name="connsiteX54" fmla="*/ 126282 w 571586"/>
              <a:gd name="connsiteY54" fmla="*/ 735810 h 736540"/>
              <a:gd name="connsiteX55" fmla="*/ 78657 w 571586"/>
              <a:gd name="connsiteY55" fmla="*/ 726285 h 736540"/>
              <a:gd name="connsiteX56" fmla="*/ 73895 w 571586"/>
              <a:gd name="connsiteY56" fmla="*/ 719141 h 736540"/>
              <a:gd name="connsiteX57" fmla="*/ 66751 w 571586"/>
              <a:gd name="connsiteY57" fmla="*/ 721523 h 736540"/>
              <a:gd name="connsiteX58" fmla="*/ 57226 w 571586"/>
              <a:gd name="connsiteY58" fmla="*/ 721523 h 736540"/>
              <a:gd name="connsiteX59" fmla="*/ 52463 w 571586"/>
              <a:gd name="connsiteY59" fmla="*/ 707235 h 736540"/>
              <a:gd name="connsiteX60" fmla="*/ 50082 w 571586"/>
              <a:gd name="connsiteY60" fmla="*/ 700091 h 736540"/>
              <a:gd name="connsiteX61" fmla="*/ 52463 w 571586"/>
              <a:gd name="connsiteY61" fmla="*/ 681041 h 736540"/>
              <a:gd name="connsiteX62" fmla="*/ 57226 w 571586"/>
              <a:gd name="connsiteY62" fmla="*/ 671516 h 736540"/>
              <a:gd name="connsiteX63" fmla="*/ 59607 w 571586"/>
              <a:gd name="connsiteY63" fmla="*/ 664373 h 736540"/>
              <a:gd name="connsiteX64" fmla="*/ 57226 w 571586"/>
              <a:gd name="connsiteY64" fmla="*/ 654848 h 736540"/>
              <a:gd name="connsiteX65" fmla="*/ 50082 w 571586"/>
              <a:gd name="connsiteY65" fmla="*/ 652466 h 736540"/>
              <a:gd name="connsiteX66" fmla="*/ 31032 w 571586"/>
              <a:gd name="connsiteY66" fmla="*/ 650085 h 736540"/>
              <a:gd name="connsiteX67" fmla="*/ 26270 w 571586"/>
              <a:gd name="connsiteY67" fmla="*/ 635798 h 736540"/>
              <a:gd name="connsiteX68" fmla="*/ 23888 w 571586"/>
              <a:gd name="connsiteY68" fmla="*/ 626273 h 736540"/>
              <a:gd name="connsiteX69" fmla="*/ 9601 w 571586"/>
              <a:gd name="connsiteY69" fmla="*/ 621510 h 736540"/>
              <a:gd name="connsiteX70" fmla="*/ 2457 w 571586"/>
              <a:gd name="connsiteY70" fmla="*/ 600079 h 736540"/>
              <a:gd name="connsiteX71" fmla="*/ 9601 w 571586"/>
              <a:gd name="connsiteY71" fmla="*/ 595316 h 736540"/>
              <a:gd name="connsiteX72" fmla="*/ 16745 w 571586"/>
              <a:gd name="connsiteY72" fmla="*/ 592935 h 736540"/>
              <a:gd name="connsiteX73" fmla="*/ 31032 w 571586"/>
              <a:gd name="connsiteY73" fmla="*/ 585791 h 736540"/>
              <a:gd name="connsiteX74" fmla="*/ 33413 w 571586"/>
              <a:gd name="connsiteY74" fmla="*/ 595316 h 736540"/>
              <a:gd name="connsiteX75" fmla="*/ 42938 w 571586"/>
              <a:gd name="connsiteY75" fmla="*/ 607223 h 736540"/>
              <a:gd name="connsiteX76" fmla="*/ 61988 w 571586"/>
              <a:gd name="connsiteY76" fmla="*/ 604841 h 736540"/>
              <a:gd name="connsiteX77" fmla="*/ 85801 w 571586"/>
              <a:gd name="connsiteY77" fmla="*/ 595316 h 736540"/>
              <a:gd name="connsiteX78" fmla="*/ 90563 w 571586"/>
              <a:gd name="connsiteY78" fmla="*/ 588173 h 736540"/>
              <a:gd name="connsiteX79" fmla="*/ 97707 w 571586"/>
              <a:gd name="connsiteY79" fmla="*/ 583410 h 736540"/>
              <a:gd name="connsiteX80" fmla="*/ 104851 w 571586"/>
              <a:gd name="connsiteY80" fmla="*/ 566741 h 736540"/>
              <a:gd name="connsiteX81" fmla="*/ 100088 w 571586"/>
              <a:gd name="connsiteY81" fmla="*/ 559598 h 736540"/>
              <a:gd name="connsiteX82" fmla="*/ 85801 w 571586"/>
              <a:gd name="connsiteY82" fmla="*/ 554835 h 736540"/>
              <a:gd name="connsiteX83" fmla="*/ 78657 w 571586"/>
              <a:gd name="connsiteY83" fmla="*/ 550073 h 736540"/>
              <a:gd name="connsiteX84" fmla="*/ 73895 w 571586"/>
              <a:gd name="connsiteY84" fmla="*/ 542929 h 736540"/>
              <a:gd name="connsiteX85" fmla="*/ 73895 w 571586"/>
              <a:gd name="connsiteY85" fmla="*/ 509591 h 736540"/>
              <a:gd name="connsiteX86" fmla="*/ 71513 w 571586"/>
              <a:gd name="connsiteY86" fmla="*/ 495304 h 736540"/>
              <a:gd name="connsiteX87" fmla="*/ 66751 w 571586"/>
              <a:gd name="connsiteY87" fmla="*/ 481016 h 736540"/>
              <a:gd name="connsiteX88" fmla="*/ 73895 w 571586"/>
              <a:gd name="connsiteY88" fmla="*/ 376241 h 736540"/>
              <a:gd name="connsiteX89" fmla="*/ 85801 w 571586"/>
              <a:gd name="connsiteY89" fmla="*/ 361954 h 736540"/>
              <a:gd name="connsiteX90" fmla="*/ 95326 w 571586"/>
              <a:gd name="connsiteY90" fmla="*/ 340523 h 736540"/>
              <a:gd name="connsiteX91" fmla="*/ 97707 w 571586"/>
              <a:gd name="connsiteY91" fmla="*/ 333379 h 736540"/>
              <a:gd name="connsiteX92" fmla="*/ 97707 w 571586"/>
              <a:gd name="connsiteY92" fmla="*/ 276229 h 736540"/>
              <a:gd name="connsiteX93" fmla="*/ 83420 w 571586"/>
              <a:gd name="connsiteY93" fmla="*/ 261941 h 736540"/>
              <a:gd name="connsiteX94" fmla="*/ 83420 w 571586"/>
              <a:gd name="connsiteY94" fmla="*/ 226223 h 736540"/>
              <a:gd name="connsiteX95" fmla="*/ 88182 w 571586"/>
              <a:gd name="connsiteY95" fmla="*/ 219079 h 736540"/>
              <a:gd name="connsiteX96" fmla="*/ 92945 w 571586"/>
              <a:gd name="connsiteY96" fmla="*/ 204791 h 736540"/>
              <a:gd name="connsiteX97" fmla="*/ 100088 w 571586"/>
              <a:gd name="connsiteY97" fmla="*/ 164310 h 736540"/>
              <a:gd name="connsiteX98" fmla="*/ 104851 w 571586"/>
              <a:gd name="connsiteY98" fmla="*/ 157166 h 736540"/>
              <a:gd name="connsiteX99" fmla="*/ 107232 w 571586"/>
              <a:gd name="connsiteY99" fmla="*/ 152404 h 736540"/>
              <a:gd name="connsiteX100" fmla="*/ 107232 w 571586"/>
              <a:gd name="connsiteY100" fmla="*/ 135736 h 736540"/>
              <a:gd name="connsiteX101" fmla="*/ 121520 w 571586"/>
              <a:gd name="connsiteY101" fmla="*/ 123829 h 736540"/>
              <a:gd name="connsiteX102" fmla="*/ 126282 w 571586"/>
              <a:gd name="connsiteY102" fmla="*/ 104779 h 736540"/>
              <a:gd name="connsiteX103" fmla="*/ 131045 w 571586"/>
              <a:gd name="connsiteY103" fmla="*/ 85729 h 736540"/>
              <a:gd name="connsiteX104" fmla="*/ 138188 w 571586"/>
              <a:gd name="connsiteY104" fmla="*/ 80966 h 736540"/>
              <a:gd name="connsiteX105" fmla="*/ 147713 w 571586"/>
              <a:gd name="connsiteY105" fmla="*/ 71441 h 736540"/>
              <a:gd name="connsiteX106" fmla="*/ 195338 w 571586"/>
              <a:gd name="connsiteY106" fmla="*/ 83348 h 736540"/>
              <a:gd name="connsiteX107" fmla="*/ 207245 w 571586"/>
              <a:gd name="connsiteY107" fmla="*/ 95254 h 736540"/>
              <a:gd name="connsiteX108" fmla="*/ 221532 w 571586"/>
              <a:gd name="connsiteY108" fmla="*/ 104779 h 736540"/>
              <a:gd name="connsiteX109" fmla="*/ 228676 w 571586"/>
              <a:gd name="connsiteY109" fmla="*/ 109541 h 736540"/>
              <a:gd name="connsiteX110" fmla="*/ 238201 w 571586"/>
              <a:gd name="connsiteY110" fmla="*/ 107160 h 736540"/>
              <a:gd name="connsiteX111" fmla="*/ 245345 w 571586"/>
              <a:gd name="connsiteY111" fmla="*/ 102398 h 736540"/>
              <a:gd name="connsiteX112" fmla="*/ 262013 w 571586"/>
              <a:gd name="connsiteY112" fmla="*/ 88110 h 736540"/>
              <a:gd name="connsiteX113" fmla="*/ 266776 w 571586"/>
              <a:gd name="connsiteY113" fmla="*/ 80966 h 736540"/>
              <a:gd name="connsiteX114" fmla="*/ 269157 w 571586"/>
              <a:gd name="connsiteY114" fmla="*/ 73823 h 736540"/>
              <a:gd name="connsiteX115" fmla="*/ 252488 w 571586"/>
              <a:gd name="connsiteY115" fmla="*/ 52391 h 736540"/>
              <a:gd name="connsiteX116" fmla="*/ 264395 w 571586"/>
              <a:gd name="connsiteY116" fmla="*/ 30960 h 736540"/>
              <a:gd name="connsiteX117" fmla="*/ 273920 w 571586"/>
              <a:gd name="connsiteY117" fmla="*/ 2385 h 736540"/>
              <a:gd name="connsiteX118" fmla="*/ 281063 w 571586"/>
              <a:gd name="connsiteY118" fmla="*/ 4 h 736540"/>
              <a:gd name="connsiteX119" fmla="*/ 297732 w 571586"/>
              <a:gd name="connsiteY119" fmla="*/ 4766 h 736540"/>
              <a:gd name="connsiteX120" fmla="*/ 309638 w 571586"/>
              <a:gd name="connsiteY120" fmla="*/ 14291 h 736540"/>
              <a:gd name="connsiteX121" fmla="*/ 307257 w 571586"/>
              <a:gd name="connsiteY121" fmla="*/ 38104 h 736540"/>
              <a:gd name="connsiteX122" fmla="*/ 316782 w 571586"/>
              <a:gd name="connsiteY122" fmla="*/ 50010 h 736540"/>
              <a:gd name="connsiteX123" fmla="*/ 326307 w 571586"/>
              <a:gd name="connsiteY123" fmla="*/ 52391 h 736540"/>
              <a:gd name="connsiteX124" fmla="*/ 333451 w 571586"/>
              <a:gd name="connsiteY124" fmla="*/ 54773 h 736540"/>
              <a:gd name="connsiteX125" fmla="*/ 350120 w 571586"/>
              <a:gd name="connsiteY125" fmla="*/ 71441 h 736540"/>
              <a:gd name="connsiteX126" fmla="*/ 392982 w 571586"/>
              <a:gd name="connsiteY126" fmla="*/ 69060 h 736540"/>
              <a:gd name="connsiteX127" fmla="*/ 409651 w 571586"/>
              <a:gd name="connsiteY127" fmla="*/ 64298 h 736540"/>
              <a:gd name="connsiteX128" fmla="*/ 421557 w 571586"/>
              <a:gd name="connsiteY128" fmla="*/ 2385 h 736540"/>
              <a:gd name="connsiteX129" fmla="*/ 428701 w 571586"/>
              <a:gd name="connsiteY129" fmla="*/ 7148 h 736540"/>
              <a:gd name="connsiteX130" fmla="*/ 452513 w 571586"/>
              <a:gd name="connsiteY130" fmla="*/ 35723 h 736540"/>
              <a:gd name="connsiteX131" fmla="*/ 466801 w 571586"/>
              <a:gd name="connsiteY131" fmla="*/ 42866 h 736540"/>
              <a:gd name="connsiteX132" fmla="*/ 473945 w 571586"/>
              <a:gd name="connsiteY132" fmla="*/ 45248 h 736540"/>
              <a:gd name="connsiteX133" fmla="*/ 488232 w 571586"/>
              <a:gd name="connsiteY133" fmla="*/ 54773 h 736540"/>
              <a:gd name="connsiteX134" fmla="*/ 492995 w 571586"/>
              <a:gd name="connsiteY134" fmla="*/ 61916 h 736540"/>
              <a:gd name="connsiteX135" fmla="*/ 500138 w 571586"/>
              <a:gd name="connsiteY135" fmla="*/ 66679 h 736540"/>
              <a:gd name="connsiteX136" fmla="*/ 502520 w 571586"/>
              <a:gd name="connsiteY136" fmla="*/ 73823 h 736540"/>
              <a:gd name="connsiteX137" fmla="*/ 512045 w 571586"/>
              <a:gd name="connsiteY137" fmla="*/ 88110 h 736540"/>
              <a:gd name="connsiteX138" fmla="*/ 516807 w 571586"/>
              <a:gd name="connsiteY138" fmla="*/ 95254 h 736540"/>
              <a:gd name="connsiteX139" fmla="*/ 519188 w 571586"/>
              <a:gd name="connsiteY139" fmla="*/ 102398 h 736540"/>
              <a:gd name="connsiteX140" fmla="*/ 526332 w 571586"/>
              <a:gd name="connsiteY140" fmla="*/ 109541 h 736540"/>
              <a:gd name="connsiteX141" fmla="*/ 531095 w 571586"/>
              <a:gd name="connsiteY141" fmla="*/ 116685 h 736540"/>
              <a:gd name="connsiteX142" fmla="*/ 545382 w 571586"/>
              <a:gd name="connsiteY142" fmla="*/ 123829 h 736540"/>
              <a:gd name="connsiteX143" fmla="*/ 552526 w 571586"/>
              <a:gd name="connsiteY143" fmla="*/ 128591 h 736540"/>
              <a:gd name="connsiteX144" fmla="*/ 559670 w 571586"/>
              <a:gd name="connsiteY144" fmla="*/ 178598 h 736540"/>
              <a:gd name="connsiteX145" fmla="*/ 571576 w 571586"/>
              <a:gd name="connsiteY145" fmla="*/ 188123 h 736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571586" h="736540">
                <a:moveTo>
                  <a:pt x="571576" y="188123"/>
                </a:moveTo>
                <a:cubicBezTo>
                  <a:pt x="571179" y="192488"/>
                  <a:pt x="566062" y="188999"/>
                  <a:pt x="557288" y="204791"/>
                </a:cubicBezTo>
                <a:cubicBezTo>
                  <a:pt x="554508" y="209795"/>
                  <a:pt x="547763" y="219079"/>
                  <a:pt x="547763" y="219079"/>
                </a:cubicBezTo>
                <a:cubicBezTo>
                  <a:pt x="538656" y="246401"/>
                  <a:pt x="544693" y="224282"/>
                  <a:pt x="540620" y="269085"/>
                </a:cubicBezTo>
                <a:cubicBezTo>
                  <a:pt x="539318" y="283402"/>
                  <a:pt x="540403" y="298310"/>
                  <a:pt x="535857" y="311948"/>
                </a:cubicBezTo>
                <a:cubicBezTo>
                  <a:pt x="535063" y="314329"/>
                  <a:pt x="535564" y="317699"/>
                  <a:pt x="533476" y="319091"/>
                </a:cubicBezTo>
                <a:cubicBezTo>
                  <a:pt x="530108" y="321336"/>
                  <a:pt x="525539" y="320679"/>
                  <a:pt x="521570" y="321473"/>
                </a:cubicBezTo>
                <a:cubicBezTo>
                  <a:pt x="515868" y="338573"/>
                  <a:pt x="522776" y="317246"/>
                  <a:pt x="516807" y="338141"/>
                </a:cubicBezTo>
                <a:cubicBezTo>
                  <a:pt x="516117" y="340555"/>
                  <a:pt x="515818" y="343196"/>
                  <a:pt x="514426" y="345285"/>
                </a:cubicBezTo>
                <a:cubicBezTo>
                  <a:pt x="511792" y="349237"/>
                  <a:pt x="504532" y="354994"/>
                  <a:pt x="500138" y="357191"/>
                </a:cubicBezTo>
                <a:cubicBezTo>
                  <a:pt x="497893" y="358314"/>
                  <a:pt x="495376" y="358779"/>
                  <a:pt x="492995" y="359573"/>
                </a:cubicBezTo>
                <a:cubicBezTo>
                  <a:pt x="487197" y="376965"/>
                  <a:pt x="489449" y="368990"/>
                  <a:pt x="485851" y="383385"/>
                </a:cubicBezTo>
                <a:cubicBezTo>
                  <a:pt x="488232" y="384973"/>
                  <a:pt x="490364" y="387021"/>
                  <a:pt x="492995" y="388148"/>
                </a:cubicBezTo>
                <a:cubicBezTo>
                  <a:pt x="496003" y="389437"/>
                  <a:pt x="499797" y="388714"/>
                  <a:pt x="502520" y="390529"/>
                </a:cubicBezTo>
                <a:cubicBezTo>
                  <a:pt x="504901" y="392117"/>
                  <a:pt x="505695" y="395292"/>
                  <a:pt x="507282" y="397673"/>
                </a:cubicBezTo>
                <a:cubicBezTo>
                  <a:pt x="506488" y="401642"/>
                  <a:pt x="506322" y="405789"/>
                  <a:pt x="504901" y="409579"/>
                </a:cubicBezTo>
                <a:cubicBezTo>
                  <a:pt x="503896" y="412259"/>
                  <a:pt x="501418" y="414163"/>
                  <a:pt x="500138" y="416723"/>
                </a:cubicBezTo>
                <a:cubicBezTo>
                  <a:pt x="499016" y="418968"/>
                  <a:pt x="498551" y="421485"/>
                  <a:pt x="497757" y="423866"/>
                </a:cubicBezTo>
                <a:cubicBezTo>
                  <a:pt x="500932" y="428629"/>
                  <a:pt x="505472" y="432724"/>
                  <a:pt x="507282" y="438154"/>
                </a:cubicBezTo>
                <a:cubicBezTo>
                  <a:pt x="508076" y="440535"/>
                  <a:pt x="511908" y="444176"/>
                  <a:pt x="509663" y="445298"/>
                </a:cubicBezTo>
                <a:cubicBezTo>
                  <a:pt x="506043" y="447108"/>
                  <a:pt x="501726" y="443710"/>
                  <a:pt x="497757" y="442916"/>
                </a:cubicBezTo>
                <a:cubicBezTo>
                  <a:pt x="486437" y="435370"/>
                  <a:pt x="493326" y="439058"/>
                  <a:pt x="476326" y="433391"/>
                </a:cubicBezTo>
                <a:lnTo>
                  <a:pt x="469182" y="431010"/>
                </a:lnTo>
                <a:cubicBezTo>
                  <a:pt x="465213" y="431804"/>
                  <a:pt x="459704" y="430153"/>
                  <a:pt x="457276" y="433391"/>
                </a:cubicBezTo>
                <a:cubicBezTo>
                  <a:pt x="453908" y="437881"/>
                  <a:pt x="455996" y="444556"/>
                  <a:pt x="454895" y="450060"/>
                </a:cubicBezTo>
                <a:cubicBezTo>
                  <a:pt x="453765" y="455710"/>
                  <a:pt x="451446" y="459914"/>
                  <a:pt x="447751" y="464348"/>
                </a:cubicBezTo>
                <a:cubicBezTo>
                  <a:pt x="445595" y="466935"/>
                  <a:pt x="443734" y="470240"/>
                  <a:pt x="440607" y="471491"/>
                </a:cubicBezTo>
                <a:cubicBezTo>
                  <a:pt x="435396" y="473575"/>
                  <a:pt x="429494" y="473079"/>
                  <a:pt x="423938" y="473873"/>
                </a:cubicBezTo>
                <a:cubicBezTo>
                  <a:pt x="411238" y="478106"/>
                  <a:pt x="409993" y="476155"/>
                  <a:pt x="402507" y="485779"/>
                </a:cubicBezTo>
                <a:cubicBezTo>
                  <a:pt x="398993" y="490297"/>
                  <a:pt x="392982" y="500066"/>
                  <a:pt x="392982" y="500066"/>
                </a:cubicBezTo>
                <a:cubicBezTo>
                  <a:pt x="394578" y="509646"/>
                  <a:pt x="393429" y="514801"/>
                  <a:pt x="400126" y="521498"/>
                </a:cubicBezTo>
                <a:cubicBezTo>
                  <a:pt x="402150" y="523522"/>
                  <a:pt x="404889" y="524673"/>
                  <a:pt x="407270" y="526260"/>
                </a:cubicBezTo>
                <a:cubicBezTo>
                  <a:pt x="406252" y="539492"/>
                  <a:pt x="410190" y="554295"/>
                  <a:pt x="400126" y="564360"/>
                </a:cubicBezTo>
                <a:cubicBezTo>
                  <a:pt x="398102" y="566384"/>
                  <a:pt x="395613" y="567996"/>
                  <a:pt x="392982" y="569123"/>
                </a:cubicBezTo>
                <a:cubicBezTo>
                  <a:pt x="389974" y="570412"/>
                  <a:pt x="386632" y="570710"/>
                  <a:pt x="383457" y="571504"/>
                </a:cubicBezTo>
                <a:cubicBezTo>
                  <a:pt x="369816" y="580597"/>
                  <a:pt x="382461" y="571023"/>
                  <a:pt x="369170" y="585791"/>
                </a:cubicBezTo>
                <a:cubicBezTo>
                  <a:pt x="364664" y="590797"/>
                  <a:pt x="359645" y="595316"/>
                  <a:pt x="354882" y="600079"/>
                </a:cubicBezTo>
                <a:lnTo>
                  <a:pt x="345357" y="609604"/>
                </a:lnTo>
                <a:cubicBezTo>
                  <a:pt x="343333" y="611628"/>
                  <a:pt x="342619" y="614724"/>
                  <a:pt x="340595" y="616748"/>
                </a:cubicBezTo>
                <a:cubicBezTo>
                  <a:pt x="335980" y="621363"/>
                  <a:pt x="332116" y="621955"/>
                  <a:pt x="326307" y="623891"/>
                </a:cubicBezTo>
                <a:cubicBezTo>
                  <a:pt x="323926" y="625479"/>
                  <a:pt x="321723" y="627374"/>
                  <a:pt x="319163" y="628654"/>
                </a:cubicBezTo>
                <a:cubicBezTo>
                  <a:pt x="315356" y="630558"/>
                  <a:pt x="306056" y="632398"/>
                  <a:pt x="302495" y="633416"/>
                </a:cubicBezTo>
                <a:cubicBezTo>
                  <a:pt x="300081" y="634106"/>
                  <a:pt x="297765" y="635108"/>
                  <a:pt x="295351" y="635798"/>
                </a:cubicBezTo>
                <a:cubicBezTo>
                  <a:pt x="292204" y="636697"/>
                  <a:pt x="288961" y="637239"/>
                  <a:pt x="285826" y="638179"/>
                </a:cubicBezTo>
                <a:cubicBezTo>
                  <a:pt x="281017" y="639621"/>
                  <a:pt x="276301" y="641354"/>
                  <a:pt x="271538" y="642941"/>
                </a:cubicBezTo>
                <a:cubicBezTo>
                  <a:pt x="268170" y="644063"/>
                  <a:pt x="265276" y="646306"/>
                  <a:pt x="262013" y="647704"/>
                </a:cubicBezTo>
                <a:cubicBezTo>
                  <a:pt x="259706" y="648693"/>
                  <a:pt x="257251" y="649291"/>
                  <a:pt x="254870" y="650085"/>
                </a:cubicBezTo>
                <a:cubicBezTo>
                  <a:pt x="252489" y="651673"/>
                  <a:pt x="249514" y="652613"/>
                  <a:pt x="247726" y="654848"/>
                </a:cubicBezTo>
                <a:cubicBezTo>
                  <a:pt x="246158" y="656808"/>
                  <a:pt x="247120" y="660216"/>
                  <a:pt x="245345" y="661991"/>
                </a:cubicBezTo>
                <a:cubicBezTo>
                  <a:pt x="236114" y="671222"/>
                  <a:pt x="228389" y="672406"/>
                  <a:pt x="216770" y="676279"/>
                </a:cubicBezTo>
                <a:lnTo>
                  <a:pt x="202482" y="681041"/>
                </a:lnTo>
                <a:lnTo>
                  <a:pt x="195338" y="683423"/>
                </a:lnTo>
                <a:cubicBezTo>
                  <a:pt x="185019" y="682629"/>
                  <a:pt x="174731" y="681041"/>
                  <a:pt x="164382" y="681041"/>
                </a:cubicBezTo>
                <a:cubicBezTo>
                  <a:pt x="159554" y="681041"/>
                  <a:pt x="151559" y="678822"/>
                  <a:pt x="150095" y="683423"/>
                </a:cubicBezTo>
                <a:cubicBezTo>
                  <a:pt x="131333" y="742390"/>
                  <a:pt x="171207" y="730819"/>
                  <a:pt x="126282" y="735810"/>
                </a:cubicBezTo>
                <a:cubicBezTo>
                  <a:pt x="94191" y="733922"/>
                  <a:pt x="92431" y="742815"/>
                  <a:pt x="78657" y="726285"/>
                </a:cubicBezTo>
                <a:cubicBezTo>
                  <a:pt x="76825" y="724086"/>
                  <a:pt x="75482" y="721522"/>
                  <a:pt x="73895" y="719141"/>
                </a:cubicBezTo>
                <a:cubicBezTo>
                  <a:pt x="71514" y="719935"/>
                  <a:pt x="68526" y="719748"/>
                  <a:pt x="66751" y="721523"/>
                </a:cubicBezTo>
                <a:cubicBezTo>
                  <a:pt x="59859" y="728415"/>
                  <a:pt x="70769" y="735064"/>
                  <a:pt x="57226" y="721523"/>
                </a:cubicBezTo>
                <a:lnTo>
                  <a:pt x="52463" y="707235"/>
                </a:lnTo>
                <a:lnTo>
                  <a:pt x="50082" y="700091"/>
                </a:lnTo>
                <a:cubicBezTo>
                  <a:pt x="50876" y="693741"/>
                  <a:pt x="50911" y="687249"/>
                  <a:pt x="52463" y="681041"/>
                </a:cubicBezTo>
                <a:cubicBezTo>
                  <a:pt x="53324" y="677597"/>
                  <a:pt x="55828" y="674779"/>
                  <a:pt x="57226" y="671516"/>
                </a:cubicBezTo>
                <a:cubicBezTo>
                  <a:pt x="58215" y="669209"/>
                  <a:pt x="58813" y="666754"/>
                  <a:pt x="59607" y="664373"/>
                </a:cubicBezTo>
                <a:cubicBezTo>
                  <a:pt x="58813" y="661198"/>
                  <a:pt x="59270" y="657404"/>
                  <a:pt x="57226" y="654848"/>
                </a:cubicBezTo>
                <a:cubicBezTo>
                  <a:pt x="55658" y="652888"/>
                  <a:pt x="52552" y="652915"/>
                  <a:pt x="50082" y="652466"/>
                </a:cubicBezTo>
                <a:cubicBezTo>
                  <a:pt x="43786" y="651321"/>
                  <a:pt x="37382" y="650879"/>
                  <a:pt x="31032" y="650085"/>
                </a:cubicBezTo>
                <a:lnTo>
                  <a:pt x="26270" y="635798"/>
                </a:lnTo>
                <a:cubicBezTo>
                  <a:pt x="25235" y="632693"/>
                  <a:pt x="26373" y="628403"/>
                  <a:pt x="23888" y="626273"/>
                </a:cubicBezTo>
                <a:cubicBezTo>
                  <a:pt x="20077" y="623006"/>
                  <a:pt x="9601" y="621510"/>
                  <a:pt x="9601" y="621510"/>
                </a:cubicBezTo>
                <a:cubicBezTo>
                  <a:pt x="4766" y="614257"/>
                  <a:pt x="-4401" y="608652"/>
                  <a:pt x="2457" y="600079"/>
                </a:cubicBezTo>
                <a:cubicBezTo>
                  <a:pt x="4245" y="597844"/>
                  <a:pt x="7041" y="596596"/>
                  <a:pt x="9601" y="595316"/>
                </a:cubicBezTo>
                <a:cubicBezTo>
                  <a:pt x="11846" y="594193"/>
                  <a:pt x="14364" y="593729"/>
                  <a:pt x="16745" y="592935"/>
                </a:cubicBezTo>
                <a:cubicBezTo>
                  <a:pt x="17382" y="592511"/>
                  <a:pt x="28713" y="584052"/>
                  <a:pt x="31032" y="585791"/>
                </a:cubicBezTo>
                <a:cubicBezTo>
                  <a:pt x="33650" y="587754"/>
                  <a:pt x="32514" y="592169"/>
                  <a:pt x="33413" y="595316"/>
                </a:cubicBezTo>
                <a:cubicBezTo>
                  <a:pt x="36119" y="604788"/>
                  <a:pt x="34369" y="601509"/>
                  <a:pt x="42938" y="607223"/>
                </a:cubicBezTo>
                <a:cubicBezTo>
                  <a:pt x="49288" y="606429"/>
                  <a:pt x="55731" y="606182"/>
                  <a:pt x="61988" y="604841"/>
                </a:cubicBezTo>
                <a:cubicBezTo>
                  <a:pt x="72292" y="602633"/>
                  <a:pt x="76985" y="599725"/>
                  <a:pt x="85801" y="595316"/>
                </a:cubicBezTo>
                <a:cubicBezTo>
                  <a:pt x="87388" y="592935"/>
                  <a:pt x="88540" y="590196"/>
                  <a:pt x="90563" y="588173"/>
                </a:cubicBezTo>
                <a:cubicBezTo>
                  <a:pt x="92587" y="586149"/>
                  <a:pt x="95875" y="585609"/>
                  <a:pt x="97707" y="583410"/>
                </a:cubicBezTo>
                <a:cubicBezTo>
                  <a:pt x="100978" y="579485"/>
                  <a:pt x="103196" y="571706"/>
                  <a:pt x="104851" y="566741"/>
                </a:cubicBezTo>
                <a:cubicBezTo>
                  <a:pt x="103263" y="564360"/>
                  <a:pt x="102515" y="561115"/>
                  <a:pt x="100088" y="559598"/>
                </a:cubicBezTo>
                <a:cubicBezTo>
                  <a:pt x="95831" y="556937"/>
                  <a:pt x="89978" y="557619"/>
                  <a:pt x="85801" y="554835"/>
                </a:cubicBezTo>
                <a:lnTo>
                  <a:pt x="78657" y="550073"/>
                </a:lnTo>
                <a:cubicBezTo>
                  <a:pt x="77070" y="547692"/>
                  <a:pt x="75175" y="545489"/>
                  <a:pt x="73895" y="542929"/>
                </a:cubicBezTo>
                <a:cubicBezTo>
                  <a:pt x="68343" y="531826"/>
                  <a:pt x="72670" y="523063"/>
                  <a:pt x="73895" y="509591"/>
                </a:cubicBezTo>
                <a:cubicBezTo>
                  <a:pt x="73101" y="504829"/>
                  <a:pt x="72684" y="499988"/>
                  <a:pt x="71513" y="495304"/>
                </a:cubicBezTo>
                <a:cubicBezTo>
                  <a:pt x="70295" y="490434"/>
                  <a:pt x="66751" y="481016"/>
                  <a:pt x="66751" y="481016"/>
                </a:cubicBezTo>
                <a:cubicBezTo>
                  <a:pt x="69264" y="385510"/>
                  <a:pt x="59590" y="419153"/>
                  <a:pt x="73895" y="376241"/>
                </a:cubicBezTo>
                <a:cubicBezTo>
                  <a:pt x="75553" y="371268"/>
                  <a:pt x="82485" y="365270"/>
                  <a:pt x="85801" y="361954"/>
                </a:cubicBezTo>
                <a:cubicBezTo>
                  <a:pt x="91468" y="344951"/>
                  <a:pt x="87778" y="351843"/>
                  <a:pt x="95326" y="340523"/>
                </a:cubicBezTo>
                <a:cubicBezTo>
                  <a:pt x="96120" y="338142"/>
                  <a:pt x="97017" y="335793"/>
                  <a:pt x="97707" y="333379"/>
                </a:cubicBezTo>
                <a:cubicBezTo>
                  <a:pt x="103192" y="314179"/>
                  <a:pt x="103897" y="299220"/>
                  <a:pt x="97707" y="276229"/>
                </a:cubicBezTo>
                <a:cubicBezTo>
                  <a:pt x="95956" y="269725"/>
                  <a:pt x="83420" y="261941"/>
                  <a:pt x="83420" y="261941"/>
                </a:cubicBezTo>
                <a:cubicBezTo>
                  <a:pt x="78609" y="247515"/>
                  <a:pt x="78564" y="250504"/>
                  <a:pt x="83420" y="226223"/>
                </a:cubicBezTo>
                <a:cubicBezTo>
                  <a:pt x="83981" y="223417"/>
                  <a:pt x="87020" y="221694"/>
                  <a:pt x="88182" y="219079"/>
                </a:cubicBezTo>
                <a:cubicBezTo>
                  <a:pt x="90221" y="214491"/>
                  <a:pt x="92945" y="204791"/>
                  <a:pt x="92945" y="204791"/>
                </a:cubicBezTo>
                <a:cubicBezTo>
                  <a:pt x="96471" y="180110"/>
                  <a:pt x="94225" y="193626"/>
                  <a:pt x="100088" y="164310"/>
                </a:cubicBezTo>
                <a:cubicBezTo>
                  <a:pt x="100649" y="161503"/>
                  <a:pt x="103660" y="159150"/>
                  <a:pt x="104851" y="157166"/>
                </a:cubicBezTo>
                <a:cubicBezTo>
                  <a:pt x="106042" y="155182"/>
                  <a:pt x="104057" y="153198"/>
                  <a:pt x="107232" y="152404"/>
                </a:cubicBezTo>
                <a:cubicBezTo>
                  <a:pt x="111201" y="148435"/>
                  <a:pt x="104851" y="140498"/>
                  <a:pt x="107232" y="135736"/>
                </a:cubicBezTo>
                <a:cubicBezTo>
                  <a:pt x="109613" y="130974"/>
                  <a:pt x="118345" y="128989"/>
                  <a:pt x="121520" y="123829"/>
                </a:cubicBezTo>
                <a:cubicBezTo>
                  <a:pt x="124695" y="118670"/>
                  <a:pt x="124695" y="111129"/>
                  <a:pt x="126282" y="104779"/>
                </a:cubicBezTo>
                <a:lnTo>
                  <a:pt x="131045" y="85729"/>
                </a:lnTo>
                <a:cubicBezTo>
                  <a:pt x="131739" y="82953"/>
                  <a:pt x="135410" y="83347"/>
                  <a:pt x="138188" y="80966"/>
                </a:cubicBezTo>
                <a:cubicBezTo>
                  <a:pt x="140966" y="78585"/>
                  <a:pt x="138188" y="71044"/>
                  <a:pt x="147713" y="71441"/>
                </a:cubicBezTo>
                <a:cubicBezTo>
                  <a:pt x="157238" y="71838"/>
                  <a:pt x="185416" y="79379"/>
                  <a:pt x="195338" y="83348"/>
                </a:cubicBezTo>
                <a:cubicBezTo>
                  <a:pt x="205260" y="87317"/>
                  <a:pt x="202626" y="91213"/>
                  <a:pt x="207245" y="95254"/>
                </a:cubicBezTo>
                <a:cubicBezTo>
                  <a:pt x="211552" y="99023"/>
                  <a:pt x="216770" y="101604"/>
                  <a:pt x="221532" y="104779"/>
                </a:cubicBezTo>
                <a:lnTo>
                  <a:pt x="228676" y="109541"/>
                </a:lnTo>
                <a:cubicBezTo>
                  <a:pt x="231851" y="108747"/>
                  <a:pt x="235193" y="108449"/>
                  <a:pt x="238201" y="107160"/>
                </a:cubicBezTo>
                <a:cubicBezTo>
                  <a:pt x="240832" y="106033"/>
                  <a:pt x="243016" y="104061"/>
                  <a:pt x="245345" y="102398"/>
                </a:cubicBezTo>
                <a:cubicBezTo>
                  <a:pt x="251839" y="97760"/>
                  <a:pt x="256922" y="94220"/>
                  <a:pt x="262013" y="88110"/>
                </a:cubicBezTo>
                <a:cubicBezTo>
                  <a:pt x="263845" y="85911"/>
                  <a:pt x="265188" y="83347"/>
                  <a:pt x="266776" y="80966"/>
                </a:cubicBezTo>
                <a:cubicBezTo>
                  <a:pt x="267570" y="78585"/>
                  <a:pt x="271538" y="78585"/>
                  <a:pt x="269157" y="73823"/>
                </a:cubicBezTo>
                <a:cubicBezTo>
                  <a:pt x="266776" y="69061"/>
                  <a:pt x="253282" y="59535"/>
                  <a:pt x="252488" y="52391"/>
                </a:cubicBezTo>
                <a:cubicBezTo>
                  <a:pt x="251694" y="45247"/>
                  <a:pt x="263601" y="38501"/>
                  <a:pt x="264395" y="30960"/>
                </a:cubicBezTo>
                <a:cubicBezTo>
                  <a:pt x="266387" y="11039"/>
                  <a:pt x="260381" y="9155"/>
                  <a:pt x="273920" y="2385"/>
                </a:cubicBezTo>
                <a:cubicBezTo>
                  <a:pt x="276165" y="1263"/>
                  <a:pt x="278682" y="798"/>
                  <a:pt x="281063" y="4"/>
                </a:cubicBezTo>
                <a:cubicBezTo>
                  <a:pt x="281685" y="159"/>
                  <a:pt x="296179" y="3524"/>
                  <a:pt x="297732" y="4766"/>
                </a:cubicBezTo>
                <a:cubicBezTo>
                  <a:pt x="313120" y="17076"/>
                  <a:pt x="291683" y="8306"/>
                  <a:pt x="309638" y="14291"/>
                </a:cubicBezTo>
                <a:cubicBezTo>
                  <a:pt x="308844" y="22229"/>
                  <a:pt x="307257" y="30127"/>
                  <a:pt x="307257" y="38104"/>
                </a:cubicBezTo>
                <a:cubicBezTo>
                  <a:pt x="307257" y="44627"/>
                  <a:pt x="311296" y="47659"/>
                  <a:pt x="316782" y="50010"/>
                </a:cubicBezTo>
                <a:cubicBezTo>
                  <a:pt x="319790" y="51299"/>
                  <a:pt x="323160" y="51492"/>
                  <a:pt x="326307" y="52391"/>
                </a:cubicBezTo>
                <a:cubicBezTo>
                  <a:pt x="328721" y="53081"/>
                  <a:pt x="331070" y="53979"/>
                  <a:pt x="333451" y="54773"/>
                </a:cubicBezTo>
                <a:cubicBezTo>
                  <a:pt x="344368" y="71149"/>
                  <a:pt x="337546" y="67250"/>
                  <a:pt x="350120" y="71441"/>
                </a:cubicBezTo>
                <a:cubicBezTo>
                  <a:pt x="364407" y="70647"/>
                  <a:pt x="378731" y="70355"/>
                  <a:pt x="392982" y="69060"/>
                </a:cubicBezTo>
                <a:cubicBezTo>
                  <a:pt x="397093" y="68686"/>
                  <a:pt x="405422" y="65707"/>
                  <a:pt x="409651" y="64298"/>
                </a:cubicBezTo>
                <a:cubicBezTo>
                  <a:pt x="410859" y="31678"/>
                  <a:pt x="391424" y="-10530"/>
                  <a:pt x="421557" y="2385"/>
                </a:cubicBezTo>
                <a:cubicBezTo>
                  <a:pt x="424188" y="3512"/>
                  <a:pt x="426320" y="5560"/>
                  <a:pt x="428701" y="7148"/>
                </a:cubicBezTo>
                <a:cubicBezTo>
                  <a:pt x="433057" y="13682"/>
                  <a:pt x="444657" y="33105"/>
                  <a:pt x="452513" y="35723"/>
                </a:cubicBezTo>
                <a:cubicBezTo>
                  <a:pt x="470463" y="41706"/>
                  <a:pt x="448343" y="33637"/>
                  <a:pt x="466801" y="42866"/>
                </a:cubicBezTo>
                <a:cubicBezTo>
                  <a:pt x="469046" y="43989"/>
                  <a:pt x="471751" y="44029"/>
                  <a:pt x="473945" y="45248"/>
                </a:cubicBezTo>
                <a:cubicBezTo>
                  <a:pt x="478948" y="48028"/>
                  <a:pt x="488232" y="54773"/>
                  <a:pt x="488232" y="54773"/>
                </a:cubicBezTo>
                <a:cubicBezTo>
                  <a:pt x="489820" y="57154"/>
                  <a:pt x="490971" y="59892"/>
                  <a:pt x="492995" y="61916"/>
                </a:cubicBezTo>
                <a:cubicBezTo>
                  <a:pt x="495019" y="63940"/>
                  <a:pt x="498350" y="64444"/>
                  <a:pt x="500138" y="66679"/>
                </a:cubicBezTo>
                <a:cubicBezTo>
                  <a:pt x="501706" y="68639"/>
                  <a:pt x="501301" y="71629"/>
                  <a:pt x="502520" y="73823"/>
                </a:cubicBezTo>
                <a:cubicBezTo>
                  <a:pt x="505300" y="78826"/>
                  <a:pt x="508870" y="83348"/>
                  <a:pt x="512045" y="88110"/>
                </a:cubicBezTo>
                <a:lnTo>
                  <a:pt x="516807" y="95254"/>
                </a:lnTo>
                <a:cubicBezTo>
                  <a:pt x="518199" y="97343"/>
                  <a:pt x="517796" y="100309"/>
                  <a:pt x="519188" y="102398"/>
                </a:cubicBezTo>
                <a:cubicBezTo>
                  <a:pt x="521056" y="105200"/>
                  <a:pt x="524176" y="106954"/>
                  <a:pt x="526332" y="109541"/>
                </a:cubicBezTo>
                <a:cubicBezTo>
                  <a:pt x="528164" y="111740"/>
                  <a:pt x="529071" y="114661"/>
                  <a:pt x="531095" y="116685"/>
                </a:cubicBezTo>
                <a:cubicBezTo>
                  <a:pt x="537920" y="123511"/>
                  <a:pt x="537634" y="119955"/>
                  <a:pt x="545382" y="123829"/>
                </a:cubicBezTo>
                <a:cubicBezTo>
                  <a:pt x="547942" y="125109"/>
                  <a:pt x="550145" y="127004"/>
                  <a:pt x="552526" y="128591"/>
                </a:cubicBezTo>
                <a:cubicBezTo>
                  <a:pt x="555241" y="169319"/>
                  <a:pt x="551133" y="152990"/>
                  <a:pt x="559670" y="178598"/>
                </a:cubicBezTo>
                <a:cubicBezTo>
                  <a:pt x="561480" y="184028"/>
                  <a:pt x="571973" y="183758"/>
                  <a:pt x="571576" y="188123"/>
                </a:cubicBezTo>
                <a:close/>
              </a:path>
            </a:pathLst>
          </a:custGeom>
          <a:solidFill>
            <a:srgbClr val="FDECDF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 dirty="0">
              <a:solidFill>
                <a:srgbClr val="182F41"/>
              </a:solidFill>
            </a:endParaRPr>
          </a:p>
        </p:txBody>
      </p:sp>
      <p:sp>
        <p:nvSpPr>
          <p:cNvPr id="11" name="Forme libre 116">
            <a:extLst>
              <a:ext uri="{FF2B5EF4-FFF2-40B4-BE49-F238E27FC236}">
                <a16:creationId xmlns:a16="http://schemas.microsoft.com/office/drawing/2014/main" id="{9AB746BD-3284-4BD8-92FF-09FBC1256768}"/>
              </a:ext>
            </a:extLst>
          </p:cNvPr>
          <p:cNvSpPr/>
          <p:nvPr/>
        </p:nvSpPr>
        <p:spPr>
          <a:xfrm>
            <a:off x="2692400" y="2007403"/>
            <a:ext cx="603250" cy="547118"/>
          </a:xfrm>
          <a:custGeom>
            <a:avLst/>
            <a:gdLst>
              <a:gd name="connsiteX0" fmla="*/ 597694 w 610110"/>
              <a:gd name="connsiteY0" fmla="*/ 211931 h 521494"/>
              <a:gd name="connsiteX1" fmla="*/ 592932 w 610110"/>
              <a:gd name="connsiteY1" fmla="*/ 200025 h 521494"/>
              <a:gd name="connsiteX2" fmla="*/ 595313 w 610110"/>
              <a:gd name="connsiteY2" fmla="*/ 166688 h 521494"/>
              <a:gd name="connsiteX3" fmla="*/ 590550 w 610110"/>
              <a:gd name="connsiteY3" fmla="*/ 135731 h 521494"/>
              <a:gd name="connsiteX4" fmla="*/ 592932 w 610110"/>
              <a:gd name="connsiteY4" fmla="*/ 126206 h 521494"/>
              <a:gd name="connsiteX5" fmla="*/ 607219 w 610110"/>
              <a:gd name="connsiteY5" fmla="*/ 111919 h 521494"/>
              <a:gd name="connsiteX6" fmla="*/ 609600 w 610110"/>
              <a:gd name="connsiteY6" fmla="*/ 104775 h 521494"/>
              <a:gd name="connsiteX7" fmla="*/ 595313 w 610110"/>
              <a:gd name="connsiteY7" fmla="*/ 100013 h 521494"/>
              <a:gd name="connsiteX8" fmla="*/ 588169 w 610110"/>
              <a:gd name="connsiteY8" fmla="*/ 97631 h 521494"/>
              <a:gd name="connsiteX9" fmla="*/ 583407 w 610110"/>
              <a:gd name="connsiteY9" fmla="*/ 90488 h 521494"/>
              <a:gd name="connsiteX10" fmla="*/ 569119 w 610110"/>
              <a:gd name="connsiteY10" fmla="*/ 83344 h 521494"/>
              <a:gd name="connsiteX11" fmla="*/ 542925 w 610110"/>
              <a:gd name="connsiteY11" fmla="*/ 83344 h 521494"/>
              <a:gd name="connsiteX12" fmla="*/ 540544 w 610110"/>
              <a:gd name="connsiteY12" fmla="*/ 69056 h 521494"/>
              <a:gd name="connsiteX13" fmla="*/ 538163 w 610110"/>
              <a:gd name="connsiteY13" fmla="*/ 42863 h 521494"/>
              <a:gd name="connsiteX14" fmla="*/ 528638 w 610110"/>
              <a:gd name="connsiteY14" fmla="*/ 21431 h 521494"/>
              <a:gd name="connsiteX15" fmla="*/ 526257 w 610110"/>
              <a:gd name="connsiteY15" fmla="*/ 14288 h 521494"/>
              <a:gd name="connsiteX16" fmla="*/ 521494 w 610110"/>
              <a:gd name="connsiteY16" fmla="*/ 7144 h 521494"/>
              <a:gd name="connsiteX17" fmla="*/ 507207 w 610110"/>
              <a:gd name="connsiteY17" fmla="*/ 0 h 521494"/>
              <a:gd name="connsiteX18" fmla="*/ 495300 w 610110"/>
              <a:gd name="connsiteY18" fmla="*/ 2381 h 521494"/>
              <a:gd name="connsiteX19" fmla="*/ 481013 w 610110"/>
              <a:gd name="connsiteY19" fmla="*/ 14288 h 521494"/>
              <a:gd name="connsiteX20" fmla="*/ 466725 w 610110"/>
              <a:gd name="connsiteY20" fmla="*/ 21431 h 521494"/>
              <a:gd name="connsiteX21" fmla="*/ 442913 w 610110"/>
              <a:gd name="connsiteY21" fmla="*/ 45244 h 521494"/>
              <a:gd name="connsiteX22" fmla="*/ 428625 w 610110"/>
              <a:gd name="connsiteY22" fmla="*/ 52388 h 521494"/>
              <a:gd name="connsiteX23" fmla="*/ 414338 w 610110"/>
              <a:gd name="connsiteY23" fmla="*/ 61913 h 521494"/>
              <a:gd name="connsiteX24" fmla="*/ 407194 w 610110"/>
              <a:gd name="connsiteY24" fmla="*/ 66675 h 521494"/>
              <a:gd name="connsiteX25" fmla="*/ 390525 w 610110"/>
              <a:gd name="connsiteY25" fmla="*/ 71438 h 521494"/>
              <a:gd name="connsiteX26" fmla="*/ 357188 w 610110"/>
              <a:gd name="connsiteY26" fmla="*/ 73819 h 521494"/>
              <a:gd name="connsiteX27" fmla="*/ 342900 w 610110"/>
              <a:gd name="connsiteY27" fmla="*/ 85725 h 521494"/>
              <a:gd name="connsiteX28" fmla="*/ 335757 w 610110"/>
              <a:gd name="connsiteY28" fmla="*/ 88106 h 521494"/>
              <a:gd name="connsiteX29" fmla="*/ 328613 w 610110"/>
              <a:gd name="connsiteY29" fmla="*/ 95250 h 521494"/>
              <a:gd name="connsiteX30" fmla="*/ 314325 w 610110"/>
              <a:gd name="connsiteY30" fmla="*/ 100013 h 521494"/>
              <a:gd name="connsiteX31" fmla="*/ 304800 w 610110"/>
              <a:gd name="connsiteY31" fmla="*/ 104775 h 521494"/>
              <a:gd name="connsiteX32" fmla="*/ 297657 w 610110"/>
              <a:gd name="connsiteY32" fmla="*/ 107156 h 521494"/>
              <a:gd name="connsiteX33" fmla="*/ 283369 w 610110"/>
              <a:gd name="connsiteY33" fmla="*/ 114300 h 521494"/>
              <a:gd name="connsiteX34" fmla="*/ 273844 w 610110"/>
              <a:gd name="connsiteY34" fmla="*/ 119063 h 521494"/>
              <a:gd name="connsiteX35" fmla="*/ 266700 w 610110"/>
              <a:gd name="connsiteY35" fmla="*/ 123825 h 521494"/>
              <a:gd name="connsiteX36" fmla="*/ 257175 w 610110"/>
              <a:gd name="connsiteY36" fmla="*/ 126206 h 521494"/>
              <a:gd name="connsiteX37" fmla="*/ 240507 w 610110"/>
              <a:gd name="connsiteY37" fmla="*/ 135731 h 521494"/>
              <a:gd name="connsiteX38" fmla="*/ 226219 w 610110"/>
              <a:gd name="connsiteY38" fmla="*/ 145256 h 521494"/>
              <a:gd name="connsiteX39" fmla="*/ 219075 w 610110"/>
              <a:gd name="connsiteY39" fmla="*/ 150019 h 521494"/>
              <a:gd name="connsiteX40" fmla="*/ 204788 w 610110"/>
              <a:gd name="connsiteY40" fmla="*/ 154781 h 521494"/>
              <a:gd name="connsiteX41" fmla="*/ 190500 w 610110"/>
              <a:gd name="connsiteY41" fmla="*/ 166688 h 521494"/>
              <a:gd name="connsiteX42" fmla="*/ 178594 w 610110"/>
              <a:gd name="connsiteY42" fmla="*/ 178594 h 521494"/>
              <a:gd name="connsiteX43" fmla="*/ 173832 w 610110"/>
              <a:gd name="connsiteY43" fmla="*/ 185738 h 521494"/>
              <a:gd name="connsiteX44" fmla="*/ 159544 w 610110"/>
              <a:gd name="connsiteY44" fmla="*/ 192881 h 521494"/>
              <a:gd name="connsiteX45" fmla="*/ 142875 w 610110"/>
              <a:gd name="connsiteY45" fmla="*/ 183356 h 521494"/>
              <a:gd name="connsiteX46" fmla="*/ 135732 w 610110"/>
              <a:gd name="connsiteY46" fmla="*/ 180975 h 521494"/>
              <a:gd name="connsiteX47" fmla="*/ 123825 w 610110"/>
              <a:gd name="connsiteY47" fmla="*/ 202406 h 521494"/>
              <a:gd name="connsiteX48" fmla="*/ 119063 w 610110"/>
              <a:gd name="connsiteY48" fmla="*/ 209550 h 521494"/>
              <a:gd name="connsiteX49" fmla="*/ 104775 w 610110"/>
              <a:gd name="connsiteY49" fmla="*/ 223838 h 521494"/>
              <a:gd name="connsiteX50" fmla="*/ 97632 w 610110"/>
              <a:gd name="connsiteY50" fmla="*/ 230981 h 521494"/>
              <a:gd name="connsiteX51" fmla="*/ 90488 w 610110"/>
              <a:gd name="connsiteY51" fmla="*/ 240506 h 521494"/>
              <a:gd name="connsiteX52" fmla="*/ 78582 w 610110"/>
              <a:gd name="connsiteY52" fmla="*/ 276225 h 521494"/>
              <a:gd name="connsiteX53" fmla="*/ 69057 w 610110"/>
              <a:gd name="connsiteY53" fmla="*/ 290513 h 521494"/>
              <a:gd name="connsiteX54" fmla="*/ 64294 w 610110"/>
              <a:gd name="connsiteY54" fmla="*/ 297656 h 521494"/>
              <a:gd name="connsiteX55" fmla="*/ 54769 w 610110"/>
              <a:gd name="connsiteY55" fmla="*/ 309563 h 521494"/>
              <a:gd name="connsiteX56" fmla="*/ 33338 w 610110"/>
              <a:gd name="connsiteY56" fmla="*/ 326231 h 521494"/>
              <a:gd name="connsiteX57" fmla="*/ 26194 w 610110"/>
              <a:gd name="connsiteY57" fmla="*/ 330994 h 521494"/>
              <a:gd name="connsiteX58" fmla="*/ 19050 w 610110"/>
              <a:gd name="connsiteY58" fmla="*/ 333375 h 521494"/>
              <a:gd name="connsiteX59" fmla="*/ 4763 w 610110"/>
              <a:gd name="connsiteY59" fmla="*/ 357188 h 521494"/>
              <a:gd name="connsiteX60" fmla="*/ 0 w 610110"/>
              <a:gd name="connsiteY60" fmla="*/ 364331 h 521494"/>
              <a:gd name="connsiteX61" fmla="*/ 2382 w 610110"/>
              <a:gd name="connsiteY61" fmla="*/ 376238 h 521494"/>
              <a:gd name="connsiteX62" fmla="*/ 7144 w 610110"/>
              <a:gd name="connsiteY62" fmla="*/ 383381 h 521494"/>
              <a:gd name="connsiteX63" fmla="*/ 11907 w 610110"/>
              <a:gd name="connsiteY63" fmla="*/ 400050 h 521494"/>
              <a:gd name="connsiteX64" fmla="*/ 9525 w 610110"/>
              <a:gd name="connsiteY64" fmla="*/ 426244 h 521494"/>
              <a:gd name="connsiteX65" fmla="*/ 19050 w 610110"/>
              <a:gd name="connsiteY65" fmla="*/ 431006 h 521494"/>
              <a:gd name="connsiteX66" fmla="*/ 23813 w 610110"/>
              <a:gd name="connsiteY66" fmla="*/ 438150 h 521494"/>
              <a:gd name="connsiteX67" fmla="*/ 38100 w 610110"/>
              <a:gd name="connsiteY67" fmla="*/ 445294 h 521494"/>
              <a:gd name="connsiteX68" fmla="*/ 45244 w 610110"/>
              <a:gd name="connsiteY68" fmla="*/ 452438 h 521494"/>
              <a:gd name="connsiteX69" fmla="*/ 85725 w 610110"/>
              <a:gd name="connsiteY69" fmla="*/ 447675 h 521494"/>
              <a:gd name="connsiteX70" fmla="*/ 102394 w 610110"/>
              <a:gd name="connsiteY70" fmla="*/ 452438 h 521494"/>
              <a:gd name="connsiteX71" fmla="*/ 107157 w 610110"/>
              <a:gd name="connsiteY71" fmla="*/ 459581 h 521494"/>
              <a:gd name="connsiteX72" fmla="*/ 114300 w 610110"/>
              <a:gd name="connsiteY72" fmla="*/ 507206 h 521494"/>
              <a:gd name="connsiteX73" fmla="*/ 128588 w 610110"/>
              <a:gd name="connsiteY73" fmla="*/ 516731 h 521494"/>
              <a:gd name="connsiteX74" fmla="*/ 142875 w 610110"/>
              <a:gd name="connsiteY74" fmla="*/ 521494 h 521494"/>
              <a:gd name="connsiteX75" fmla="*/ 166688 w 610110"/>
              <a:gd name="connsiteY75" fmla="*/ 516731 h 521494"/>
              <a:gd name="connsiteX76" fmla="*/ 180975 w 610110"/>
              <a:gd name="connsiteY76" fmla="*/ 507206 h 521494"/>
              <a:gd name="connsiteX77" fmla="*/ 188119 w 610110"/>
              <a:gd name="connsiteY77" fmla="*/ 502444 h 521494"/>
              <a:gd name="connsiteX78" fmla="*/ 190500 w 610110"/>
              <a:gd name="connsiteY78" fmla="*/ 495300 h 521494"/>
              <a:gd name="connsiteX79" fmla="*/ 195263 w 610110"/>
              <a:gd name="connsiteY79" fmla="*/ 488156 h 521494"/>
              <a:gd name="connsiteX80" fmla="*/ 209550 w 610110"/>
              <a:gd name="connsiteY80" fmla="*/ 481013 h 521494"/>
              <a:gd name="connsiteX81" fmla="*/ 216694 w 610110"/>
              <a:gd name="connsiteY81" fmla="*/ 476250 h 521494"/>
              <a:gd name="connsiteX82" fmla="*/ 223838 w 610110"/>
              <a:gd name="connsiteY82" fmla="*/ 473869 h 521494"/>
              <a:gd name="connsiteX83" fmla="*/ 238125 w 610110"/>
              <a:gd name="connsiteY83" fmla="*/ 464344 h 521494"/>
              <a:gd name="connsiteX84" fmla="*/ 245269 w 610110"/>
              <a:gd name="connsiteY84" fmla="*/ 459581 h 521494"/>
              <a:gd name="connsiteX85" fmla="*/ 257175 w 610110"/>
              <a:gd name="connsiteY85" fmla="*/ 447675 h 521494"/>
              <a:gd name="connsiteX86" fmla="*/ 261938 w 610110"/>
              <a:gd name="connsiteY86" fmla="*/ 440531 h 521494"/>
              <a:gd name="connsiteX87" fmla="*/ 264319 w 610110"/>
              <a:gd name="connsiteY87" fmla="*/ 433388 h 521494"/>
              <a:gd name="connsiteX88" fmla="*/ 257175 w 610110"/>
              <a:gd name="connsiteY88" fmla="*/ 414338 h 521494"/>
              <a:gd name="connsiteX89" fmla="*/ 254794 w 610110"/>
              <a:gd name="connsiteY89" fmla="*/ 407194 h 521494"/>
              <a:gd name="connsiteX90" fmla="*/ 257175 w 610110"/>
              <a:gd name="connsiteY90" fmla="*/ 395288 h 521494"/>
              <a:gd name="connsiteX91" fmla="*/ 266700 w 610110"/>
              <a:gd name="connsiteY91" fmla="*/ 371475 h 521494"/>
              <a:gd name="connsiteX92" fmla="*/ 269082 w 610110"/>
              <a:gd name="connsiteY92" fmla="*/ 354806 h 521494"/>
              <a:gd name="connsiteX93" fmla="*/ 271463 w 610110"/>
              <a:gd name="connsiteY93" fmla="*/ 347663 h 521494"/>
              <a:gd name="connsiteX94" fmla="*/ 280988 w 610110"/>
              <a:gd name="connsiteY94" fmla="*/ 352425 h 521494"/>
              <a:gd name="connsiteX95" fmla="*/ 290513 w 610110"/>
              <a:gd name="connsiteY95" fmla="*/ 381000 h 521494"/>
              <a:gd name="connsiteX96" fmla="*/ 302419 w 610110"/>
              <a:gd name="connsiteY96" fmla="*/ 395288 h 521494"/>
              <a:gd name="connsiteX97" fmla="*/ 307182 w 610110"/>
              <a:gd name="connsiteY97" fmla="*/ 402431 h 521494"/>
              <a:gd name="connsiteX98" fmla="*/ 330994 w 610110"/>
              <a:gd name="connsiteY98" fmla="*/ 411956 h 521494"/>
              <a:gd name="connsiteX99" fmla="*/ 345282 w 610110"/>
              <a:gd name="connsiteY99" fmla="*/ 416719 h 521494"/>
              <a:gd name="connsiteX100" fmla="*/ 359569 w 610110"/>
              <a:gd name="connsiteY100" fmla="*/ 431006 h 521494"/>
              <a:gd name="connsiteX101" fmla="*/ 366713 w 610110"/>
              <a:gd name="connsiteY101" fmla="*/ 438150 h 521494"/>
              <a:gd name="connsiteX102" fmla="*/ 381000 w 610110"/>
              <a:gd name="connsiteY102" fmla="*/ 466725 h 521494"/>
              <a:gd name="connsiteX103" fmla="*/ 385763 w 610110"/>
              <a:gd name="connsiteY103" fmla="*/ 473869 h 521494"/>
              <a:gd name="connsiteX104" fmla="*/ 390525 w 610110"/>
              <a:gd name="connsiteY104" fmla="*/ 481013 h 521494"/>
              <a:gd name="connsiteX105" fmla="*/ 397669 w 610110"/>
              <a:gd name="connsiteY105" fmla="*/ 485775 h 521494"/>
              <a:gd name="connsiteX106" fmla="*/ 419100 w 610110"/>
              <a:gd name="connsiteY106" fmla="*/ 483394 h 521494"/>
              <a:gd name="connsiteX107" fmla="*/ 426244 w 610110"/>
              <a:gd name="connsiteY107" fmla="*/ 481013 h 521494"/>
              <a:gd name="connsiteX108" fmla="*/ 435769 w 610110"/>
              <a:gd name="connsiteY108" fmla="*/ 478631 h 521494"/>
              <a:gd name="connsiteX109" fmla="*/ 452438 w 610110"/>
              <a:gd name="connsiteY109" fmla="*/ 495300 h 521494"/>
              <a:gd name="connsiteX110" fmla="*/ 473869 w 610110"/>
              <a:gd name="connsiteY110" fmla="*/ 507206 h 521494"/>
              <a:gd name="connsiteX111" fmla="*/ 483394 w 610110"/>
              <a:gd name="connsiteY111" fmla="*/ 509588 h 521494"/>
              <a:gd name="connsiteX112" fmla="*/ 495300 w 610110"/>
              <a:gd name="connsiteY112" fmla="*/ 511969 h 521494"/>
              <a:gd name="connsiteX113" fmla="*/ 521494 w 610110"/>
              <a:gd name="connsiteY113" fmla="*/ 509588 h 521494"/>
              <a:gd name="connsiteX114" fmla="*/ 531019 w 610110"/>
              <a:gd name="connsiteY114" fmla="*/ 497681 h 521494"/>
              <a:gd name="connsiteX115" fmla="*/ 535782 w 610110"/>
              <a:gd name="connsiteY115" fmla="*/ 490538 h 521494"/>
              <a:gd name="connsiteX116" fmla="*/ 540544 w 610110"/>
              <a:gd name="connsiteY116" fmla="*/ 476250 h 521494"/>
              <a:gd name="connsiteX117" fmla="*/ 542925 w 610110"/>
              <a:gd name="connsiteY117" fmla="*/ 466725 h 521494"/>
              <a:gd name="connsiteX118" fmla="*/ 547688 w 610110"/>
              <a:gd name="connsiteY118" fmla="*/ 452438 h 521494"/>
              <a:gd name="connsiteX119" fmla="*/ 550069 w 610110"/>
              <a:gd name="connsiteY119" fmla="*/ 445294 h 521494"/>
              <a:gd name="connsiteX120" fmla="*/ 547688 w 610110"/>
              <a:gd name="connsiteY120" fmla="*/ 402431 h 521494"/>
              <a:gd name="connsiteX121" fmla="*/ 542925 w 610110"/>
              <a:gd name="connsiteY121" fmla="*/ 395288 h 521494"/>
              <a:gd name="connsiteX122" fmla="*/ 540544 w 610110"/>
              <a:gd name="connsiteY122" fmla="*/ 385763 h 521494"/>
              <a:gd name="connsiteX123" fmla="*/ 538163 w 610110"/>
              <a:gd name="connsiteY123" fmla="*/ 378619 h 521494"/>
              <a:gd name="connsiteX124" fmla="*/ 540544 w 610110"/>
              <a:gd name="connsiteY124" fmla="*/ 338138 h 521494"/>
              <a:gd name="connsiteX125" fmla="*/ 542925 w 610110"/>
              <a:gd name="connsiteY125" fmla="*/ 330994 h 521494"/>
              <a:gd name="connsiteX126" fmla="*/ 547688 w 610110"/>
              <a:gd name="connsiteY126" fmla="*/ 311944 h 521494"/>
              <a:gd name="connsiteX127" fmla="*/ 550069 w 610110"/>
              <a:gd name="connsiteY127" fmla="*/ 290513 h 521494"/>
              <a:gd name="connsiteX128" fmla="*/ 552450 w 610110"/>
              <a:gd name="connsiteY128" fmla="*/ 283369 h 521494"/>
              <a:gd name="connsiteX129" fmla="*/ 559594 w 610110"/>
              <a:gd name="connsiteY129" fmla="*/ 276225 h 521494"/>
              <a:gd name="connsiteX130" fmla="*/ 564357 w 610110"/>
              <a:gd name="connsiteY130" fmla="*/ 269081 h 521494"/>
              <a:gd name="connsiteX131" fmla="*/ 569119 w 610110"/>
              <a:gd name="connsiteY131" fmla="*/ 252413 h 521494"/>
              <a:gd name="connsiteX132" fmla="*/ 573882 w 610110"/>
              <a:gd name="connsiteY132" fmla="*/ 235744 h 521494"/>
              <a:gd name="connsiteX133" fmla="*/ 581025 w 610110"/>
              <a:gd name="connsiteY133" fmla="*/ 209550 h 521494"/>
              <a:gd name="connsiteX134" fmla="*/ 588169 w 610110"/>
              <a:gd name="connsiteY134" fmla="*/ 204788 h 521494"/>
              <a:gd name="connsiteX135" fmla="*/ 590550 w 610110"/>
              <a:gd name="connsiteY135" fmla="*/ 197644 h 521494"/>
              <a:gd name="connsiteX136" fmla="*/ 597694 w 610110"/>
              <a:gd name="connsiteY136" fmla="*/ 183356 h 521494"/>
              <a:gd name="connsiteX137" fmla="*/ 597694 w 610110"/>
              <a:gd name="connsiteY137" fmla="*/ 150019 h 52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610110" h="521494">
                <a:moveTo>
                  <a:pt x="597694" y="211931"/>
                </a:moveTo>
                <a:cubicBezTo>
                  <a:pt x="596107" y="207962"/>
                  <a:pt x="593157" y="204293"/>
                  <a:pt x="592932" y="200025"/>
                </a:cubicBezTo>
                <a:cubicBezTo>
                  <a:pt x="592347" y="188900"/>
                  <a:pt x="595313" y="177829"/>
                  <a:pt x="595313" y="166688"/>
                </a:cubicBezTo>
                <a:cubicBezTo>
                  <a:pt x="595313" y="148267"/>
                  <a:pt x="594627" y="147960"/>
                  <a:pt x="590550" y="135731"/>
                </a:cubicBezTo>
                <a:cubicBezTo>
                  <a:pt x="591344" y="132556"/>
                  <a:pt x="591055" y="128887"/>
                  <a:pt x="592932" y="126206"/>
                </a:cubicBezTo>
                <a:cubicBezTo>
                  <a:pt x="596794" y="120689"/>
                  <a:pt x="607219" y="111919"/>
                  <a:pt x="607219" y="111919"/>
                </a:cubicBezTo>
                <a:cubicBezTo>
                  <a:pt x="608013" y="109538"/>
                  <a:pt x="611375" y="106550"/>
                  <a:pt x="609600" y="104775"/>
                </a:cubicBezTo>
                <a:cubicBezTo>
                  <a:pt x="606050" y="101225"/>
                  <a:pt x="600075" y="101600"/>
                  <a:pt x="595313" y="100013"/>
                </a:cubicBezTo>
                <a:lnTo>
                  <a:pt x="588169" y="97631"/>
                </a:lnTo>
                <a:cubicBezTo>
                  <a:pt x="586582" y="95250"/>
                  <a:pt x="585430" y="92511"/>
                  <a:pt x="583407" y="90488"/>
                </a:cubicBezTo>
                <a:cubicBezTo>
                  <a:pt x="578790" y="85871"/>
                  <a:pt x="574931" y="85281"/>
                  <a:pt x="569119" y="83344"/>
                </a:cubicBezTo>
                <a:cubicBezTo>
                  <a:pt x="568348" y="83454"/>
                  <a:pt x="546736" y="88680"/>
                  <a:pt x="542925" y="83344"/>
                </a:cubicBezTo>
                <a:cubicBezTo>
                  <a:pt x="540119" y="79415"/>
                  <a:pt x="541108" y="73851"/>
                  <a:pt x="540544" y="69056"/>
                </a:cubicBezTo>
                <a:cubicBezTo>
                  <a:pt x="539520" y="60349"/>
                  <a:pt x="539687" y="51497"/>
                  <a:pt x="538163" y="42863"/>
                </a:cubicBezTo>
                <a:cubicBezTo>
                  <a:pt x="534812" y="23877"/>
                  <a:pt x="534863" y="33883"/>
                  <a:pt x="528638" y="21431"/>
                </a:cubicBezTo>
                <a:cubicBezTo>
                  <a:pt x="527516" y="19186"/>
                  <a:pt x="527379" y="16533"/>
                  <a:pt x="526257" y="14288"/>
                </a:cubicBezTo>
                <a:cubicBezTo>
                  <a:pt x="524977" y="11728"/>
                  <a:pt x="523518" y="9168"/>
                  <a:pt x="521494" y="7144"/>
                </a:cubicBezTo>
                <a:cubicBezTo>
                  <a:pt x="516877" y="2527"/>
                  <a:pt x="513018" y="1937"/>
                  <a:pt x="507207" y="0"/>
                </a:cubicBezTo>
                <a:cubicBezTo>
                  <a:pt x="503238" y="794"/>
                  <a:pt x="499090" y="960"/>
                  <a:pt x="495300" y="2381"/>
                </a:cubicBezTo>
                <a:cubicBezTo>
                  <a:pt x="488853" y="4799"/>
                  <a:pt x="486064" y="10079"/>
                  <a:pt x="481013" y="14288"/>
                </a:cubicBezTo>
                <a:cubicBezTo>
                  <a:pt x="474859" y="19416"/>
                  <a:pt x="473884" y="19045"/>
                  <a:pt x="466725" y="21431"/>
                </a:cubicBezTo>
                <a:cubicBezTo>
                  <a:pt x="447675" y="34131"/>
                  <a:pt x="455613" y="26194"/>
                  <a:pt x="442913" y="45244"/>
                </a:cubicBezTo>
                <a:cubicBezTo>
                  <a:pt x="439184" y="50838"/>
                  <a:pt x="433656" y="49593"/>
                  <a:pt x="428625" y="52388"/>
                </a:cubicBezTo>
                <a:cubicBezTo>
                  <a:pt x="423622" y="55168"/>
                  <a:pt x="419100" y="58738"/>
                  <a:pt x="414338" y="61913"/>
                </a:cubicBezTo>
                <a:cubicBezTo>
                  <a:pt x="411957" y="63500"/>
                  <a:pt x="409909" y="65770"/>
                  <a:pt x="407194" y="66675"/>
                </a:cubicBezTo>
                <a:cubicBezTo>
                  <a:pt x="402683" y="68179"/>
                  <a:pt x="395004" y="70940"/>
                  <a:pt x="390525" y="71438"/>
                </a:cubicBezTo>
                <a:cubicBezTo>
                  <a:pt x="379453" y="72668"/>
                  <a:pt x="368300" y="73025"/>
                  <a:pt x="357188" y="73819"/>
                </a:cubicBezTo>
                <a:cubicBezTo>
                  <a:pt x="351920" y="79087"/>
                  <a:pt x="349532" y="82409"/>
                  <a:pt x="342900" y="85725"/>
                </a:cubicBezTo>
                <a:cubicBezTo>
                  <a:pt x="340655" y="86847"/>
                  <a:pt x="338138" y="87312"/>
                  <a:pt x="335757" y="88106"/>
                </a:cubicBezTo>
                <a:cubicBezTo>
                  <a:pt x="333376" y="90487"/>
                  <a:pt x="331557" y="93614"/>
                  <a:pt x="328613" y="95250"/>
                </a:cubicBezTo>
                <a:cubicBezTo>
                  <a:pt x="324224" y="97688"/>
                  <a:pt x="319088" y="98425"/>
                  <a:pt x="314325" y="100013"/>
                </a:cubicBezTo>
                <a:cubicBezTo>
                  <a:pt x="310957" y="101136"/>
                  <a:pt x="308063" y="103377"/>
                  <a:pt x="304800" y="104775"/>
                </a:cubicBezTo>
                <a:cubicBezTo>
                  <a:pt x="302493" y="105764"/>
                  <a:pt x="300038" y="106362"/>
                  <a:pt x="297657" y="107156"/>
                </a:cubicBezTo>
                <a:cubicBezTo>
                  <a:pt x="283926" y="116311"/>
                  <a:pt x="297174" y="108384"/>
                  <a:pt x="283369" y="114300"/>
                </a:cubicBezTo>
                <a:cubicBezTo>
                  <a:pt x="280106" y="115698"/>
                  <a:pt x="276926" y="117302"/>
                  <a:pt x="273844" y="119063"/>
                </a:cubicBezTo>
                <a:cubicBezTo>
                  <a:pt x="271359" y="120483"/>
                  <a:pt x="269331" y="122698"/>
                  <a:pt x="266700" y="123825"/>
                </a:cubicBezTo>
                <a:cubicBezTo>
                  <a:pt x="263692" y="125114"/>
                  <a:pt x="260350" y="125412"/>
                  <a:pt x="257175" y="126206"/>
                </a:cubicBezTo>
                <a:cubicBezTo>
                  <a:pt x="232500" y="142660"/>
                  <a:pt x="270675" y="117631"/>
                  <a:pt x="240507" y="135731"/>
                </a:cubicBezTo>
                <a:cubicBezTo>
                  <a:pt x="235599" y="138676"/>
                  <a:pt x="230982" y="142081"/>
                  <a:pt x="226219" y="145256"/>
                </a:cubicBezTo>
                <a:lnTo>
                  <a:pt x="219075" y="150019"/>
                </a:lnTo>
                <a:cubicBezTo>
                  <a:pt x="214898" y="152804"/>
                  <a:pt x="204788" y="154781"/>
                  <a:pt x="204788" y="154781"/>
                </a:cubicBezTo>
                <a:cubicBezTo>
                  <a:pt x="197764" y="159464"/>
                  <a:pt x="196230" y="159812"/>
                  <a:pt x="190500" y="166688"/>
                </a:cubicBezTo>
                <a:cubicBezTo>
                  <a:pt x="180578" y="178594"/>
                  <a:pt x="191692" y="169862"/>
                  <a:pt x="178594" y="178594"/>
                </a:cubicBezTo>
                <a:cubicBezTo>
                  <a:pt x="177007" y="180975"/>
                  <a:pt x="175856" y="183714"/>
                  <a:pt x="173832" y="185738"/>
                </a:cubicBezTo>
                <a:cubicBezTo>
                  <a:pt x="169217" y="190353"/>
                  <a:pt x="165353" y="190945"/>
                  <a:pt x="159544" y="192881"/>
                </a:cubicBezTo>
                <a:cubicBezTo>
                  <a:pt x="152371" y="188100"/>
                  <a:pt x="151331" y="186980"/>
                  <a:pt x="142875" y="183356"/>
                </a:cubicBezTo>
                <a:cubicBezTo>
                  <a:pt x="140568" y="182367"/>
                  <a:pt x="138113" y="181769"/>
                  <a:pt x="135732" y="180975"/>
                </a:cubicBezTo>
                <a:cubicBezTo>
                  <a:pt x="131539" y="193550"/>
                  <a:pt x="134743" y="186028"/>
                  <a:pt x="123825" y="202406"/>
                </a:cubicBezTo>
                <a:cubicBezTo>
                  <a:pt x="122238" y="204787"/>
                  <a:pt x="121087" y="207526"/>
                  <a:pt x="119063" y="209550"/>
                </a:cubicBezTo>
                <a:lnTo>
                  <a:pt x="104775" y="223838"/>
                </a:lnTo>
                <a:cubicBezTo>
                  <a:pt x="102394" y="226219"/>
                  <a:pt x="99652" y="228287"/>
                  <a:pt x="97632" y="230981"/>
                </a:cubicBezTo>
                <a:lnTo>
                  <a:pt x="90488" y="240506"/>
                </a:lnTo>
                <a:lnTo>
                  <a:pt x="78582" y="276225"/>
                </a:lnTo>
                <a:cubicBezTo>
                  <a:pt x="76772" y="281655"/>
                  <a:pt x="72232" y="285750"/>
                  <a:pt x="69057" y="290513"/>
                </a:cubicBezTo>
                <a:lnTo>
                  <a:pt x="64294" y="297656"/>
                </a:lnTo>
                <a:cubicBezTo>
                  <a:pt x="60156" y="310072"/>
                  <a:pt x="64973" y="300493"/>
                  <a:pt x="54769" y="309563"/>
                </a:cubicBezTo>
                <a:cubicBezTo>
                  <a:pt x="35495" y="326695"/>
                  <a:pt x="48068" y="321322"/>
                  <a:pt x="33338" y="326231"/>
                </a:cubicBezTo>
                <a:cubicBezTo>
                  <a:pt x="30957" y="327819"/>
                  <a:pt x="28754" y="329714"/>
                  <a:pt x="26194" y="330994"/>
                </a:cubicBezTo>
                <a:cubicBezTo>
                  <a:pt x="23949" y="332117"/>
                  <a:pt x="20825" y="331600"/>
                  <a:pt x="19050" y="333375"/>
                </a:cubicBezTo>
                <a:cubicBezTo>
                  <a:pt x="11280" y="341145"/>
                  <a:pt x="9775" y="348417"/>
                  <a:pt x="4763" y="357188"/>
                </a:cubicBezTo>
                <a:cubicBezTo>
                  <a:pt x="3343" y="359673"/>
                  <a:pt x="1588" y="361950"/>
                  <a:pt x="0" y="364331"/>
                </a:cubicBezTo>
                <a:cubicBezTo>
                  <a:pt x="794" y="368300"/>
                  <a:pt x="961" y="372448"/>
                  <a:pt x="2382" y="376238"/>
                </a:cubicBezTo>
                <a:cubicBezTo>
                  <a:pt x="3387" y="378917"/>
                  <a:pt x="5864" y="380821"/>
                  <a:pt x="7144" y="383381"/>
                </a:cubicBezTo>
                <a:cubicBezTo>
                  <a:pt x="8850" y="386794"/>
                  <a:pt x="11145" y="397003"/>
                  <a:pt x="11907" y="400050"/>
                </a:cubicBezTo>
                <a:cubicBezTo>
                  <a:pt x="5692" y="409372"/>
                  <a:pt x="2098" y="411390"/>
                  <a:pt x="9525" y="426244"/>
                </a:cubicBezTo>
                <a:cubicBezTo>
                  <a:pt x="11112" y="429419"/>
                  <a:pt x="15875" y="429419"/>
                  <a:pt x="19050" y="431006"/>
                </a:cubicBezTo>
                <a:cubicBezTo>
                  <a:pt x="20638" y="433387"/>
                  <a:pt x="21789" y="436126"/>
                  <a:pt x="23813" y="438150"/>
                </a:cubicBezTo>
                <a:cubicBezTo>
                  <a:pt x="28430" y="442767"/>
                  <a:pt x="32289" y="443357"/>
                  <a:pt x="38100" y="445294"/>
                </a:cubicBezTo>
                <a:cubicBezTo>
                  <a:pt x="40481" y="447675"/>
                  <a:pt x="41902" y="452020"/>
                  <a:pt x="45244" y="452438"/>
                </a:cubicBezTo>
                <a:cubicBezTo>
                  <a:pt x="61034" y="454412"/>
                  <a:pt x="71987" y="451109"/>
                  <a:pt x="85725" y="447675"/>
                </a:cubicBezTo>
                <a:cubicBezTo>
                  <a:pt x="86351" y="447832"/>
                  <a:pt x="100839" y="451194"/>
                  <a:pt x="102394" y="452438"/>
                </a:cubicBezTo>
                <a:cubicBezTo>
                  <a:pt x="104629" y="454226"/>
                  <a:pt x="105569" y="457200"/>
                  <a:pt x="107157" y="459581"/>
                </a:cubicBezTo>
                <a:cubicBezTo>
                  <a:pt x="107461" y="464758"/>
                  <a:pt x="102515" y="496895"/>
                  <a:pt x="114300" y="507206"/>
                </a:cubicBezTo>
                <a:cubicBezTo>
                  <a:pt x="118608" y="510975"/>
                  <a:pt x="123158" y="514921"/>
                  <a:pt x="128588" y="516731"/>
                </a:cubicBezTo>
                <a:lnTo>
                  <a:pt x="142875" y="521494"/>
                </a:lnTo>
                <a:cubicBezTo>
                  <a:pt x="147023" y="520902"/>
                  <a:pt x="160931" y="519930"/>
                  <a:pt x="166688" y="516731"/>
                </a:cubicBezTo>
                <a:cubicBezTo>
                  <a:pt x="171691" y="513951"/>
                  <a:pt x="176213" y="510381"/>
                  <a:pt x="180975" y="507206"/>
                </a:cubicBezTo>
                <a:lnTo>
                  <a:pt x="188119" y="502444"/>
                </a:lnTo>
                <a:cubicBezTo>
                  <a:pt x="188913" y="500063"/>
                  <a:pt x="189377" y="497545"/>
                  <a:pt x="190500" y="495300"/>
                </a:cubicBezTo>
                <a:cubicBezTo>
                  <a:pt x="191780" y="492740"/>
                  <a:pt x="193239" y="490180"/>
                  <a:pt x="195263" y="488156"/>
                </a:cubicBezTo>
                <a:cubicBezTo>
                  <a:pt x="199878" y="483541"/>
                  <a:pt x="203741" y="482949"/>
                  <a:pt x="209550" y="481013"/>
                </a:cubicBezTo>
                <a:cubicBezTo>
                  <a:pt x="211931" y="479425"/>
                  <a:pt x="214134" y="477530"/>
                  <a:pt x="216694" y="476250"/>
                </a:cubicBezTo>
                <a:cubicBezTo>
                  <a:pt x="218939" y="475127"/>
                  <a:pt x="221644" y="475088"/>
                  <a:pt x="223838" y="473869"/>
                </a:cubicBezTo>
                <a:cubicBezTo>
                  <a:pt x="228841" y="471089"/>
                  <a:pt x="233363" y="467519"/>
                  <a:pt x="238125" y="464344"/>
                </a:cubicBezTo>
                <a:lnTo>
                  <a:pt x="245269" y="459581"/>
                </a:lnTo>
                <a:cubicBezTo>
                  <a:pt x="257973" y="440529"/>
                  <a:pt x="241298" y="463554"/>
                  <a:pt x="257175" y="447675"/>
                </a:cubicBezTo>
                <a:cubicBezTo>
                  <a:pt x="259199" y="445651"/>
                  <a:pt x="260350" y="442912"/>
                  <a:pt x="261938" y="440531"/>
                </a:cubicBezTo>
                <a:cubicBezTo>
                  <a:pt x="262732" y="438150"/>
                  <a:pt x="264319" y="435898"/>
                  <a:pt x="264319" y="433388"/>
                </a:cubicBezTo>
                <a:cubicBezTo>
                  <a:pt x="264319" y="423087"/>
                  <a:pt x="262103" y="421729"/>
                  <a:pt x="257175" y="414338"/>
                </a:cubicBezTo>
                <a:cubicBezTo>
                  <a:pt x="256381" y="411957"/>
                  <a:pt x="254794" y="409704"/>
                  <a:pt x="254794" y="407194"/>
                </a:cubicBezTo>
                <a:cubicBezTo>
                  <a:pt x="254794" y="403147"/>
                  <a:pt x="256110" y="399193"/>
                  <a:pt x="257175" y="395288"/>
                </a:cubicBezTo>
                <a:cubicBezTo>
                  <a:pt x="260706" y="382343"/>
                  <a:pt x="261358" y="382160"/>
                  <a:pt x="266700" y="371475"/>
                </a:cubicBezTo>
                <a:cubicBezTo>
                  <a:pt x="267494" y="365919"/>
                  <a:pt x="267981" y="360310"/>
                  <a:pt x="269082" y="354806"/>
                </a:cubicBezTo>
                <a:cubicBezTo>
                  <a:pt x="269574" y="352345"/>
                  <a:pt x="269002" y="348155"/>
                  <a:pt x="271463" y="347663"/>
                </a:cubicBezTo>
                <a:cubicBezTo>
                  <a:pt x="274944" y="346967"/>
                  <a:pt x="277813" y="350838"/>
                  <a:pt x="280988" y="352425"/>
                </a:cubicBezTo>
                <a:lnTo>
                  <a:pt x="290513" y="381000"/>
                </a:lnTo>
                <a:cubicBezTo>
                  <a:pt x="292484" y="386913"/>
                  <a:pt x="298734" y="390866"/>
                  <a:pt x="302419" y="395288"/>
                </a:cubicBezTo>
                <a:cubicBezTo>
                  <a:pt x="304251" y="397486"/>
                  <a:pt x="305158" y="400407"/>
                  <a:pt x="307182" y="402431"/>
                </a:cubicBezTo>
                <a:cubicBezTo>
                  <a:pt x="313626" y="408875"/>
                  <a:pt x="322804" y="409499"/>
                  <a:pt x="330994" y="411956"/>
                </a:cubicBezTo>
                <a:cubicBezTo>
                  <a:pt x="335803" y="413399"/>
                  <a:pt x="345282" y="416719"/>
                  <a:pt x="345282" y="416719"/>
                </a:cubicBezTo>
                <a:lnTo>
                  <a:pt x="359569" y="431006"/>
                </a:lnTo>
                <a:lnTo>
                  <a:pt x="366713" y="438150"/>
                </a:lnTo>
                <a:cubicBezTo>
                  <a:pt x="373285" y="457868"/>
                  <a:pt x="368690" y="448261"/>
                  <a:pt x="381000" y="466725"/>
                </a:cubicBezTo>
                <a:lnTo>
                  <a:pt x="385763" y="473869"/>
                </a:lnTo>
                <a:cubicBezTo>
                  <a:pt x="387350" y="476250"/>
                  <a:pt x="388144" y="479426"/>
                  <a:pt x="390525" y="481013"/>
                </a:cubicBezTo>
                <a:lnTo>
                  <a:pt x="397669" y="485775"/>
                </a:lnTo>
                <a:cubicBezTo>
                  <a:pt x="404813" y="484981"/>
                  <a:pt x="412010" y="484576"/>
                  <a:pt x="419100" y="483394"/>
                </a:cubicBezTo>
                <a:cubicBezTo>
                  <a:pt x="421576" y="482981"/>
                  <a:pt x="423830" y="481703"/>
                  <a:pt x="426244" y="481013"/>
                </a:cubicBezTo>
                <a:cubicBezTo>
                  <a:pt x="429391" y="480114"/>
                  <a:pt x="432594" y="479425"/>
                  <a:pt x="435769" y="478631"/>
                </a:cubicBezTo>
                <a:cubicBezTo>
                  <a:pt x="452597" y="481998"/>
                  <a:pt x="446395" y="477173"/>
                  <a:pt x="452438" y="495300"/>
                </a:cubicBezTo>
                <a:cubicBezTo>
                  <a:pt x="454234" y="500688"/>
                  <a:pt x="467689" y="505440"/>
                  <a:pt x="473869" y="507206"/>
                </a:cubicBezTo>
                <a:cubicBezTo>
                  <a:pt x="477016" y="508105"/>
                  <a:pt x="480199" y="508878"/>
                  <a:pt x="483394" y="509588"/>
                </a:cubicBezTo>
                <a:cubicBezTo>
                  <a:pt x="487345" y="510466"/>
                  <a:pt x="491331" y="511175"/>
                  <a:pt x="495300" y="511969"/>
                </a:cubicBezTo>
                <a:cubicBezTo>
                  <a:pt x="504031" y="511175"/>
                  <a:pt x="512921" y="511425"/>
                  <a:pt x="521494" y="509588"/>
                </a:cubicBezTo>
                <a:cubicBezTo>
                  <a:pt x="530487" y="507661"/>
                  <a:pt x="527943" y="503832"/>
                  <a:pt x="531019" y="497681"/>
                </a:cubicBezTo>
                <a:cubicBezTo>
                  <a:pt x="532299" y="495121"/>
                  <a:pt x="534194" y="492919"/>
                  <a:pt x="535782" y="490538"/>
                </a:cubicBezTo>
                <a:cubicBezTo>
                  <a:pt x="537369" y="485775"/>
                  <a:pt x="539327" y="481120"/>
                  <a:pt x="540544" y="476250"/>
                </a:cubicBezTo>
                <a:cubicBezTo>
                  <a:pt x="541338" y="473075"/>
                  <a:pt x="541985" y="469860"/>
                  <a:pt x="542925" y="466725"/>
                </a:cubicBezTo>
                <a:cubicBezTo>
                  <a:pt x="544368" y="461917"/>
                  <a:pt x="546100" y="457200"/>
                  <a:pt x="547688" y="452438"/>
                </a:cubicBezTo>
                <a:lnTo>
                  <a:pt x="550069" y="445294"/>
                </a:lnTo>
                <a:cubicBezTo>
                  <a:pt x="549275" y="431006"/>
                  <a:pt x="549712" y="416597"/>
                  <a:pt x="547688" y="402431"/>
                </a:cubicBezTo>
                <a:cubicBezTo>
                  <a:pt x="547283" y="399598"/>
                  <a:pt x="544052" y="397918"/>
                  <a:pt x="542925" y="395288"/>
                </a:cubicBezTo>
                <a:cubicBezTo>
                  <a:pt x="541636" y="392280"/>
                  <a:pt x="541443" y="388910"/>
                  <a:pt x="540544" y="385763"/>
                </a:cubicBezTo>
                <a:cubicBezTo>
                  <a:pt x="539854" y="383349"/>
                  <a:pt x="538957" y="381000"/>
                  <a:pt x="538163" y="378619"/>
                </a:cubicBezTo>
                <a:cubicBezTo>
                  <a:pt x="538957" y="365125"/>
                  <a:pt x="539199" y="351588"/>
                  <a:pt x="540544" y="338138"/>
                </a:cubicBezTo>
                <a:cubicBezTo>
                  <a:pt x="540794" y="335640"/>
                  <a:pt x="542265" y="333416"/>
                  <a:pt x="542925" y="330994"/>
                </a:cubicBezTo>
                <a:cubicBezTo>
                  <a:pt x="544647" y="324679"/>
                  <a:pt x="547688" y="311944"/>
                  <a:pt x="547688" y="311944"/>
                </a:cubicBezTo>
                <a:cubicBezTo>
                  <a:pt x="548482" y="304800"/>
                  <a:pt x="548887" y="297603"/>
                  <a:pt x="550069" y="290513"/>
                </a:cubicBezTo>
                <a:cubicBezTo>
                  <a:pt x="550482" y="288037"/>
                  <a:pt x="551058" y="285458"/>
                  <a:pt x="552450" y="283369"/>
                </a:cubicBezTo>
                <a:cubicBezTo>
                  <a:pt x="554318" y="280567"/>
                  <a:pt x="557438" y="278812"/>
                  <a:pt x="559594" y="276225"/>
                </a:cubicBezTo>
                <a:cubicBezTo>
                  <a:pt x="561426" y="274026"/>
                  <a:pt x="562769" y="271462"/>
                  <a:pt x="564357" y="269081"/>
                </a:cubicBezTo>
                <a:cubicBezTo>
                  <a:pt x="570064" y="251961"/>
                  <a:pt x="563142" y="273334"/>
                  <a:pt x="569119" y="252413"/>
                </a:cubicBezTo>
                <a:cubicBezTo>
                  <a:pt x="573095" y="238497"/>
                  <a:pt x="570161" y="252486"/>
                  <a:pt x="573882" y="235744"/>
                </a:cubicBezTo>
                <a:cubicBezTo>
                  <a:pt x="578372" y="215541"/>
                  <a:pt x="573588" y="231863"/>
                  <a:pt x="581025" y="209550"/>
                </a:cubicBezTo>
                <a:cubicBezTo>
                  <a:pt x="581930" y="206835"/>
                  <a:pt x="585788" y="206375"/>
                  <a:pt x="588169" y="204788"/>
                </a:cubicBezTo>
                <a:cubicBezTo>
                  <a:pt x="588963" y="202407"/>
                  <a:pt x="589427" y="199889"/>
                  <a:pt x="590550" y="197644"/>
                </a:cubicBezTo>
                <a:cubicBezTo>
                  <a:pt x="593414" y="191916"/>
                  <a:pt x="597295" y="190141"/>
                  <a:pt x="597694" y="183356"/>
                </a:cubicBezTo>
                <a:cubicBezTo>
                  <a:pt x="598346" y="172263"/>
                  <a:pt x="597694" y="161131"/>
                  <a:pt x="597694" y="150019"/>
                </a:cubicBezTo>
              </a:path>
            </a:pathLst>
          </a:custGeom>
          <a:solidFill>
            <a:srgbClr val="FFA366"/>
          </a:solidFill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srgbClr val="182F41"/>
              </a:solidFill>
            </a:endParaRPr>
          </a:p>
        </p:txBody>
      </p:sp>
      <p:sp>
        <p:nvSpPr>
          <p:cNvPr id="12" name="Forme libre 117">
            <a:extLst>
              <a:ext uri="{FF2B5EF4-FFF2-40B4-BE49-F238E27FC236}">
                <a16:creationId xmlns:a16="http://schemas.microsoft.com/office/drawing/2014/main" id="{8693A8C1-77C4-4322-9907-35095C77ACAD}"/>
              </a:ext>
            </a:extLst>
          </p:cNvPr>
          <p:cNvSpPr/>
          <p:nvPr/>
        </p:nvSpPr>
        <p:spPr>
          <a:xfrm>
            <a:off x="2455863" y="2382141"/>
            <a:ext cx="787400" cy="729506"/>
          </a:xfrm>
          <a:custGeom>
            <a:avLst/>
            <a:gdLst>
              <a:gd name="connsiteX0" fmla="*/ 28674 w 798069"/>
              <a:gd name="connsiteY0" fmla="*/ 695325 h 695341"/>
              <a:gd name="connsiteX1" fmla="*/ 31055 w 798069"/>
              <a:gd name="connsiteY1" fmla="*/ 683418 h 695341"/>
              <a:gd name="connsiteX2" fmla="*/ 23912 w 798069"/>
              <a:gd name="connsiteY2" fmla="*/ 654843 h 695341"/>
              <a:gd name="connsiteX3" fmla="*/ 19149 w 798069"/>
              <a:gd name="connsiteY3" fmla="*/ 647700 h 695341"/>
              <a:gd name="connsiteX4" fmla="*/ 12005 w 798069"/>
              <a:gd name="connsiteY4" fmla="*/ 626268 h 695341"/>
              <a:gd name="connsiteX5" fmla="*/ 9624 w 798069"/>
              <a:gd name="connsiteY5" fmla="*/ 619125 h 695341"/>
              <a:gd name="connsiteX6" fmla="*/ 12005 w 798069"/>
              <a:gd name="connsiteY6" fmla="*/ 533400 h 695341"/>
              <a:gd name="connsiteX7" fmla="*/ 16768 w 798069"/>
              <a:gd name="connsiteY7" fmla="*/ 519112 h 695341"/>
              <a:gd name="connsiteX8" fmla="*/ 21530 w 798069"/>
              <a:gd name="connsiteY8" fmla="*/ 511968 h 695341"/>
              <a:gd name="connsiteX9" fmla="*/ 19149 w 798069"/>
              <a:gd name="connsiteY9" fmla="*/ 492918 h 695341"/>
              <a:gd name="connsiteX10" fmla="*/ 4862 w 798069"/>
              <a:gd name="connsiteY10" fmla="*/ 481012 h 695341"/>
              <a:gd name="connsiteX11" fmla="*/ 99 w 798069"/>
              <a:gd name="connsiteY11" fmla="*/ 473868 h 695341"/>
              <a:gd name="connsiteX12" fmla="*/ 2480 w 798069"/>
              <a:gd name="connsiteY12" fmla="*/ 464343 h 695341"/>
              <a:gd name="connsiteX13" fmla="*/ 23912 w 798069"/>
              <a:gd name="connsiteY13" fmla="*/ 447675 h 695341"/>
              <a:gd name="connsiteX14" fmla="*/ 38199 w 798069"/>
              <a:gd name="connsiteY14" fmla="*/ 433387 h 695341"/>
              <a:gd name="connsiteX15" fmla="*/ 52487 w 798069"/>
              <a:gd name="connsiteY15" fmla="*/ 421481 h 695341"/>
              <a:gd name="connsiteX16" fmla="*/ 57249 w 798069"/>
              <a:gd name="connsiteY16" fmla="*/ 414337 h 695341"/>
              <a:gd name="connsiteX17" fmla="*/ 62012 w 798069"/>
              <a:gd name="connsiteY17" fmla="*/ 388143 h 695341"/>
              <a:gd name="connsiteX18" fmla="*/ 69155 w 798069"/>
              <a:gd name="connsiteY18" fmla="*/ 364331 h 695341"/>
              <a:gd name="connsiteX19" fmla="*/ 73918 w 798069"/>
              <a:gd name="connsiteY19" fmla="*/ 357187 h 695341"/>
              <a:gd name="connsiteX20" fmla="*/ 76299 w 798069"/>
              <a:gd name="connsiteY20" fmla="*/ 350043 h 695341"/>
              <a:gd name="connsiteX21" fmla="*/ 88205 w 798069"/>
              <a:gd name="connsiteY21" fmla="*/ 333375 h 695341"/>
              <a:gd name="connsiteX22" fmla="*/ 100112 w 798069"/>
              <a:gd name="connsiteY22" fmla="*/ 321468 h 695341"/>
              <a:gd name="connsiteX23" fmla="*/ 112018 w 798069"/>
              <a:gd name="connsiteY23" fmla="*/ 307181 h 695341"/>
              <a:gd name="connsiteX24" fmla="*/ 121543 w 798069"/>
              <a:gd name="connsiteY24" fmla="*/ 292893 h 695341"/>
              <a:gd name="connsiteX25" fmla="*/ 133449 w 798069"/>
              <a:gd name="connsiteY25" fmla="*/ 278606 h 695341"/>
              <a:gd name="connsiteX26" fmla="*/ 138212 w 798069"/>
              <a:gd name="connsiteY26" fmla="*/ 269081 h 695341"/>
              <a:gd name="connsiteX27" fmla="*/ 147737 w 798069"/>
              <a:gd name="connsiteY27" fmla="*/ 254793 h 695341"/>
              <a:gd name="connsiteX28" fmla="*/ 159643 w 798069"/>
              <a:gd name="connsiteY28" fmla="*/ 233362 h 695341"/>
              <a:gd name="connsiteX29" fmla="*/ 164405 w 798069"/>
              <a:gd name="connsiteY29" fmla="*/ 223837 h 695341"/>
              <a:gd name="connsiteX30" fmla="*/ 169168 w 798069"/>
              <a:gd name="connsiteY30" fmla="*/ 216693 h 695341"/>
              <a:gd name="connsiteX31" fmla="*/ 176312 w 798069"/>
              <a:gd name="connsiteY31" fmla="*/ 202406 h 695341"/>
              <a:gd name="connsiteX32" fmla="*/ 185837 w 798069"/>
              <a:gd name="connsiteY32" fmla="*/ 188118 h 695341"/>
              <a:gd name="connsiteX33" fmla="*/ 183455 w 798069"/>
              <a:gd name="connsiteY33" fmla="*/ 166687 h 695341"/>
              <a:gd name="connsiteX34" fmla="*/ 173930 w 798069"/>
              <a:gd name="connsiteY34" fmla="*/ 159543 h 695341"/>
              <a:gd name="connsiteX35" fmla="*/ 169168 w 798069"/>
              <a:gd name="connsiteY35" fmla="*/ 152400 h 695341"/>
              <a:gd name="connsiteX36" fmla="*/ 171549 w 798069"/>
              <a:gd name="connsiteY36" fmla="*/ 126206 h 695341"/>
              <a:gd name="connsiteX37" fmla="*/ 176312 w 798069"/>
              <a:gd name="connsiteY37" fmla="*/ 119062 h 695341"/>
              <a:gd name="connsiteX38" fmla="*/ 178693 w 798069"/>
              <a:gd name="connsiteY38" fmla="*/ 111918 h 695341"/>
              <a:gd name="connsiteX39" fmla="*/ 185837 w 798069"/>
              <a:gd name="connsiteY39" fmla="*/ 97631 h 695341"/>
              <a:gd name="connsiteX40" fmla="*/ 183455 w 798069"/>
              <a:gd name="connsiteY40" fmla="*/ 85725 h 695341"/>
              <a:gd name="connsiteX41" fmla="*/ 178693 w 798069"/>
              <a:gd name="connsiteY41" fmla="*/ 78581 h 695341"/>
              <a:gd name="connsiteX42" fmla="*/ 190599 w 798069"/>
              <a:gd name="connsiteY42" fmla="*/ 52387 h 695341"/>
              <a:gd name="connsiteX43" fmla="*/ 197743 w 798069"/>
              <a:gd name="connsiteY43" fmla="*/ 50006 h 695341"/>
              <a:gd name="connsiteX44" fmla="*/ 219174 w 798069"/>
              <a:gd name="connsiteY44" fmla="*/ 30956 h 695341"/>
              <a:gd name="connsiteX45" fmla="*/ 231080 w 798069"/>
              <a:gd name="connsiteY45" fmla="*/ 19050 h 695341"/>
              <a:gd name="connsiteX46" fmla="*/ 235843 w 798069"/>
              <a:gd name="connsiteY46" fmla="*/ 11906 h 695341"/>
              <a:gd name="connsiteX47" fmla="*/ 242987 w 798069"/>
              <a:gd name="connsiteY47" fmla="*/ 14287 h 695341"/>
              <a:gd name="connsiteX48" fmla="*/ 247749 w 798069"/>
              <a:gd name="connsiteY48" fmla="*/ 30956 h 695341"/>
              <a:gd name="connsiteX49" fmla="*/ 250130 w 798069"/>
              <a:gd name="connsiteY49" fmla="*/ 78581 h 695341"/>
              <a:gd name="connsiteX50" fmla="*/ 252512 w 798069"/>
              <a:gd name="connsiteY50" fmla="*/ 85725 h 695341"/>
              <a:gd name="connsiteX51" fmla="*/ 257274 w 798069"/>
              <a:gd name="connsiteY51" fmla="*/ 92868 h 695341"/>
              <a:gd name="connsiteX52" fmla="*/ 281087 w 798069"/>
              <a:gd name="connsiteY52" fmla="*/ 102393 h 695341"/>
              <a:gd name="connsiteX53" fmla="*/ 288230 w 798069"/>
              <a:gd name="connsiteY53" fmla="*/ 104775 h 695341"/>
              <a:gd name="connsiteX54" fmla="*/ 307280 w 798069"/>
              <a:gd name="connsiteY54" fmla="*/ 102393 h 695341"/>
              <a:gd name="connsiteX55" fmla="*/ 319187 w 798069"/>
              <a:gd name="connsiteY55" fmla="*/ 100012 h 695341"/>
              <a:gd name="connsiteX56" fmla="*/ 352524 w 798069"/>
              <a:gd name="connsiteY56" fmla="*/ 102393 h 695341"/>
              <a:gd name="connsiteX57" fmla="*/ 354905 w 798069"/>
              <a:gd name="connsiteY57" fmla="*/ 109537 h 695341"/>
              <a:gd name="connsiteX58" fmla="*/ 359668 w 798069"/>
              <a:gd name="connsiteY58" fmla="*/ 147637 h 695341"/>
              <a:gd name="connsiteX59" fmla="*/ 364430 w 798069"/>
              <a:gd name="connsiteY59" fmla="*/ 157162 h 695341"/>
              <a:gd name="connsiteX60" fmla="*/ 371574 w 798069"/>
              <a:gd name="connsiteY60" fmla="*/ 159543 h 695341"/>
              <a:gd name="connsiteX61" fmla="*/ 414437 w 798069"/>
              <a:gd name="connsiteY61" fmla="*/ 157162 h 695341"/>
              <a:gd name="connsiteX62" fmla="*/ 428724 w 798069"/>
              <a:gd name="connsiteY62" fmla="*/ 150018 h 695341"/>
              <a:gd name="connsiteX63" fmla="*/ 435868 w 798069"/>
              <a:gd name="connsiteY63" fmla="*/ 142875 h 695341"/>
              <a:gd name="connsiteX64" fmla="*/ 450155 w 798069"/>
              <a:gd name="connsiteY64" fmla="*/ 133350 h 695341"/>
              <a:gd name="connsiteX65" fmla="*/ 457299 w 798069"/>
              <a:gd name="connsiteY65" fmla="*/ 128587 h 695341"/>
              <a:gd name="connsiteX66" fmla="*/ 464443 w 798069"/>
              <a:gd name="connsiteY66" fmla="*/ 126206 h 695341"/>
              <a:gd name="connsiteX67" fmla="*/ 478730 w 798069"/>
              <a:gd name="connsiteY67" fmla="*/ 116681 h 695341"/>
              <a:gd name="connsiteX68" fmla="*/ 490637 w 798069"/>
              <a:gd name="connsiteY68" fmla="*/ 95250 h 695341"/>
              <a:gd name="connsiteX69" fmla="*/ 493018 w 798069"/>
              <a:gd name="connsiteY69" fmla="*/ 78581 h 695341"/>
              <a:gd name="connsiteX70" fmla="*/ 495399 w 798069"/>
              <a:gd name="connsiteY70" fmla="*/ 71437 h 695341"/>
              <a:gd name="connsiteX71" fmla="*/ 502543 w 798069"/>
              <a:gd name="connsiteY71" fmla="*/ 45243 h 695341"/>
              <a:gd name="connsiteX72" fmla="*/ 512068 w 798069"/>
              <a:gd name="connsiteY72" fmla="*/ 0 h 695341"/>
              <a:gd name="connsiteX73" fmla="*/ 523974 w 798069"/>
              <a:gd name="connsiteY73" fmla="*/ 9525 h 695341"/>
              <a:gd name="connsiteX74" fmla="*/ 531118 w 798069"/>
              <a:gd name="connsiteY74" fmla="*/ 16668 h 695341"/>
              <a:gd name="connsiteX75" fmla="*/ 540643 w 798069"/>
              <a:gd name="connsiteY75" fmla="*/ 30956 h 695341"/>
              <a:gd name="connsiteX76" fmla="*/ 550168 w 798069"/>
              <a:gd name="connsiteY76" fmla="*/ 45243 h 695341"/>
              <a:gd name="connsiteX77" fmla="*/ 562074 w 798069"/>
              <a:gd name="connsiteY77" fmla="*/ 59531 h 695341"/>
              <a:gd name="connsiteX78" fmla="*/ 590649 w 798069"/>
              <a:gd name="connsiteY78" fmla="*/ 66675 h 695341"/>
              <a:gd name="connsiteX79" fmla="*/ 604937 w 798069"/>
              <a:gd name="connsiteY79" fmla="*/ 73818 h 695341"/>
              <a:gd name="connsiteX80" fmla="*/ 609699 w 798069"/>
              <a:gd name="connsiteY80" fmla="*/ 80962 h 695341"/>
              <a:gd name="connsiteX81" fmla="*/ 616843 w 798069"/>
              <a:gd name="connsiteY81" fmla="*/ 88106 h 695341"/>
              <a:gd name="connsiteX82" fmla="*/ 628749 w 798069"/>
              <a:gd name="connsiteY82" fmla="*/ 100012 h 695341"/>
              <a:gd name="connsiteX83" fmla="*/ 638274 w 798069"/>
              <a:gd name="connsiteY83" fmla="*/ 114300 h 695341"/>
              <a:gd name="connsiteX84" fmla="*/ 645418 w 798069"/>
              <a:gd name="connsiteY84" fmla="*/ 119062 h 695341"/>
              <a:gd name="connsiteX85" fmla="*/ 688280 w 798069"/>
              <a:gd name="connsiteY85" fmla="*/ 123825 h 695341"/>
              <a:gd name="connsiteX86" fmla="*/ 709712 w 798069"/>
              <a:gd name="connsiteY86" fmla="*/ 142875 h 695341"/>
              <a:gd name="connsiteX87" fmla="*/ 726380 w 798069"/>
              <a:gd name="connsiteY87" fmla="*/ 147637 h 695341"/>
              <a:gd name="connsiteX88" fmla="*/ 740668 w 798069"/>
              <a:gd name="connsiteY88" fmla="*/ 152400 h 695341"/>
              <a:gd name="connsiteX89" fmla="*/ 754955 w 798069"/>
              <a:gd name="connsiteY89" fmla="*/ 159543 h 695341"/>
              <a:gd name="connsiteX90" fmla="*/ 766862 w 798069"/>
              <a:gd name="connsiteY90" fmla="*/ 183356 h 695341"/>
              <a:gd name="connsiteX91" fmla="*/ 769243 w 798069"/>
              <a:gd name="connsiteY91" fmla="*/ 211931 h 695341"/>
              <a:gd name="connsiteX92" fmla="*/ 771624 w 798069"/>
              <a:gd name="connsiteY92" fmla="*/ 219075 h 695341"/>
              <a:gd name="connsiteX93" fmla="*/ 774005 w 798069"/>
              <a:gd name="connsiteY93" fmla="*/ 309562 h 695341"/>
              <a:gd name="connsiteX94" fmla="*/ 776387 w 798069"/>
              <a:gd name="connsiteY94" fmla="*/ 316706 h 695341"/>
              <a:gd name="connsiteX95" fmla="*/ 790674 w 798069"/>
              <a:gd name="connsiteY95" fmla="*/ 326231 h 695341"/>
              <a:gd name="connsiteX96" fmla="*/ 795437 w 798069"/>
              <a:gd name="connsiteY96" fmla="*/ 333375 h 695341"/>
              <a:gd name="connsiteX97" fmla="*/ 795437 w 798069"/>
              <a:gd name="connsiteY97" fmla="*/ 357187 h 695341"/>
              <a:gd name="connsiteX98" fmla="*/ 790674 w 798069"/>
              <a:gd name="connsiteY98" fmla="*/ 364331 h 695341"/>
              <a:gd name="connsiteX99" fmla="*/ 776387 w 798069"/>
              <a:gd name="connsiteY99" fmla="*/ 373856 h 695341"/>
              <a:gd name="connsiteX100" fmla="*/ 738287 w 798069"/>
              <a:gd name="connsiteY100" fmla="*/ 366712 h 695341"/>
              <a:gd name="connsiteX101" fmla="*/ 731143 w 798069"/>
              <a:gd name="connsiteY101" fmla="*/ 359568 h 695341"/>
              <a:gd name="connsiteX102" fmla="*/ 716855 w 798069"/>
              <a:gd name="connsiteY102" fmla="*/ 354806 h 695341"/>
              <a:gd name="connsiteX103" fmla="*/ 709712 w 798069"/>
              <a:gd name="connsiteY103" fmla="*/ 357187 h 695341"/>
              <a:gd name="connsiteX104" fmla="*/ 697805 w 798069"/>
              <a:gd name="connsiteY104" fmla="*/ 378618 h 695341"/>
              <a:gd name="connsiteX105" fmla="*/ 690662 w 798069"/>
              <a:gd name="connsiteY105" fmla="*/ 392906 h 695341"/>
              <a:gd name="connsiteX106" fmla="*/ 697805 w 798069"/>
              <a:gd name="connsiteY106" fmla="*/ 395287 h 695341"/>
              <a:gd name="connsiteX107" fmla="*/ 709712 w 798069"/>
              <a:gd name="connsiteY107" fmla="*/ 397668 h 695341"/>
              <a:gd name="connsiteX108" fmla="*/ 716855 w 798069"/>
              <a:gd name="connsiteY108" fmla="*/ 404812 h 695341"/>
              <a:gd name="connsiteX109" fmla="*/ 728762 w 798069"/>
              <a:gd name="connsiteY109" fmla="*/ 423862 h 695341"/>
              <a:gd name="connsiteX110" fmla="*/ 745430 w 798069"/>
              <a:gd name="connsiteY110" fmla="*/ 426243 h 695341"/>
              <a:gd name="connsiteX111" fmla="*/ 750193 w 798069"/>
              <a:gd name="connsiteY111" fmla="*/ 433387 h 695341"/>
              <a:gd name="connsiteX112" fmla="*/ 747812 w 798069"/>
              <a:gd name="connsiteY112" fmla="*/ 454818 h 695341"/>
              <a:gd name="connsiteX113" fmla="*/ 745430 w 798069"/>
              <a:gd name="connsiteY113" fmla="*/ 464343 h 695341"/>
              <a:gd name="connsiteX114" fmla="*/ 735905 w 798069"/>
              <a:gd name="connsiteY114" fmla="*/ 485775 h 695341"/>
              <a:gd name="connsiteX115" fmla="*/ 728762 w 798069"/>
              <a:gd name="connsiteY115" fmla="*/ 488156 h 695341"/>
              <a:gd name="connsiteX116" fmla="*/ 721618 w 798069"/>
              <a:gd name="connsiteY116" fmla="*/ 492918 h 695341"/>
              <a:gd name="connsiteX117" fmla="*/ 716855 w 798069"/>
              <a:gd name="connsiteY117" fmla="*/ 509587 h 695341"/>
              <a:gd name="connsiteX118" fmla="*/ 712093 w 798069"/>
              <a:gd name="connsiteY118" fmla="*/ 516731 h 695341"/>
              <a:gd name="connsiteX119" fmla="*/ 704949 w 798069"/>
              <a:gd name="connsiteY119" fmla="*/ 519112 h 695341"/>
              <a:gd name="connsiteX120" fmla="*/ 697805 w 798069"/>
              <a:gd name="connsiteY120" fmla="*/ 523875 h 695341"/>
              <a:gd name="connsiteX121" fmla="*/ 669230 w 798069"/>
              <a:gd name="connsiteY121" fmla="*/ 528637 h 695341"/>
              <a:gd name="connsiteX122" fmla="*/ 662087 w 798069"/>
              <a:gd name="connsiteY122" fmla="*/ 535781 h 695341"/>
              <a:gd name="connsiteX123" fmla="*/ 650180 w 798069"/>
              <a:gd name="connsiteY123" fmla="*/ 547687 h 695341"/>
              <a:gd name="connsiteX124" fmla="*/ 635893 w 798069"/>
              <a:gd name="connsiteY124" fmla="*/ 550068 h 695341"/>
              <a:gd name="connsiteX125" fmla="*/ 614462 w 798069"/>
              <a:gd name="connsiteY125" fmla="*/ 561975 h 695341"/>
              <a:gd name="connsiteX126" fmla="*/ 607318 w 798069"/>
              <a:gd name="connsiteY126" fmla="*/ 564356 h 695341"/>
              <a:gd name="connsiteX127" fmla="*/ 593030 w 798069"/>
              <a:gd name="connsiteY127" fmla="*/ 573881 h 695341"/>
              <a:gd name="connsiteX128" fmla="*/ 562074 w 798069"/>
              <a:gd name="connsiteY128" fmla="*/ 576262 h 695341"/>
              <a:gd name="connsiteX129" fmla="*/ 540643 w 798069"/>
              <a:gd name="connsiteY129" fmla="*/ 590550 h 695341"/>
              <a:gd name="connsiteX130" fmla="*/ 533499 w 798069"/>
              <a:gd name="connsiteY130" fmla="*/ 595312 h 695341"/>
              <a:gd name="connsiteX131" fmla="*/ 526355 w 798069"/>
              <a:gd name="connsiteY131" fmla="*/ 597693 h 695341"/>
              <a:gd name="connsiteX132" fmla="*/ 514449 w 798069"/>
              <a:gd name="connsiteY132" fmla="*/ 611981 h 695341"/>
              <a:gd name="connsiteX133" fmla="*/ 512068 w 798069"/>
              <a:gd name="connsiteY133" fmla="*/ 619125 h 695341"/>
              <a:gd name="connsiteX134" fmla="*/ 507305 w 798069"/>
              <a:gd name="connsiteY134" fmla="*/ 640556 h 695341"/>
              <a:gd name="connsiteX135" fmla="*/ 502543 w 798069"/>
              <a:gd name="connsiteY135" fmla="*/ 654843 h 695341"/>
              <a:gd name="connsiteX136" fmla="*/ 500162 w 798069"/>
              <a:gd name="connsiteY136" fmla="*/ 661987 h 695341"/>
              <a:gd name="connsiteX137" fmla="*/ 493018 w 798069"/>
              <a:gd name="connsiteY137" fmla="*/ 664368 h 695341"/>
              <a:gd name="connsiteX138" fmla="*/ 485874 w 798069"/>
              <a:gd name="connsiteY138" fmla="*/ 659606 h 695341"/>
              <a:gd name="connsiteX139" fmla="*/ 471587 w 798069"/>
              <a:gd name="connsiteY139" fmla="*/ 645318 h 695341"/>
              <a:gd name="connsiteX140" fmla="*/ 447774 w 798069"/>
              <a:gd name="connsiteY140" fmla="*/ 647700 h 695341"/>
              <a:gd name="connsiteX141" fmla="*/ 435868 w 798069"/>
              <a:gd name="connsiteY141" fmla="*/ 659606 h 695341"/>
              <a:gd name="connsiteX142" fmla="*/ 414437 w 798069"/>
              <a:gd name="connsiteY142" fmla="*/ 671512 h 695341"/>
              <a:gd name="connsiteX143" fmla="*/ 407293 w 798069"/>
              <a:gd name="connsiteY143" fmla="*/ 676275 h 695341"/>
              <a:gd name="connsiteX144" fmla="*/ 385862 w 798069"/>
              <a:gd name="connsiteY144" fmla="*/ 671512 h 695341"/>
              <a:gd name="connsiteX145" fmla="*/ 314424 w 798069"/>
              <a:gd name="connsiteY145" fmla="*/ 673893 h 695341"/>
              <a:gd name="connsiteX146" fmla="*/ 300137 w 798069"/>
              <a:gd name="connsiteY146" fmla="*/ 676275 h 695341"/>
              <a:gd name="connsiteX147" fmla="*/ 297755 w 798069"/>
              <a:gd name="connsiteY147" fmla="*/ 666750 h 695341"/>
              <a:gd name="connsiteX148" fmla="*/ 292993 w 798069"/>
              <a:gd name="connsiteY148" fmla="*/ 652462 h 695341"/>
              <a:gd name="connsiteX149" fmla="*/ 288230 w 798069"/>
              <a:gd name="connsiteY149" fmla="*/ 638175 h 695341"/>
              <a:gd name="connsiteX150" fmla="*/ 281087 w 798069"/>
              <a:gd name="connsiteY150" fmla="*/ 633412 h 695341"/>
              <a:gd name="connsiteX151" fmla="*/ 271562 w 798069"/>
              <a:gd name="connsiteY151" fmla="*/ 635793 h 695341"/>
              <a:gd name="connsiteX152" fmla="*/ 269180 w 798069"/>
              <a:gd name="connsiteY152" fmla="*/ 642937 h 695341"/>
              <a:gd name="connsiteX153" fmla="*/ 257274 w 798069"/>
              <a:gd name="connsiteY153" fmla="*/ 657225 h 695341"/>
              <a:gd name="connsiteX154" fmla="*/ 250130 w 798069"/>
              <a:gd name="connsiteY154" fmla="*/ 659606 h 695341"/>
              <a:gd name="connsiteX155" fmla="*/ 238224 w 798069"/>
              <a:gd name="connsiteY155" fmla="*/ 671512 h 695341"/>
              <a:gd name="connsiteX156" fmla="*/ 235843 w 798069"/>
              <a:gd name="connsiteY156" fmla="*/ 678656 h 695341"/>
              <a:gd name="connsiteX157" fmla="*/ 233462 w 798069"/>
              <a:gd name="connsiteY157" fmla="*/ 688181 h 695341"/>
              <a:gd name="connsiteX158" fmla="*/ 226318 w 798069"/>
              <a:gd name="connsiteY158" fmla="*/ 690562 h 695341"/>
              <a:gd name="connsiteX159" fmla="*/ 212030 w 798069"/>
              <a:gd name="connsiteY159" fmla="*/ 688181 h 695341"/>
              <a:gd name="connsiteX160" fmla="*/ 204887 w 798069"/>
              <a:gd name="connsiteY160" fmla="*/ 685800 h 695341"/>
              <a:gd name="connsiteX161" fmla="*/ 173930 w 798069"/>
              <a:gd name="connsiteY161" fmla="*/ 688181 h 695341"/>
              <a:gd name="connsiteX162" fmla="*/ 164405 w 798069"/>
              <a:gd name="connsiteY162" fmla="*/ 685800 h 695341"/>
              <a:gd name="connsiteX163" fmla="*/ 154880 w 798069"/>
              <a:gd name="connsiteY163" fmla="*/ 664368 h 695341"/>
              <a:gd name="connsiteX164" fmla="*/ 140593 w 798069"/>
              <a:gd name="connsiteY164" fmla="*/ 654843 h 695341"/>
              <a:gd name="connsiteX165" fmla="*/ 133449 w 798069"/>
              <a:gd name="connsiteY165" fmla="*/ 657225 h 695341"/>
              <a:gd name="connsiteX166" fmla="*/ 119162 w 798069"/>
              <a:gd name="connsiteY166" fmla="*/ 669131 h 695341"/>
              <a:gd name="connsiteX167" fmla="*/ 112018 w 798069"/>
              <a:gd name="connsiteY167" fmla="*/ 673893 h 695341"/>
              <a:gd name="connsiteX168" fmla="*/ 95349 w 798069"/>
              <a:gd name="connsiteY168" fmla="*/ 671512 h 695341"/>
              <a:gd name="connsiteX169" fmla="*/ 85824 w 798069"/>
              <a:gd name="connsiteY169" fmla="*/ 659606 h 695341"/>
              <a:gd name="connsiteX170" fmla="*/ 78680 w 798069"/>
              <a:gd name="connsiteY170" fmla="*/ 654843 h 695341"/>
              <a:gd name="connsiteX171" fmla="*/ 73918 w 798069"/>
              <a:gd name="connsiteY171" fmla="*/ 661987 h 695341"/>
              <a:gd name="connsiteX172" fmla="*/ 66774 w 798069"/>
              <a:gd name="connsiteY172" fmla="*/ 671512 h 695341"/>
              <a:gd name="connsiteX173" fmla="*/ 64393 w 798069"/>
              <a:gd name="connsiteY173" fmla="*/ 678656 h 695341"/>
              <a:gd name="connsiteX174" fmla="*/ 57249 w 798069"/>
              <a:gd name="connsiteY174" fmla="*/ 683418 h 695341"/>
              <a:gd name="connsiteX175" fmla="*/ 50105 w 798069"/>
              <a:gd name="connsiteY175" fmla="*/ 685800 h 695341"/>
              <a:gd name="connsiteX176" fmla="*/ 28674 w 798069"/>
              <a:gd name="connsiteY176" fmla="*/ 695325 h 695341"/>
              <a:gd name="connsiteX0" fmla="*/ 28674 w 798069"/>
              <a:gd name="connsiteY0" fmla="*/ 695325 h 695341"/>
              <a:gd name="connsiteX1" fmla="*/ 31055 w 798069"/>
              <a:gd name="connsiteY1" fmla="*/ 683418 h 695341"/>
              <a:gd name="connsiteX2" fmla="*/ 23912 w 798069"/>
              <a:gd name="connsiteY2" fmla="*/ 654843 h 695341"/>
              <a:gd name="connsiteX3" fmla="*/ 19149 w 798069"/>
              <a:gd name="connsiteY3" fmla="*/ 647700 h 695341"/>
              <a:gd name="connsiteX4" fmla="*/ 12005 w 798069"/>
              <a:gd name="connsiteY4" fmla="*/ 626268 h 695341"/>
              <a:gd name="connsiteX5" fmla="*/ 9624 w 798069"/>
              <a:gd name="connsiteY5" fmla="*/ 619125 h 695341"/>
              <a:gd name="connsiteX6" fmla="*/ 12005 w 798069"/>
              <a:gd name="connsiteY6" fmla="*/ 533400 h 695341"/>
              <a:gd name="connsiteX7" fmla="*/ 16768 w 798069"/>
              <a:gd name="connsiteY7" fmla="*/ 519112 h 695341"/>
              <a:gd name="connsiteX8" fmla="*/ 21530 w 798069"/>
              <a:gd name="connsiteY8" fmla="*/ 511968 h 695341"/>
              <a:gd name="connsiteX9" fmla="*/ 19149 w 798069"/>
              <a:gd name="connsiteY9" fmla="*/ 492918 h 695341"/>
              <a:gd name="connsiteX10" fmla="*/ 4862 w 798069"/>
              <a:gd name="connsiteY10" fmla="*/ 481012 h 695341"/>
              <a:gd name="connsiteX11" fmla="*/ 99 w 798069"/>
              <a:gd name="connsiteY11" fmla="*/ 473868 h 695341"/>
              <a:gd name="connsiteX12" fmla="*/ 2480 w 798069"/>
              <a:gd name="connsiteY12" fmla="*/ 464343 h 695341"/>
              <a:gd name="connsiteX13" fmla="*/ 23912 w 798069"/>
              <a:gd name="connsiteY13" fmla="*/ 447675 h 695341"/>
              <a:gd name="connsiteX14" fmla="*/ 38199 w 798069"/>
              <a:gd name="connsiteY14" fmla="*/ 433387 h 695341"/>
              <a:gd name="connsiteX15" fmla="*/ 52487 w 798069"/>
              <a:gd name="connsiteY15" fmla="*/ 421481 h 695341"/>
              <a:gd name="connsiteX16" fmla="*/ 57249 w 798069"/>
              <a:gd name="connsiteY16" fmla="*/ 414337 h 695341"/>
              <a:gd name="connsiteX17" fmla="*/ 62012 w 798069"/>
              <a:gd name="connsiteY17" fmla="*/ 388143 h 695341"/>
              <a:gd name="connsiteX18" fmla="*/ 69155 w 798069"/>
              <a:gd name="connsiteY18" fmla="*/ 364331 h 695341"/>
              <a:gd name="connsiteX19" fmla="*/ 73918 w 798069"/>
              <a:gd name="connsiteY19" fmla="*/ 357187 h 695341"/>
              <a:gd name="connsiteX20" fmla="*/ 76299 w 798069"/>
              <a:gd name="connsiteY20" fmla="*/ 350043 h 695341"/>
              <a:gd name="connsiteX21" fmla="*/ 88205 w 798069"/>
              <a:gd name="connsiteY21" fmla="*/ 333375 h 695341"/>
              <a:gd name="connsiteX22" fmla="*/ 100112 w 798069"/>
              <a:gd name="connsiteY22" fmla="*/ 321468 h 695341"/>
              <a:gd name="connsiteX23" fmla="*/ 112018 w 798069"/>
              <a:gd name="connsiteY23" fmla="*/ 307181 h 695341"/>
              <a:gd name="connsiteX24" fmla="*/ 121543 w 798069"/>
              <a:gd name="connsiteY24" fmla="*/ 292893 h 695341"/>
              <a:gd name="connsiteX25" fmla="*/ 133449 w 798069"/>
              <a:gd name="connsiteY25" fmla="*/ 278606 h 695341"/>
              <a:gd name="connsiteX26" fmla="*/ 138212 w 798069"/>
              <a:gd name="connsiteY26" fmla="*/ 269081 h 695341"/>
              <a:gd name="connsiteX27" fmla="*/ 147737 w 798069"/>
              <a:gd name="connsiteY27" fmla="*/ 254793 h 695341"/>
              <a:gd name="connsiteX28" fmla="*/ 159643 w 798069"/>
              <a:gd name="connsiteY28" fmla="*/ 233362 h 695341"/>
              <a:gd name="connsiteX29" fmla="*/ 164405 w 798069"/>
              <a:gd name="connsiteY29" fmla="*/ 223837 h 695341"/>
              <a:gd name="connsiteX30" fmla="*/ 169168 w 798069"/>
              <a:gd name="connsiteY30" fmla="*/ 216693 h 695341"/>
              <a:gd name="connsiteX31" fmla="*/ 176312 w 798069"/>
              <a:gd name="connsiteY31" fmla="*/ 202406 h 695341"/>
              <a:gd name="connsiteX32" fmla="*/ 185837 w 798069"/>
              <a:gd name="connsiteY32" fmla="*/ 188118 h 695341"/>
              <a:gd name="connsiteX33" fmla="*/ 183455 w 798069"/>
              <a:gd name="connsiteY33" fmla="*/ 166687 h 695341"/>
              <a:gd name="connsiteX34" fmla="*/ 173930 w 798069"/>
              <a:gd name="connsiteY34" fmla="*/ 159543 h 695341"/>
              <a:gd name="connsiteX35" fmla="*/ 169168 w 798069"/>
              <a:gd name="connsiteY35" fmla="*/ 152400 h 695341"/>
              <a:gd name="connsiteX36" fmla="*/ 171549 w 798069"/>
              <a:gd name="connsiteY36" fmla="*/ 126206 h 695341"/>
              <a:gd name="connsiteX37" fmla="*/ 176312 w 798069"/>
              <a:gd name="connsiteY37" fmla="*/ 119062 h 695341"/>
              <a:gd name="connsiteX38" fmla="*/ 178693 w 798069"/>
              <a:gd name="connsiteY38" fmla="*/ 111918 h 695341"/>
              <a:gd name="connsiteX39" fmla="*/ 185837 w 798069"/>
              <a:gd name="connsiteY39" fmla="*/ 97631 h 695341"/>
              <a:gd name="connsiteX40" fmla="*/ 183455 w 798069"/>
              <a:gd name="connsiteY40" fmla="*/ 85725 h 695341"/>
              <a:gd name="connsiteX41" fmla="*/ 178693 w 798069"/>
              <a:gd name="connsiteY41" fmla="*/ 78581 h 695341"/>
              <a:gd name="connsiteX42" fmla="*/ 190599 w 798069"/>
              <a:gd name="connsiteY42" fmla="*/ 52387 h 695341"/>
              <a:gd name="connsiteX43" fmla="*/ 197743 w 798069"/>
              <a:gd name="connsiteY43" fmla="*/ 50006 h 695341"/>
              <a:gd name="connsiteX44" fmla="*/ 219174 w 798069"/>
              <a:gd name="connsiteY44" fmla="*/ 30956 h 695341"/>
              <a:gd name="connsiteX45" fmla="*/ 231080 w 798069"/>
              <a:gd name="connsiteY45" fmla="*/ 19050 h 695341"/>
              <a:gd name="connsiteX46" fmla="*/ 235843 w 798069"/>
              <a:gd name="connsiteY46" fmla="*/ 11906 h 695341"/>
              <a:gd name="connsiteX47" fmla="*/ 242987 w 798069"/>
              <a:gd name="connsiteY47" fmla="*/ 14287 h 695341"/>
              <a:gd name="connsiteX48" fmla="*/ 247749 w 798069"/>
              <a:gd name="connsiteY48" fmla="*/ 30956 h 695341"/>
              <a:gd name="connsiteX49" fmla="*/ 250130 w 798069"/>
              <a:gd name="connsiteY49" fmla="*/ 78581 h 695341"/>
              <a:gd name="connsiteX50" fmla="*/ 252512 w 798069"/>
              <a:gd name="connsiteY50" fmla="*/ 85725 h 695341"/>
              <a:gd name="connsiteX51" fmla="*/ 273943 w 798069"/>
              <a:gd name="connsiteY51" fmla="*/ 88105 h 695341"/>
              <a:gd name="connsiteX52" fmla="*/ 281087 w 798069"/>
              <a:gd name="connsiteY52" fmla="*/ 102393 h 695341"/>
              <a:gd name="connsiteX53" fmla="*/ 288230 w 798069"/>
              <a:gd name="connsiteY53" fmla="*/ 104775 h 695341"/>
              <a:gd name="connsiteX54" fmla="*/ 307280 w 798069"/>
              <a:gd name="connsiteY54" fmla="*/ 102393 h 695341"/>
              <a:gd name="connsiteX55" fmla="*/ 319187 w 798069"/>
              <a:gd name="connsiteY55" fmla="*/ 100012 h 695341"/>
              <a:gd name="connsiteX56" fmla="*/ 352524 w 798069"/>
              <a:gd name="connsiteY56" fmla="*/ 102393 h 695341"/>
              <a:gd name="connsiteX57" fmla="*/ 354905 w 798069"/>
              <a:gd name="connsiteY57" fmla="*/ 109537 h 695341"/>
              <a:gd name="connsiteX58" fmla="*/ 359668 w 798069"/>
              <a:gd name="connsiteY58" fmla="*/ 147637 h 695341"/>
              <a:gd name="connsiteX59" fmla="*/ 364430 w 798069"/>
              <a:gd name="connsiteY59" fmla="*/ 157162 h 695341"/>
              <a:gd name="connsiteX60" fmla="*/ 371574 w 798069"/>
              <a:gd name="connsiteY60" fmla="*/ 159543 h 695341"/>
              <a:gd name="connsiteX61" fmla="*/ 414437 w 798069"/>
              <a:gd name="connsiteY61" fmla="*/ 157162 h 695341"/>
              <a:gd name="connsiteX62" fmla="*/ 428724 w 798069"/>
              <a:gd name="connsiteY62" fmla="*/ 150018 h 695341"/>
              <a:gd name="connsiteX63" fmla="*/ 435868 w 798069"/>
              <a:gd name="connsiteY63" fmla="*/ 142875 h 695341"/>
              <a:gd name="connsiteX64" fmla="*/ 450155 w 798069"/>
              <a:gd name="connsiteY64" fmla="*/ 133350 h 695341"/>
              <a:gd name="connsiteX65" fmla="*/ 457299 w 798069"/>
              <a:gd name="connsiteY65" fmla="*/ 128587 h 695341"/>
              <a:gd name="connsiteX66" fmla="*/ 464443 w 798069"/>
              <a:gd name="connsiteY66" fmla="*/ 126206 h 695341"/>
              <a:gd name="connsiteX67" fmla="*/ 478730 w 798069"/>
              <a:gd name="connsiteY67" fmla="*/ 116681 h 695341"/>
              <a:gd name="connsiteX68" fmla="*/ 490637 w 798069"/>
              <a:gd name="connsiteY68" fmla="*/ 95250 h 695341"/>
              <a:gd name="connsiteX69" fmla="*/ 493018 w 798069"/>
              <a:gd name="connsiteY69" fmla="*/ 78581 h 695341"/>
              <a:gd name="connsiteX70" fmla="*/ 495399 w 798069"/>
              <a:gd name="connsiteY70" fmla="*/ 71437 h 695341"/>
              <a:gd name="connsiteX71" fmla="*/ 502543 w 798069"/>
              <a:gd name="connsiteY71" fmla="*/ 45243 h 695341"/>
              <a:gd name="connsiteX72" fmla="*/ 512068 w 798069"/>
              <a:gd name="connsiteY72" fmla="*/ 0 h 695341"/>
              <a:gd name="connsiteX73" fmla="*/ 523974 w 798069"/>
              <a:gd name="connsiteY73" fmla="*/ 9525 h 695341"/>
              <a:gd name="connsiteX74" fmla="*/ 531118 w 798069"/>
              <a:gd name="connsiteY74" fmla="*/ 16668 h 695341"/>
              <a:gd name="connsiteX75" fmla="*/ 540643 w 798069"/>
              <a:gd name="connsiteY75" fmla="*/ 30956 h 695341"/>
              <a:gd name="connsiteX76" fmla="*/ 550168 w 798069"/>
              <a:gd name="connsiteY76" fmla="*/ 45243 h 695341"/>
              <a:gd name="connsiteX77" fmla="*/ 562074 w 798069"/>
              <a:gd name="connsiteY77" fmla="*/ 59531 h 695341"/>
              <a:gd name="connsiteX78" fmla="*/ 590649 w 798069"/>
              <a:gd name="connsiteY78" fmla="*/ 66675 h 695341"/>
              <a:gd name="connsiteX79" fmla="*/ 604937 w 798069"/>
              <a:gd name="connsiteY79" fmla="*/ 73818 h 695341"/>
              <a:gd name="connsiteX80" fmla="*/ 609699 w 798069"/>
              <a:gd name="connsiteY80" fmla="*/ 80962 h 695341"/>
              <a:gd name="connsiteX81" fmla="*/ 616843 w 798069"/>
              <a:gd name="connsiteY81" fmla="*/ 88106 h 695341"/>
              <a:gd name="connsiteX82" fmla="*/ 628749 w 798069"/>
              <a:gd name="connsiteY82" fmla="*/ 100012 h 695341"/>
              <a:gd name="connsiteX83" fmla="*/ 638274 w 798069"/>
              <a:gd name="connsiteY83" fmla="*/ 114300 h 695341"/>
              <a:gd name="connsiteX84" fmla="*/ 645418 w 798069"/>
              <a:gd name="connsiteY84" fmla="*/ 119062 h 695341"/>
              <a:gd name="connsiteX85" fmla="*/ 688280 w 798069"/>
              <a:gd name="connsiteY85" fmla="*/ 123825 h 695341"/>
              <a:gd name="connsiteX86" fmla="*/ 709712 w 798069"/>
              <a:gd name="connsiteY86" fmla="*/ 142875 h 695341"/>
              <a:gd name="connsiteX87" fmla="*/ 726380 w 798069"/>
              <a:gd name="connsiteY87" fmla="*/ 147637 h 695341"/>
              <a:gd name="connsiteX88" fmla="*/ 740668 w 798069"/>
              <a:gd name="connsiteY88" fmla="*/ 152400 h 695341"/>
              <a:gd name="connsiteX89" fmla="*/ 754955 w 798069"/>
              <a:gd name="connsiteY89" fmla="*/ 159543 h 695341"/>
              <a:gd name="connsiteX90" fmla="*/ 766862 w 798069"/>
              <a:gd name="connsiteY90" fmla="*/ 183356 h 695341"/>
              <a:gd name="connsiteX91" fmla="*/ 769243 w 798069"/>
              <a:gd name="connsiteY91" fmla="*/ 211931 h 695341"/>
              <a:gd name="connsiteX92" fmla="*/ 771624 w 798069"/>
              <a:gd name="connsiteY92" fmla="*/ 219075 h 695341"/>
              <a:gd name="connsiteX93" fmla="*/ 774005 w 798069"/>
              <a:gd name="connsiteY93" fmla="*/ 309562 h 695341"/>
              <a:gd name="connsiteX94" fmla="*/ 776387 w 798069"/>
              <a:gd name="connsiteY94" fmla="*/ 316706 h 695341"/>
              <a:gd name="connsiteX95" fmla="*/ 790674 w 798069"/>
              <a:gd name="connsiteY95" fmla="*/ 326231 h 695341"/>
              <a:gd name="connsiteX96" fmla="*/ 795437 w 798069"/>
              <a:gd name="connsiteY96" fmla="*/ 333375 h 695341"/>
              <a:gd name="connsiteX97" fmla="*/ 795437 w 798069"/>
              <a:gd name="connsiteY97" fmla="*/ 357187 h 695341"/>
              <a:gd name="connsiteX98" fmla="*/ 790674 w 798069"/>
              <a:gd name="connsiteY98" fmla="*/ 364331 h 695341"/>
              <a:gd name="connsiteX99" fmla="*/ 776387 w 798069"/>
              <a:gd name="connsiteY99" fmla="*/ 373856 h 695341"/>
              <a:gd name="connsiteX100" fmla="*/ 738287 w 798069"/>
              <a:gd name="connsiteY100" fmla="*/ 366712 h 695341"/>
              <a:gd name="connsiteX101" fmla="*/ 731143 w 798069"/>
              <a:gd name="connsiteY101" fmla="*/ 359568 h 695341"/>
              <a:gd name="connsiteX102" fmla="*/ 716855 w 798069"/>
              <a:gd name="connsiteY102" fmla="*/ 354806 h 695341"/>
              <a:gd name="connsiteX103" fmla="*/ 709712 w 798069"/>
              <a:gd name="connsiteY103" fmla="*/ 357187 h 695341"/>
              <a:gd name="connsiteX104" fmla="*/ 697805 w 798069"/>
              <a:gd name="connsiteY104" fmla="*/ 378618 h 695341"/>
              <a:gd name="connsiteX105" fmla="*/ 690662 w 798069"/>
              <a:gd name="connsiteY105" fmla="*/ 392906 h 695341"/>
              <a:gd name="connsiteX106" fmla="*/ 697805 w 798069"/>
              <a:gd name="connsiteY106" fmla="*/ 395287 h 695341"/>
              <a:gd name="connsiteX107" fmla="*/ 709712 w 798069"/>
              <a:gd name="connsiteY107" fmla="*/ 397668 h 695341"/>
              <a:gd name="connsiteX108" fmla="*/ 716855 w 798069"/>
              <a:gd name="connsiteY108" fmla="*/ 404812 h 695341"/>
              <a:gd name="connsiteX109" fmla="*/ 728762 w 798069"/>
              <a:gd name="connsiteY109" fmla="*/ 423862 h 695341"/>
              <a:gd name="connsiteX110" fmla="*/ 745430 w 798069"/>
              <a:gd name="connsiteY110" fmla="*/ 426243 h 695341"/>
              <a:gd name="connsiteX111" fmla="*/ 750193 w 798069"/>
              <a:gd name="connsiteY111" fmla="*/ 433387 h 695341"/>
              <a:gd name="connsiteX112" fmla="*/ 747812 w 798069"/>
              <a:gd name="connsiteY112" fmla="*/ 454818 h 695341"/>
              <a:gd name="connsiteX113" fmla="*/ 745430 w 798069"/>
              <a:gd name="connsiteY113" fmla="*/ 464343 h 695341"/>
              <a:gd name="connsiteX114" fmla="*/ 735905 w 798069"/>
              <a:gd name="connsiteY114" fmla="*/ 485775 h 695341"/>
              <a:gd name="connsiteX115" fmla="*/ 728762 w 798069"/>
              <a:gd name="connsiteY115" fmla="*/ 488156 h 695341"/>
              <a:gd name="connsiteX116" fmla="*/ 721618 w 798069"/>
              <a:gd name="connsiteY116" fmla="*/ 492918 h 695341"/>
              <a:gd name="connsiteX117" fmla="*/ 716855 w 798069"/>
              <a:gd name="connsiteY117" fmla="*/ 509587 h 695341"/>
              <a:gd name="connsiteX118" fmla="*/ 712093 w 798069"/>
              <a:gd name="connsiteY118" fmla="*/ 516731 h 695341"/>
              <a:gd name="connsiteX119" fmla="*/ 704949 w 798069"/>
              <a:gd name="connsiteY119" fmla="*/ 519112 h 695341"/>
              <a:gd name="connsiteX120" fmla="*/ 697805 w 798069"/>
              <a:gd name="connsiteY120" fmla="*/ 523875 h 695341"/>
              <a:gd name="connsiteX121" fmla="*/ 669230 w 798069"/>
              <a:gd name="connsiteY121" fmla="*/ 528637 h 695341"/>
              <a:gd name="connsiteX122" fmla="*/ 662087 w 798069"/>
              <a:gd name="connsiteY122" fmla="*/ 535781 h 695341"/>
              <a:gd name="connsiteX123" fmla="*/ 650180 w 798069"/>
              <a:gd name="connsiteY123" fmla="*/ 547687 h 695341"/>
              <a:gd name="connsiteX124" fmla="*/ 635893 w 798069"/>
              <a:gd name="connsiteY124" fmla="*/ 550068 h 695341"/>
              <a:gd name="connsiteX125" fmla="*/ 614462 w 798069"/>
              <a:gd name="connsiteY125" fmla="*/ 561975 h 695341"/>
              <a:gd name="connsiteX126" fmla="*/ 607318 w 798069"/>
              <a:gd name="connsiteY126" fmla="*/ 564356 h 695341"/>
              <a:gd name="connsiteX127" fmla="*/ 593030 w 798069"/>
              <a:gd name="connsiteY127" fmla="*/ 573881 h 695341"/>
              <a:gd name="connsiteX128" fmla="*/ 562074 w 798069"/>
              <a:gd name="connsiteY128" fmla="*/ 576262 h 695341"/>
              <a:gd name="connsiteX129" fmla="*/ 540643 w 798069"/>
              <a:gd name="connsiteY129" fmla="*/ 590550 h 695341"/>
              <a:gd name="connsiteX130" fmla="*/ 533499 w 798069"/>
              <a:gd name="connsiteY130" fmla="*/ 595312 h 695341"/>
              <a:gd name="connsiteX131" fmla="*/ 526355 w 798069"/>
              <a:gd name="connsiteY131" fmla="*/ 597693 h 695341"/>
              <a:gd name="connsiteX132" fmla="*/ 514449 w 798069"/>
              <a:gd name="connsiteY132" fmla="*/ 611981 h 695341"/>
              <a:gd name="connsiteX133" fmla="*/ 512068 w 798069"/>
              <a:gd name="connsiteY133" fmla="*/ 619125 h 695341"/>
              <a:gd name="connsiteX134" fmla="*/ 507305 w 798069"/>
              <a:gd name="connsiteY134" fmla="*/ 640556 h 695341"/>
              <a:gd name="connsiteX135" fmla="*/ 502543 w 798069"/>
              <a:gd name="connsiteY135" fmla="*/ 654843 h 695341"/>
              <a:gd name="connsiteX136" fmla="*/ 500162 w 798069"/>
              <a:gd name="connsiteY136" fmla="*/ 661987 h 695341"/>
              <a:gd name="connsiteX137" fmla="*/ 493018 w 798069"/>
              <a:gd name="connsiteY137" fmla="*/ 664368 h 695341"/>
              <a:gd name="connsiteX138" fmla="*/ 485874 w 798069"/>
              <a:gd name="connsiteY138" fmla="*/ 659606 h 695341"/>
              <a:gd name="connsiteX139" fmla="*/ 471587 w 798069"/>
              <a:gd name="connsiteY139" fmla="*/ 645318 h 695341"/>
              <a:gd name="connsiteX140" fmla="*/ 447774 w 798069"/>
              <a:gd name="connsiteY140" fmla="*/ 647700 h 695341"/>
              <a:gd name="connsiteX141" fmla="*/ 435868 w 798069"/>
              <a:gd name="connsiteY141" fmla="*/ 659606 h 695341"/>
              <a:gd name="connsiteX142" fmla="*/ 414437 w 798069"/>
              <a:gd name="connsiteY142" fmla="*/ 671512 h 695341"/>
              <a:gd name="connsiteX143" fmla="*/ 407293 w 798069"/>
              <a:gd name="connsiteY143" fmla="*/ 676275 h 695341"/>
              <a:gd name="connsiteX144" fmla="*/ 385862 w 798069"/>
              <a:gd name="connsiteY144" fmla="*/ 671512 h 695341"/>
              <a:gd name="connsiteX145" fmla="*/ 314424 w 798069"/>
              <a:gd name="connsiteY145" fmla="*/ 673893 h 695341"/>
              <a:gd name="connsiteX146" fmla="*/ 300137 w 798069"/>
              <a:gd name="connsiteY146" fmla="*/ 676275 h 695341"/>
              <a:gd name="connsiteX147" fmla="*/ 297755 w 798069"/>
              <a:gd name="connsiteY147" fmla="*/ 666750 h 695341"/>
              <a:gd name="connsiteX148" fmla="*/ 292993 w 798069"/>
              <a:gd name="connsiteY148" fmla="*/ 652462 h 695341"/>
              <a:gd name="connsiteX149" fmla="*/ 288230 w 798069"/>
              <a:gd name="connsiteY149" fmla="*/ 638175 h 695341"/>
              <a:gd name="connsiteX150" fmla="*/ 281087 w 798069"/>
              <a:gd name="connsiteY150" fmla="*/ 633412 h 695341"/>
              <a:gd name="connsiteX151" fmla="*/ 271562 w 798069"/>
              <a:gd name="connsiteY151" fmla="*/ 635793 h 695341"/>
              <a:gd name="connsiteX152" fmla="*/ 269180 w 798069"/>
              <a:gd name="connsiteY152" fmla="*/ 642937 h 695341"/>
              <a:gd name="connsiteX153" fmla="*/ 257274 w 798069"/>
              <a:gd name="connsiteY153" fmla="*/ 657225 h 695341"/>
              <a:gd name="connsiteX154" fmla="*/ 250130 w 798069"/>
              <a:gd name="connsiteY154" fmla="*/ 659606 h 695341"/>
              <a:gd name="connsiteX155" fmla="*/ 238224 w 798069"/>
              <a:gd name="connsiteY155" fmla="*/ 671512 h 695341"/>
              <a:gd name="connsiteX156" fmla="*/ 235843 w 798069"/>
              <a:gd name="connsiteY156" fmla="*/ 678656 h 695341"/>
              <a:gd name="connsiteX157" fmla="*/ 233462 w 798069"/>
              <a:gd name="connsiteY157" fmla="*/ 688181 h 695341"/>
              <a:gd name="connsiteX158" fmla="*/ 226318 w 798069"/>
              <a:gd name="connsiteY158" fmla="*/ 690562 h 695341"/>
              <a:gd name="connsiteX159" fmla="*/ 212030 w 798069"/>
              <a:gd name="connsiteY159" fmla="*/ 688181 h 695341"/>
              <a:gd name="connsiteX160" fmla="*/ 204887 w 798069"/>
              <a:gd name="connsiteY160" fmla="*/ 685800 h 695341"/>
              <a:gd name="connsiteX161" fmla="*/ 173930 w 798069"/>
              <a:gd name="connsiteY161" fmla="*/ 688181 h 695341"/>
              <a:gd name="connsiteX162" fmla="*/ 164405 w 798069"/>
              <a:gd name="connsiteY162" fmla="*/ 685800 h 695341"/>
              <a:gd name="connsiteX163" fmla="*/ 154880 w 798069"/>
              <a:gd name="connsiteY163" fmla="*/ 664368 h 695341"/>
              <a:gd name="connsiteX164" fmla="*/ 140593 w 798069"/>
              <a:gd name="connsiteY164" fmla="*/ 654843 h 695341"/>
              <a:gd name="connsiteX165" fmla="*/ 133449 w 798069"/>
              <a:gd name="connsiteY165" fmla="*/ 657225 h 695341"/>
              <a:gd name="connsiteX166" fmla="*/ 119162 w 798069"/>
              <a:gd name="connsiteY166" fmla="*/ 669131 h 695341"/>
              <a:gd name="connsiteX167" fmla="*/ 112018 w 798069"/>
              <a:gd name="connsiteY167" fmla="*/ 673893 h 695341"/>
              <a:gd name="connsiteX168" fmla="*/ 95349 w 798069"/>
              <a:gd name="connsiteY168" fmla="*/ 671512 h 695341"/>
              <a:gd name="connsiteX169" fmla="*/ 85824 w 798069"/>
              <a:gd name="connsiteY169" fmla="*/ 659606 h 695341"/>
              <a:gd name="connsiteX170" fmla="*/ 78680 w 798069"/>
              <a:gd name="connsiteY170" fmla="*/ 654843 h 695341"/>
              <a:gd name="connsiteX171" fmla="*/ 73918 w 798069"/>
              <a:gd name="connsiteY171" fmla="*/ 661987 h 695341"/>
              <a:gd name="connsiteX172" fmla="*/ 66774 w 798069"/>
              <a:gd name="connsiteY172" fmla="*/ 671512 h 695341"/>
              <a:gd name="connsiteX173" fmla="*/ 64393 w 798069"/>
              <a:gd name="connsiteY173" fmla="*/ 678656 h 695341"/>
              <a:gd name="connsiteX174" fmla="*/ 57249 w 798069"/>
              <a:gd name="connsiteY174" fmla="*/ 683418 h 695341"/>
              <a:gd name="connsiteX175" fmla="*/ 50105 w 798069"/>
              <a:gd name="connsiteY175" fmla="*/ 685800 h 695341"/>
              <a:gd name="connsiteX176" fmla="*/ 28674 w 798069"/>
              <a:gd name="connsiteY176" fmla="*/ 695325 h 695341"/>
              <a:gd name="connsiteX0" fmla="*/ 28674 w 798069"/>
              <a:gd name="connsiteY0" fmla="*/ 695325 h 695341"/>
              <a:gd name="connsiteX1" fmla="*/ 31055 w 798069"/>
              <a:gd name="connsiteY1" fmla="*/ 683418 h 695341"/>
              <a:gd name="connsiteX2" fmla="*/ 23912 w 798069"/>
              <a:gd name="connsiteY2" fmla="*/ 654843 h 695341"/>
              <a:gd name="connsiteX3" fmla="*/ 19149 w 798069"/>
              <a:gd name="connsiteY3" fmla="*/ 647700 h 695341"/>
              <a:gd name="connsiteX4" fmla="*/ 12005 w 798069"/>
              <a:gd name="connsiteY4" fmla="*/ 626268 h 695341"/>
              <a:gd name="connsiteX5" fmla="*/ 9624 w 798069"/>
              <a:gd name="connsiteY5" fmla="*/ 619125 h 695341"/>
              <a:gd name="connsiteX6" fmla="*/ 12005 w 798069"/>
              <a:gd name="connsiteY6" fmla="*/ 533400 h 695341"/>
              <a:gd name="connsiteX7" fmla="*/ 16768 w 798069"/>
              <a:gd name="connsiteY7" fmla="*/ 519112 h 695341"/>
              <a:gd name="connsiteX8" fmla="*/ 21530 w 798069"/>
              <a:gd name="connsiteY8" fmla="*/ 511968 h 695341"/>
              <a:gd name="connsiteX9" fmla="*/ 19149 w 798069"/>
              <a:gd name="connsiteY9" fmla="*/ 492918 h 695341"/>
              <a:gd name="connsiteX10" fmla="*/ 4862 w 798069"/>
              <a:gd name="connsiteY10" fmla="*/ 481012 h 695341"/>
              <a:gd name="connsiteX11" fmla="*/ 99 w 798069"/>
              <a:gd name="connsiteY11" fmla="*/ 473868 h 695341"/>
              <a:gd name="connsiteX12" fmla="*/ 2480 w 798069"/>
              <a:gd name="connsiteY12" fmla="*/ 464343 h 695341"/>
              <a:gd name="connsiteX13" fmla="*/ 23912 w 798069"/>
              <a:gd name="connsiteY13" fmla="*/ 447675 h 695341"/>
              <a:gd name="connsiteX14" fmla="*/ 38199 w 798069"/>
              <a:gd name="connsiteY14" fmla="*/ 433387 h 695341"/>
              <a:gd name="connsiteX15" fmla="*/ 52487 w 798069"/>
              <a:gd name="connsiteY15" fmla="*/ 421481 h 695341"/>
              <a:gd name="connsiteX16" fmla="*/ 57249 w 798069"/>
              <a:gd name="connsiteY16" fmla="*/ 414337 h 695341"/>
              <a:gd name="connsiteX17" fmla="*/ 62012 w 798069"/>
              <a:gd name="connsiteY17" fmla="*/ 388143 h 695341"/>
              <a:gd name="connsiteX18" fmla="*/ 69155 w 798069"/>
              <a:gd name="connsiteY18" fmla="*/ 364331 h 695341"/>
              <a:gd name="connsiteX19" fmla="*/ 73918 w 798069"/>
              <a:gd name="connsiteY19" fmla="*/ 357187 h 695341"/>
              <a:gd name="connsiteX20" fmla="*/ 76299 w 798069"/>
              <a:gd name="connsiteY20" fmla="*/ 350043 h 695341"/>
              <a:gd name="connsiteX21" fmla="*/ 88205 w 798069"/>
              <a:gd name="connsiteY21" fmla="*/ 333375 h 695341"/>
              <a:gd name="connsiteX22" fmla="*/ 100112 w 798069"/>
              <a:gd name="connsiteY22" fmla="*/ 321468 h 695341"/>
              <a:gd name="connsiteX23" fmla="*/ 112018 w 798069"/>
              <a:gd name="connsiteY23" fmla="*/ 307181 h 695341"/>
              <a:gd name="connsiteX24" fmla="*/ 121543 w 798069"/>
              <a:gd name="connsiteY24" fmla="*/ 292893 h 695341"/>
              <a:gd name="connsiteX25" fmla="*/ 133449 w 798069"/>
              <a:gd name="connsiteY25" fmla="*/ 278606 h 695341"/>
              <a:gd name="connsiteX26" fmla="*/ 138212 w 798069"/>
              <a:gd name="connsiteY26" fmla="*/ 269081 h 695341"/>
              <a:gd name="connsiteX27" fmla="*/ 147737 w 798069"/>
              <a:gd name="connsiteY27" fmla="*/ 254793 h 695341"/>
              <a:gd name="connsiteX28" fmla="*/ 159643 w 798069"/>
              <a:gd name="connsiteY28" fmla="*/ 233362 h 695341"/>
              <a:gd name="connsiteX29" fmla="*/ 164405 w 798069"/>
              <a:gd name="connsiteY29" fmla="*/ 223837 h 695341"/>
              <a:gd name="connsiteX30" fmla="*/ 169168 w 798069"/>
              <a:gd name="connsiteY30" fmla="*/ 216693 h 695341"/>
              <a:gd name="connsiteX31" fmla="*/ 176312 w 798069"/>
              <a:gd name="connsiteY31" fmla="*/ 202406 h 695341"/>
              <a:gd name="connsiteX32" fmla="*/ 185837 w 798069"/>
              <a:gd name="connsiteY32" fmla="*/ 188118 h 695341"/>
              <a:gd name="connsiteX33" fmla="*/ 183455 w 798069"/>
              <a:gd name="connsiteY33" fmla="*/ 166687 h 695341"/>
              <a:gd name="connsiteX34" fmla="*/ 173930 w 798069"/>
              <a:gd name="connsiteY34" fmla="*/ 159543 h 695341"/>
              <a:gd name="connsiteX35" fmla="*/ 169168 w 798069"/>
              <a:gd name="connsiteY35" fmla="*/ 152400 h 695341"/>
              <a:gd name="connsiteX36" fmla="*/ 171549 w 798069"/>
              <a:gd name="connsiteY36" fmla="*/ 126206 h 695341"/>
              <a:gd name="connsiteX37" fmla="*/ 176312 w 798069"/>
              <a:gd name="connsiteY37" fmla="*/ 119062 h 695341"/>
              <a:gd name="connsiteX38" fmla="*/ 178693 w 798069"/>
              <a:gd name="connsiteY38" fmla="*/ 111918 h 695341"/>
              <a:gd name="connsiteX39" fmla="*/ 185837 w 798069"/>
              <a:gd name="connsiteY39" fmla="*/ 97631 h 695341"/>
              <a:gd name="connsiteX40" fmla="*/ 183455 w 798069"/>
              <a:gd name="connsiteY40" fmla="*/ 85725 h 695341"/>
              <a:gd name="connsiteX41" fmla="*/ 178693 w 798069"/>
              <a:gd name="connsiteY41" fmla="*/ 78581 h 695341"/>
              <a:gd name="connsiteX42" fmla="*/ 190599 w 798069"/>
              <a:gd name="connsiteY42" fmla="*/ 52387 h 695341"/>
              <a:gd name="connsiteX43" fmla="*/ 197743 w 798069"/>
              <a:gd name="connsiteY43" fmla="*/ 50006 h 695341"/>
              <a:gd name="connsiteX44" fmla="*/ 219174 w 798069"/>
              <a:gd name="connsiteY44" fmla="*/ 30956 h 695341"/>
              <a:gd name="connsiteX45" fmla="*/ 231080 w 798069"/>
              <a:gd name="connsiteY45" fmla="*/ 19050 h 695341"/>
              <a:gd name="connsiteX46" fmla="*/ 235843 w 798069"/>
              <a:gd name="connsiteY46" fmla="*/ 11906 h 695341"/>
              <a:gd name="connsiteX47" fmla="*/ 242987 w 798069"/>
              <a:gd name="connsiteY47" fmla="*/ 14287 h 695341"/>
              <a:gd name="connsiteX48" fmla="*/ 247749 w 798069"/>
              <a:gd name="connsiteY48" fmla="*/ 30956 h 695341"/>
              <a:gd name="connsiteX49" fmla="*/ 250130 w 798069"/>
              <a:gd name="connsiteY49" fmla="*/ 78581 h 695341"/>
              <a:gd name="connsiteX50" fmla="*/ 257275 w 798069"/>
              <a:gd name="connsiteY50" fmla="*/ 78581 h 695341"/>
              <a:gd name="connsiteX51" fmla="*/ 273943 w 798069"/>
              <a:gd name="connsiteY51" fmla="*/ 88105 h 695341"/>
              <a:gd name="connsiteX52" fmla="*/ 281087 w 798069"/>
              <a:gd name="connsiteY52" fmla="*/ 102393 h 695341"/>
              <a:gd name="connsiteX53" fmla="*/ 288230 w 798069"/>
              <a:gd name="connsiteY53" fmla="*/ 104775 h 695341"/>
              <a:gd name="connsiteX54" fmla="*/ 307280 w 798069"/>
              <a:gd name="connsiteY54" fmla="*/ 102393 h 695341"/>
              <a:gd name="connsiteX55" fmla="*/ 319187 w 798069"/>
              <a:gd name="connsiteY55" fmla="*/ 100012 h 695341"/>
              <a:gd name="connsiteX56" fmla="*/ 352524 w 798069"/>
              <a:gd name="connsiteY56" fmla="*/ 102393 h 695341"/>
              <a:gd name="connsiteX57" fmla="*/ 354905 w 798069"/>
              <a:gd name="connsiteY57" fmla="*/ 109537 h 695341"/>
              <a:gd name="connsiteX58" fmla="*/ 359668 w 798069"/>
              <a:gd name="connsiteY58" fmla="*/ 147637 h 695341"/>
              <a:gd name="connsiteX59" fmla="*/ 364430 w 798069"/>
              <a:gd name="connsiteY59" fmla="*/ 157162 h 695341"/>
              <a:gd name="connsiteX60" fmla="*/ 371574 w 798069"/>
              <a:gd name="connsiteY60" fmla="*/ 159543 h 695341"/>
              <a:gd name="connsiteX61" fmla="*/ 414437 w 798069"/>
              <a:gd name="connsiteY61" fmla="*/ 157162 h 695341"/>
              <a:gd name="connsiteX62" fmla="*/ 428724 w 798069"/>
              <a:gd name="connsiteY62" fmla="*/ 150018 h 695341"/>
              <a:gd name="connsiteX63" fmla="*/ 435868 w 798069"/>
              <a:gd name="connsiteY63" fmla="*/ 142875 h 695341"/>
              <a:gd name="connsiteX64" fmla="*/ 450155 w 798069"/>
              <a:gd name="connsiteY64" fmla="*/ 133350 h 695341"/>
              <a:gd name="connsiteX65" fmla="*/ 457299 w 798069"/>
              <a:gd name="connsiteY65" fmla="*/ 128587 h 695341"/>
              <a:gd name="connsiteX66" fmla="*/ 464443 w 798069"/>
              <a:gd name="connsiteY66" fmla="*/ 126206 h 695341"/>
              <a:gd name="connsiteX67" fmla="*/ 478730 w 798069"/>
              <a:gd name="connsiteY67" fmla="*/ 116681 h 695341"/>
              <a:gd name="connsiteX68" fmla="*/ 490637 w 798069"/>
              <a:gd name="connsiteY68" fmla="*/ 95250 h 695341"/>
              <a:gd name="connsiteX69" fmla="*/ 493018 w 798069"/>
              <a:gd name="connsiteY69" fmla="*/ 78581 h 695341"/>
              <a:gd name="connsiteX70" fmla="*/ 495399 w 798069"/>
              <a:gd name="connsiteY70" fmla="*/ 71437 h 695341"/>
              <a:gd name="connsiteX71" fmla="*/ 502543 w 798069"/>
              <a:gd name="connsiteY71" fmla="*/ 45243 h 695341"/>
              <a:gd name="connsiteX72" fmla="*/ 512068 w 798069"/>
              <a:gd name="connsiteY72" fmla="*/ 0 h 695341"/>
              <a:gd name="connsiteX73" fmla="*/ 523974 w 798069"/>
              <a:gd name="connsiteY73" fmla="*/ 9525 h 695341"/>
              <a:gd name="connsiteX74" fmla="*/ 531118 w 798069"/>
              <a:gd name="connsiteY74" fmla="*/ 16668 h 695341"/>
              <a:gd name="connsiteX75" fmla="*/ 540643 w 798069"/>
              <a:gd name="connsiteY75" fmla="*/ 30956 h 695341"/>
              <a:gd name="connsiteX76" fmla="*/ 550168 w 798069"/>
              <a:gd name="connsiteY76" fmla="*/ 45243 h 695341"/>
              <a:gd name="connsiteX77" fmla="*/ 562074 w 798069"/>
              <a:gd name="connsiteY77" fmla="*/ 59531 h 695341"/>
              <a:gd name="connsiteX78" fmla="*/ 590649 w 798069"/>
              <a:gd name="connsiteY78" fmla="*/ 66675 h 695341"/>
              <a:gd name="connsiteX79" fmla="*/ 604937 w 798069"/>
              <a:gd name="connsiteY79" fmla="*/ 73818 h 695341"/>
              <a:gd name="connsiteX80" fmla="*/ 609699 w 798069"/>
              <a:gd name="connsiteY80" fmla="*/ 80962 h 695341"/>
              <a:gd name="connsiteX81" fmla="*/ 616843 w 798069"/>
              <a:gd name="connsiteY81" fmla="*/ 88106 h 695341"/>
              <a:gd name="connsiteX82" fmla="*/ 628749 w 798069"/>
              <a:gd name="connsiteY82" fmla="*/ 100012 h 695341"/>
              <a:gd name="connsiteX83" fmla="*/ 638274 w 798069"/>
              <a:gd name="connsiteY83" fmla="*/ 114300 h 695341"/>
              <a:gd name="connsiteX84" fmla="*/ 645418 w 798069"/>
              <a:gd name="connsiteY84" fmla="*/ 119062 h 695341"/>
              <a:gd name="connsiteX85" fmla="*/ 688280 w 798069"/>
              <a:gd name="connsiteY85" fmla="*/ 123825 h 695341"/>
              <a:gd name="connsiteX86" fmla="*/ 709712 w 798069"/>
              <a:gd name="connsiteY86" fmla="*/ 142875 h 695341"/>
              <a:gd name="connsiteX87" fmla="*/ 726380 w 798069"/>
              <a:gd name="connsiteY87" fmla="*/ 147637 h 695341"/>
              <a:gd name="connsiteX88" fmla="*/ 740668 w 798069"/>
              <a:gd name="connsiteY88" fmla="*/ 152400 h 695341"/>
              <a:gd name="connsiteX89" fmla="*/ 754955 w 798069"/>
              <a:gd name="connsiteY89" fmla="*/ 159543 h 695341"/>
              <a:gd name="connsiteX90" fmla="*/ 766862 w 798069"/>
              <a:gd name="connsiteY90" fmla="*/ 183356 h 695341"/>
              <a:gd name="connsiteX91" fmla="*/ 769243 w 798069"/>
              <a:gd name="connsiteY91" fmla="*/ 211931 h 695341"/>
              <a:gd name="connsiteX92" fmla="*/ 771624 w 798069"/>
              <a:gd name="connsiteY92" fmla="*/ 219075 h 695341"/>
              <a:gd name="connsiteX93" fmla="*/ 774005 w 798069"/>
              <a:gd name="connsiteY93" fmla="*/ 309562 h 695341"/>
              <a:gd name="connsiteX94" fmla="*/ 776387 w 798069"/>
              <a:gd name="connsiteY94" fmla="*/ 316706 h 695341"/>
              <a:gd name="connsiteX95" fmla="*/ 790674 w 798069"/>
              <a:gd name="connsiteY95" fmla="*/ 326231 h 695341"/>
              <a:gd name="connsiteX96" fmla="*/ 795437 w 798069"/>
              <a:gd name="connsiteY96" fmla="*/ 333375 h 695341"/>
              <a:gd name="connsiteX97" fmla="*/ 795437 w 798069"/>
              <a:gd name="connsiteY97" fmla="*/ 357187 h 695341"/>
              <a:gd name="connsiteX98" fmla="*/ 790674 w 798069"/>
              <a:gd name="connsiteY98" fmla="*/ 364331 h 695341"/>
              <a:gd name="connsiteX99" fmla="*/ 776387 w 798069"/>
              <a:gd name="connsiteY99" fmla="*/ 373856 h 695341"/>
              <a:gd name="connsiteX100" fmla="*/ 738287 w 798069"/>
              <a:gd name="connsiteY100" fmla="*/ 366712 h 695341"/>
              <a:gd name="connsiteX101" fmla="*/ 731143 w 798069"/>
              <a:gd name="connsiteY101" fmla="*/ 359568 h 695341"/>
              <a:gd name="connsiteX102" fmla="*/ 716855 w 798069"/>
              <a:gd name="connsiteY102" fmla="*/ 354806 h 695341"/>
              <a:gd name="connsiteX103" fmla="*/ 709712 w 798069"/>
              <a:gd name="connsiteY103" fmla="*/ 357187 h 695341"/>
              <a:gd name="connsiteX104" fmla="*/ 697805 w 798069"/>
              <a:gd name="connsiteY104" fmla="*/ 378618 h 695341"/>
              <a:gd name="connsiteX105" fmla="*/ 690662 w 798069"/>
              <a:gd name="connsiteY105" fmla="*/ 392906 h 695341"/>
              <a:gd name="connsiteX106" fmla="*/ 697805 w 798069"/>
              <a:gd name="connsiteY106" fmla="*/ 395287 h 695341"/>
              <a:gd name="connsiteX107" fmla="*/ 709712 w 798069"/>
              <a:gd name="connsiteY107" fmla="*/ 397668 h 695341"/>
              <a:gd name="connsiteX108" fmla="*/ 716855 w 798069"/>
              <a:gd name="connsiteY108" fmla="*/ 404812 h 695341"/>
              <a:gd name="connsiteX109" fmla="*/ 728762 w 798069"/>
              <a:gd name="connsiteY109" fmla="*/ 423862 h 695341"/>
              <a:gd name="connsiteX110" fmla="*/ 745430 w 798069"/>
              <a:gd name="connsiteY110" fmla="*/ 426243 h 695341"/>
              <a:gd name="connsiteX111" fmla="*/ 750193 w 798069"/>
              <a:gd name="connsiteY111" fmla="*/ 433387 h 695341"/>
              <a:gd name="connsiteX112" fmla="*/ 747812 w 798069"/>
              <a:gd name="connsiteY112" fmla="*/ 454818 h 695341"/>
              <a:gd name="connsiteX113" fmla="*/ 745430 w 798069"/>
              <a:gd name="connsiteY113" fmla="*/ 464343 h 695341"/>
              <a:gd name="connsiteX114" fmla="*/ 735905 w 798069"/>
              <a:gd name="connsiteY114" fmla="*/ 485775 h 695341"/>
              <a:gd name="connsiteX115" fmla="*/ 728762 w 798069"/>
              <a:gd name="connsiteY115" fmla="*/ 488156 h 695341"/>
              <a:gd name="connsiteX116" fmla="*/ 721618 w 798069"/>
              <a:gd name="connsiteY116" fmla="*/ 492918 h 695341"/>
              <a:gd name="connsiteX117" fmla="*/ 716855 w 798069"/>
              <a:gd name="connsiteY117" fmla="*/ 509587 h 695341"/>
              <a:gd name="connsiteX118" fmla="*/ 712093 w 798069"/>
              <a:gd name="connsiteY118" fmla="*/ 516731 h 695341"/>
              <a:gd name="connsiteX119" fmla="*/ 704949 w 798069"/>
              <a:gd name="connsiteY119" fmla="*/ 519112 h 695341"/>
              <a:gd name="connsiteX120" fmla="*/ 697805 w 798069"/>
              <a:gd name="connsiteY120" fmla="*/ 523875 h 695341"/>
              <a:gd name="connsiteX121" fmla="*/ 669230 w 798069"/>
              <a:gd name="connsiteY121" fmla="*/ 528637 h 695341"/>
              <a:gd name="connsiteX122" fmla="*/ 662087 w 798069"/>
              <a:gd name="connsiteY122" fmla="*/ 535781 h 695341"/>
              <a:gd name="connsiteX123" fmla="*/ 650180 w 798069"/>
              <a:gd name="connsiteY123" fmla="*/ 547687 h 695341"/>
              <a:gd name="connsiteX124" fmla="*/ 635893 w 798069"/>
              <a:gd name="connsiteY124" fmla="*/ 550068 h 695341"/>
              <a:gd name="connsiteX125" fmla="*/ 614462 w 798069"/>
              <a:gd name="connsiteY125" fmla="*/ 561975 h 695341"/>
              <a:gd name="connsiteX126" fmla="*/ 607318 w 798069"/>
              <a:gd name="connsiteY126" fmla="*/ 564356 h 695341"/>
              <a:gd name="connsiteX127" fmla="*/ 593030 w 798069"/>
              <a:gd name="connsiteY127" fmla="*/ 573881 h 695341"/>
              <a:gd name="connsiteX128" fmla="*/ 562074 w 798069"/>
              <a:gd name="connsiteY128" fmla="*/ 576262 h 695341"/>
              <a:gd name="connsiteX129" fmla="*/ 540643 w 798069"/>
              <a:gd name="connsiteY129" fmla="*/ 590550 h 695341"/>
              <a:gd name="connsiteX130" fmla="*/ 533499 w 798069"/>
              <a:gd name="connsiteY130" fmla="*/ 595312 h 695341"/>
              <a:gd name="connsiteX131" fmla="*/ 526355 w 798069"/>
              <a:gd name="connsiteY131" fmla="*/ 597693 h 695341"/>
              <a:gd name="connsiteX132" fmla="*/ 514449 w 798069"/>
              <a:gd name="connsiteY132" fmla="*/ 611981 h 695341"/>
              <a:gd name="connsiteX133" fmla="*/ 512068 w 798069"/>
              <a:gd name="connsiteY133" fmla="*/ 619125 h 695341"/>
              <a:gd name="connsiteX134" fmla="*/ 507305 w 798069"/>
              <a:gd name="connsiteY134" fmla="*/ 640556 h 695341"/>
              <a:gd name="connsiteX135" fmla="*/ 502543 w 798069"/>
              <a:gd name="connsiteY135" fmla="*/ 654843 h 695341"/>
              <a:gd name="connsiteX136" fmla="*/ 500162 w 798069"/>
              <a:gd name="connsiteY136" fmla="*/ 661987 h 695341"/>
              <a:gd name="connsiteX137" fmla="*/ 493018 w 798069"/>
              <a:gd name="connsiteY137" fmla="*/ 664368 h 695341"/>
              <a:gd name="connsiteX138" fmla="*/ 485874 w 798069"/>
              <a:gd name="connsiteY138" fmla="*/ 659606 h 695341"/>
              <a:gd name="connsiteX139" fmla="*/ 471587 w 798069"/>
              <a:gd name="connsiteY139" fmla="*/ 645318 h 695341"/>
              <a:gd name="connsiteX140" fmla="*/ 447774 w 798069"/>
              <a:gd name="connsiteY140" fmla="*/ 647700 h 695341"/>
              <a:gd name="connsiteX141" fmla="*/ 435868 w 798069"/>
              <a:gd name="connsiteY141" fmla="*/ 659606 h 695341"/>
              <a:gd name="connsiteX142" fmla="*/ 414437 w 798069"/>
              <a:gd name="connsiteY142" fmla="*/ 671512 h 695341"/>
              <a:gd name="connsiteX143" fmla="*/ 407293 w 798069"/>
              <a:gd name="connsiteY143" fmla="*/ 676275 h 695341"/>
              <a:gd name="connsiteX144" fmla="*/ 385862 w 798069"/>
              <a:gd name="connsiteY144" fmla="*/ 671512 h 695341"/>
              <a:gd name="connsiteX145" fmla="*/ 314424 w 798069"/>
              <a:gd name="connsiteY145" fmla="*/ 673893 h 695341"/>
              <a:gd name="connsiteX146" fmla="*/ 300137 w 798069"/>
              <a:gd name="connsiteY146" fmla="*/ 676275 h 695341"/>
              <a:gd name="connsiteX147" fmla="*/ 297755 w 798069"/>
              <a:gd name="connsiteY147" fmla="*/ 666750 h 695341"/>
              <a:gd name="connsiteX148" fmla="*/ 292993 w 798069"/>
              <a:gd name="connsiteY148" fmla="*/ 652462 h 695341"/>
              <a:gd name="connsiteX149" fmla="*/ 288230 w 798069"/>
              <a:gd name="connsiteY149" fmla="*/ 638175 h 695341"/>
              <a:gd name="connsiteX150" fmla="*/ 281087 w 798069"/>
              <a:gd name="connsiteY150" fmla="*/ 633412 h 695341"/>
              <a:gd name="connsiteX151" fmla="*/ 271562 w 798069"/>
              <a:gd name="connsiteY151" fmla="*/ 635793 h 695341"/>
              <a:gd name="connsiteX152" fmla="*/ 269180 w 798069"/>
              <a:gd name="connsiteY152" fmla="*/ 642937 h 695341"/>
              <a:gd name="connsiteX153" fmla="*/ 257274 w 798069"/>
              <a:gd name="connsiteY153" fmla="*/ 657225 h 695341"/>
              <a:gd name="connsiteX154" fmla="*/ 250130 w 798069"/>
              <a:gd name="connsiteY154" fmla="*/ 659606 h 695341"/>
              <a:gd name="connsiteX155" fmla="*/ 238224 w 798069"/>
              <a:gd name="connsiteY155" fmla="*/ 671512 h 695341"/>
              <a:gd name="connsiteX156" fmla="*/ 235843 w 798069"/>
              <a:gd name="connsiteY156" fmla="*/ 678656 h 695341"/>
              <a:gd name="connsiteX157" fmla="*/ 233462 w 798069"/>
              <a:gd name="connsiteY157" fmla="*/ 688181 h 695341"/>
              <a:gd name="connsiteX158" fmla="*/ 226318 w 798069"/>
              <a:gd name="connsiteY158" fmla="*/ 690562 h 695341"/>
              <a:gd name="connsiteX159" fmla="*/ 212030 w 798069"/>
              <a:gd name="connsiteY159" fmla="*/ 688181 h 695341"/>
              <a:gd name="connsiteX160" fmla="*/ 204887 w 798069"/>
              <a:gd name="connsiteY160" fmla="*/ 685800 h 695341"/>
              <a:gd name="connsiteX161" fmla="*/ 173930 w 798069"/>
              <a:gd name="connsiteY161" fmla="*/ 688181 h 695341"/>
              <a:gd name="connsiteX162" fmla="*/ 164405 w 798069"/>
              <a:gd name="connsiteY162" fmla="*/ 685800 h 695341"/>
              <a:gd name="connsiteX163" fmla="*/ 154880 w 798069"/>
              <a:gd name="connsiteY163" fmla="*/ 664368 h 695341"/>
              <a:gd name="connsiteX164" fmla="*/ 140593 w 798069"/>
              <a:gd name="connsiteY164" fmla="*/ 654843 h 695341"/>
              <a:gd name="connsiteX165" fmla="*/ 133449 w 798069"/>
              <a:gd name="connsiteY165" fmla="*/ 657225 h 695341"/>
              <a:gd name="connsiteX166" fmla="*/ 119162 w 798069"/>
              <a:gd name="connsiteY166" fmla="*/ 669131 h 695341"/>
              <a:gd name="connsiteX167" fmla="*/ 112018 w 798069"/>
              <a:gd name="connsiteY167" fmla="*/ 673893 h 695341"/>
              <a:gd name="connsiteX168" fmla="*/ 95349 w 798069"/>
              <a:gd name="connsiteY168" fmla="*/ 671512 h 695341"/>
              <a:gd name="connsiteX169" fmla="*/ 85824 w 798069"/>
              <a:gd name="connsiteY169" fmla="*/ 659606 h 695341"/>
              <a:gd name="connsiteX170" fmla="*/ 78680 w 798069"/>
              <a:gd name="connsiteY170" fmla="*/ 654843 h 695341"/>
              <a:gd name="connsiteX171" fmla="*/ 73918 w 798069"/>
              <a:gd name="connsiteY171" fmla="*/ 661987 h 695341"/>
              <a:gd name="connsiteX172" fmla="*/ 66774 w 798069"/>
              <a:gd name="connsiteY172" fmla="*/ 671512 h 695341"/>
              <a:gd name="connsiteX173" fmla="*/ 64393 w 798069"/>
              <a:gd name="connsiteY173" fmla="*/ 678656 h 695341"/>
              <a:gd name="connsiteX174" fmla="*/ 57249 w 798069"/>
              <a:gd name="connsiteY174" fmla="*/ 683418 h 695341"/>
              <a:gd name="connsiteX175" fmla="*/ 50105 w 798069"/>
              <a:gd name="connsiteY175" fmla="*/ 685800 h 695341"/>
              <a:gd name="connsiteX176" fmla="*/ 28674 w 798069"/>
              <a:gd name="connsiteY176" fmla="*/ 695325 h 695341"/>
              <a:gd name="connsiteX0" fmla="*/ 28674 w 798069"/>
              <a:gd name="connsiteY0" fmla="*/ 695325 h 695341"/>
              <a:gd name="connsiteX1" fmla="*/ 31055 w 798069"/>
              <a:gd name="connsiteY1" fmla="*/ 683418 h 695341"/>
              <a:gd name="connsiteX2" fmla="*/ 23912 w 798069"/>
              <a:gd name="connsiteY2" fmla="*/ 654843 h 695341"/>
              <a:gd name="connsiteX3" fmla="*/ 19149 w 798069"/>
              <a:gd name="connsiteY3" fmla="*/ 647700 h 695341"/>
              <a:gd name="connsiteX4" fmla="*/ 12005 w 798069"/>
              <a:gd name="connsiteY4" fmla="*/ 626268 h 695341"/>
              <a:gd name="connsiteX5" fmla="*/ 9624 w 798069"/>
              <a:gd name="connsiteY5" fmla="*/ 619125 h 695341"/>
              <a:gd name="connsiteX6" fmla="*/ 12005 w 798069"/>
              <a:gd name="connsiteY6" fmla="*/ 533400 h 695341"/>
              <a:gd name="connsiteX7" fmla="*/ 16768 w 798069"/>
              <a:gd name="connsiteY7" fmla="*/ 519112 h 695341"/>
              <a:gd name="connsiteX8" fmla="*/ 21530 w 798069"/>
              <a:gd name="connsiteY8" fmla="*/ 511968 h 695341"/>
              <a:gd name="connsiteX9" fmla="*/ 19149 w 798069"/>
              <a:gd name="connsiteY9" fmla="*/ 492918 h 695341"/>
              <a:gd name="connsiteX10" fmla="*/ 4862 w 798069"/>
              <a:gd name="connsiteY10" fmla="*/ 481012 h 695341"/>
              <a:gd name="connsiteX11" fmla="*/ 99 w 798069"/>
              <a:gd name="connsiteY11" fmla="*/ 473868 h 695341"/>
              <a:gd name="connsiteX12" fmla="*/ 2480 w 798069"/>
              <a:gd name="connsiteY12" fmla="*/ 464343 h 695341"/>
              <a:gd name="connsiteX13" fmla="*/ 23912 w 798069"/>
              <a:gd name="connsiteY13" fmla="*/ 447675 h 695341"/>
              <a:gd name="connsiteX14" fmla="*/ 38199 w 798069"/>
              <a:gd name="connsiteY14" fmla="*/ 433387 h 695341"/>
              <a:gd name="connsiteX15" fmla="*/ 52487 w 798069"/>
              <a:gd name="connsiteY15" fmla="*/ 421481 h 695341"/>
              <a:gd name="connsiteX16" fmla="*/ 57249 w 798069"/>
              <a:gd name="connsiteY16" fmla="*/ 414337 h 695341"/>
              <a:gd name="connsiteX17" fmla="*/ 62012 w 798069"/>
              <a:gd name="connsiteY17" fmla="*/ 388143 h 695341"/>
              <a:gd name="connsiteX18" fmla="*/ 69155 w 798069"/>
              <a:gd name="connsiteY18" fmla="*/ 364331 h 695341"/>
              <a:gd name="connsiteX19" fmla="*/ 73918 w 798069"/>
              <a:gd name="connsiteY19" fmla="*/ 357187 h 695341"/>
              <a:gd name="connsiteX20" fmla="*/ 76299 w 798069"/>
              <a:gd name="connsiteY20" fmla="*/ 350043 h 695341"/>
              <a:gd name="connsiteX21" fmla="*/ 88205 w 798069"/>
              <a:gd name="connsiteY21" fmla="*/ 333375 h 695341"/>
              <a:gd name="connsiteX22" fmla="*/ 100112 w 798069"/>
              <a:gd name="connsiteY22" fmla="*/ 321468 h 695341"/>
              <a:gd name="connsiteX23" fmla="*/ 112018 w 798069"/>
              <a:gd name="connsiteY23" fmla="*/ 307181 h 695341"/>
              <a:gd name="connsiteX24" fmla="*/ 121543 w 798069"/>
              <a:gd name="connsiteY24" fmla="*/ 292893 h 695341"/>
              <a:gd name="connsiteX25" fmla="*/ 133449 w 798069"/>
              <a:gd name="connsiteY25" fmla="*/ 278606 h 695341"/>
              <a:gd name="connsiteX26" fmla="*/ 138212 w 798069"/>
              <a:gd name="connsiteY26" fmla="*/ 269081 h 695341"/>
              <a:gd name="connsiteX27" fmla="*/ 147737 w 798069"/>
              <a:gd name="connsiteY27" fmla="*/ 254793 h 695341"/>
              <a:gd name="connsiteX28" fmla="*/ 159643 w 798069"/>
              <a:gd name="connsiteY28" fmla="*/ 233362 h 695341"/>
              <a:gd name="connsiteX29" fmla="*/ 164405 w 798069"/>
              <a:gd name="connsiteY29" fmla="*/ 223837 h 695341"/>
              <a:gd name="connsiteX30" fmla="*/ 169168 w 798069"/>
              <a:gd name="connsiteY30" fmla="*/ 216693 h 695341"/>
              <a:gd name="connsiteX31" fmla="*/ 176312 w 798069"/>
              <a:gd name="connsiteY31" fmla="*/ 202406 h 695341"/>
              <a:gd name="connsiteX32" fmla="*/ 185837 w 798069"/>
              <a:gd name="connsiteY32" fmla="*/ 188118 h 695341"/>
              <a:gd name="connsiteX33" fmla="*/ 183455 w 798069"/>
              <a:gd name="connsiteY33" fmla="*/ 166687 h 695341"/>
              <a:gd name="connsiteX34" fmla="*/ 173930 w 798069"/>
              <a:gd name="connsiteY34" fmla="*/ 159543 h 695341"/>
              <a:gd name="connsiteX35" fmla="*/ 169168 w 798069"/>
              <a:gd name="connsiteY35" fmla="*/ 152400 h 695341"/>
              <a:gd name="connsiteX36" fmla="*/ 171549 w 798069"/>
              <a:gd name="connsiteY36" fmla="*/ 126206 h 695341"/>
              <a:gd name="connsiteX37" fmla="*/ 176312 w 798069"/>
              <a:gd name="connsiteY37" fmla="*/ 119062 h 695341"/>
              <a:gd name="connsiteX38" fmla="*/ 178693 w 798069"/>
              <a:gd name="connsiteY38" fmla="*/ 111918 h 695341"/>
              <a:gd name="connsiteX39" fmla="*/ 185837 w 798069"/>
              <a:gd name="connsiteY39" fmla="*/ 97631 h 695341"/>
              <a:gd name="connsiteX40" fmla="*/ 183455 w 798069"/>
              <a:gd name="connsiteY40" fmla="*/ 85725 h 695341"/>
              <a:gd name="connsiteX41" fmla="*/ 178693 w 798069"/>
              <a:gd name="connsiteY41" fmla="*/ 78581 h 695341"/>
              <a:gd name="connsiteX42" fmla="*/ 190599 w 798069"/>
              <a:gd name="connsiteY42" fmla="*/ 52387 h 695341"/>
              <a:gd name="connsiteX43" fmla="*/ 197743 w 798069"/>
              <a:gd name="connsiteY43" fmla="*/ 50006 h 695341"/>
              <a:gd name="connsiteX44" fmla="*/ 219174 w 798069"/>
              <a:gd name="connsiteY44" fmla="*/ 30956 h 695341"/>
              <a:gd name="connsiteX45" fmla="*/ 231080 w 798069"/>
              <a:gd name="connsiteY45" fmla="*/ 19050 h 695341"/>
              <a:gd name="connsiteX46" fmla="*/ 235843 w 798069"/>
              <a:gd name="connsiteY46" fmla="*/ 11906 h 695341"/>
              <a:gd name="connsiteX47" fmla="*/ 242987 w 798069"/>
              <a:gd name="connsiteY47" fmla="*/ 14287 h 695341"/>
              <a:gd name="connsiteX48" fmla="*/ 247749 w 798069"/>
              <a:gd name="connsiteY48" fmla="*/ 30956 h 695341"/>
              <a:gd name="connsiteX49" fmla="*/ 250130 w 798069"/>
              <a:gd name="connsiteY49" fmla="*/ 78581 h 695341"/>
              <a:gd name="connsiteX50" fmla="*/ 257275 w 798069"/>
              <a:gd name="connsiteY50" fmla="*/ 78581 h 695341"/>
              <a:gd name="connsiteX51" fmla="*/ 273943 w 798069"/>
              <a:gd name="connsiteY51" fmla="*/ 88105 h 695341"/>
              <a:gd name="connsiteX52" fmla="*/ 281087 w 798069"/>
              <a:gd name="connsiteY52" fmla="*/ 102393 h 695341"/>
              <a:gd name="connsiteX53" fmla="*/ 288230 w 798069"/>
              <a:gd name="connsiteY53" fmla="*/ 104775 h 695341"/>
              <a:gd name="connsiteX54" fmla="*/ 307280 w 798069"/>
              <a:gd name="connsiteY54" fmla="*/ 102393 h 695341"/>
              <a:gd name="connsiteX55" fmla="*/ 319187 w 798069"/>
              <a:gd name="connsiteY55" fmla="*/ 100012 h 695341"/>
              <a:gd name="connsiteX56" fmla="*/ 352524 w 798069"/>
              <a:gd name="connsiteY56" fmla="*/ 102393 h 695341"/>
              <a:gd name="connsiteX57" fmla="*/ 354905 w 798069"/>
              <a:gd name="connsiteY57" fmla="*/ 109537 h 695341"/>
              <a:gd name="connsiteX58" fmla="*/ 359668 w 798069"/>
              <a:gd name="connsiteY58" fmla="*/ 147637 h 695341"/>
              <a:gd name="connsiteX59" fmla="*/ 364430 w 798069"/>
              <a:gd name="connsiteY59" fmla="*/ 157162 h 695341"/>
              <a:gd name="connsiteX60" fmla="*/ 371574 w 798069"/>
              <a:gd name="connsiteY60" fmla="*/ 159543 h 695341"/>
              <a:gd name="connsiteX61" fmla="*/ 414437 w 798069"/>
              <a:gd name="connsiteY61" fmla="*/ 157162 h 695341"/>
              <a:gd name="connsiteX62" fmla="*/ 428724 w 798069"/>
              <a:gd name="connsiteY62" fmla="*/ 150018 h 695341"/>
              <a:gd name="connsiteX63" fmla="*/ 435868 w 798069"/>
              <a:gd name="connsiteY63" fmla="*/ 142875 h 695341"/>
              <a:gd name="connsiteX64" fmla="*/ 450155 w 798069"/>
              <a:gd name="connsiteY64" fmla="*/ 133350 h 695341"/>
              <a:gd name="connsiteX65" fmla="*/ 457299 w 798069"/>
              <a:gd name="connsiteY65" fmla="*/ 128587 h 695341"/>
              <a:gd name="connsiteX66" fmla="*/ 464443 w 798069"/>
              <a:gd name="connsiteY66" fmla="*/ 126206 h 695341"/>
              <a:gd name="connsiteX67" fmla="*/ 478730 w 798069"/>
              <a:gd name="connsiteY67" fmla="*/ 116681 h 695341"/>
              <a:gd name="connsiteX68" fmla="*/ 490637 w 798069"/>
              <a:gd name="connsiteY68" fmla="*/ 95250 h 695341"/>
              <a:gd name="connsiteX69" fmla="*/ 493018 w 798069"/>
              <a:gd name="connsiteY69" fmla="*/ 78581 h 695341"/>
              <a:gd name="connsiteX70" fmla="*/ 495399 w 798069"/>
              <a:gd name="connsiteY70" fmla="*/ 71437 h 695341"/>
              <a:gd name="connsiteX71" fmla="*/ 502543 w 798069"/>
              <a:gd name="connsiteY71" fmla="*/ 45243 h 695341"/>
              <a:gd name="connsiteX72" fmla="*/ 512068 w 798069"/>
              <a:gd name="connsiteY72" fmla="*/ 0 h 695341"/>
              <a:gd name="connsiteX73" fmla="*/ 523974 w 798069"/>
              <a:gd name="connsiteY73" fmla="*/ 9525 h 695341"/>
              <a:gd name="connsiteX74" fmla="*/ 531118 w 798069"/>
              <a:gd name="connsiteY74" fmla="*/ 16668 h 695341"/>
              <a:gd name="connsiteX75" fmla="*/ 540643 w 798069"/>
              <a:gd name="connsiteY75" fmla="*/ 30956 h 695341"/>
              <a:gd name="connsiteX76" fmla="*/ 550168 w 798069"/>
              <a:gd name="connsiteY76" fmla="*/ 45243 h 695341"/>
              <a:gd name="connsiteX77" fmla="*/ 562074 w 798069"/>
              <a:gd name="connsiteY77" fmla="*/ 59531 h 695341"/>
              <a:gd name="connsiteX78" fmla="*/ 590649 w 798069"/>
              <a:gd name="connsiteY78" fmla="*/ 66675 h 695341"/>
              <a:gd name="connsiteX79" fmla="*/ 604937 w 798069"/>
              <a:gd name="connsiteY79" fmla="*/ 73818 h 695341"/>
              <a:gd name="connsiteX80" fmla="*/ 609699 w 798069"/>
              <a:gd name="connsiteY80" fmla="*/ 80962 h 695341"/>
              <a:gd name="connsiteX81" fmla="*/ 616843 w 798069"/>
              <a:gd name="connsiteY81" fmla="*/ 88106 h 695341"/>
              <a:gd name="connsiteX82" fmla="*/ 628749 w 798069"/>
              <a:gd name="connsiteY82" fmla="*/ 100012 h 695341"/>
              <a:gd name="connsiteX83" fmla="*/ 638274 w 798069"/>
              <a:gd name="connsiteY83" fmla="*/ 114300 h 695341"/>
              <a:gd name="connsiteX84" fmla="*/ 645418 w 798069"/>
              <a:gd name="connsiteY84" fmla="*/ 119062 h 695341"/>
              <a:gd name="connsiteX85" fmla="*/ 688280 w 798069"/>
              <a:gd name="connsiteY85" fmla="*/ 123825 h 695341"/>
              <a:gd name="connsiteX86" fmla="*/ 709712 w 798069"/>
              <a:gd name="connsiteY86" fmla="*/ 142875 h 695341"/>
              <a:gd name="connsiteX87" fmla="*/ 726380 w 798069"/>
              <a:gd name="connsiteY87" fmla="*/ 147637 h 695341"/>
              <a:gd name="connsiteX88" fmla="*/ 740668 w 798069"/>
              <a:gd name="connsiteY88" fmla="*/ 152400 h 695341"/>
              <a:gd name="connsiteX89" fmla="*/ 754955 w 798069"/>
              <a:gd name="connsiteY89" fmla="*/ 159543 h 695341"/>
              <a:gd name="connsiteX90" fmla="*/ 766862 w 798069"/>
              <a:gd name="connsiteY90" fmla="*/ 183356 h 695341"/>
              <a:gd name="connsiteX91" fmla="*/ 769243 w 798069"/>
              <a:gd name="connsiteY91" fmla="*/ 211931 h 695341"/>
              <a:gd name="connsiteX92" fmla="*/ 771624 w 798069"/>
              <a:gd name="connsiteY92" fmla="*/ 219075 h 695341"/>
              <a:gd name="connsiteX93" fmla="*/ 774005 w 798069"/>
              <a:gd name="connsiteY93" fmla="*/ 309562 h 695341"/>
              <a:gd name="connsiteX94" fmla="*/ 776387 w 798069"/>
              <a:gd name="connsiteY94" fmla="*/ 316706 h 695341"/>
              <a:gd name="connsiteX95" fmla="*/ 790674 w 798069"/>
              <a:gd name="connsiteY95" fmla="*/ 326231 h 695341"/>
              <a:gd name="connsiteX96" fmla="*/ 795437 w 798069"/>
              <a:gd name="connsiteY96" fmla="*/ 333375 h 695341"/>
              <a:gd name="connsiteX97" fmla="*/ 795437 w 798069"/>
              <a:gd name="connsiteY97" fmla="*/ 357187 h 695341"/>
              <a:gd name="connsiteX98" fmla="*/ 790674 w 798069"/>
              <a:gd name="connsiteY98" fmla="*/ 364331 h 695341"/>
              <a:gd name="connsiteX99" fmla="*/ 776387 w 798069"/>
              <a:gd name="connsiteY99" fmla="*/ 373856 h 695341"/>
              <a:gd name="connsiteX100" fmla="*/ 735906 w 798069"/>
              <a:gd name="connsiteY100" fmla="*/ 378619 h 695341"/>
              <a:gd name="connsiteX101" fmla="*/ 731143 w 798069"/>
              <a:gd name="connsiteY101" fmla="*/ 359568 h 695341"/>
              <a:gd name="connsiteX102" fmla="*/ 716855 w 798069"/>
              <a:gd name="connsiteY102" fmla="*/ 354806 h 695341"/>
              <a:gd name="connsiteX103" fmla="*/ 709712 w 798069"/>
              <a:gd name="connsiteY103" fmla="*/ 357187 h 695341"/>
              <a:gd name="connsiteX104" fmla="*/ 697805 w 798069"/>
              <a:gd name="connsiteY104" fmla="*/ 378618 h 695341"/>
              <a:gd name="connsiteX105" fmla="*/ 690662 w 798069"/>
              <a:gd name="connsiteY105" fmla="*/ 392906 h 695341"/>
              <a:gd name="connsiteX106" fmla="*/ 697805 w 798069"/>
              <a:gd name="connsiteY106" fmla="*/ 395287 h 695341"/>
              <a:gd name="connsiteX107" fmla="*/ 709712 w 798069"/>
              <a:gd name="connsiteY107" fmla="*/ 397668 h 695341"/>
              <a:gd name="connsiteX108" fmla="*/ 716855 w 798069"/>
              <a:gd name="connsiteY108" fmla="*/ 404812 h 695341"/>
              <a:gd name="connsiteX109" fmla="*/ 728762 w 798069"/>
              <a:gd name="connsiteY109" fmla="*/ 423862 h 695341"/>
              <a:gd name="connsiteX110" fmla="*/ 745430 w 798069"/>
              <a:gd name="connsiteY110" fmla="*/ 426243 h 695341"/>
              <a:gd name="connsiteX111" fmla="*/ 750193 w 798069"/>
              <a:gd name="connsiteY111" fmla="*/ 433387 h 695341"/>
              <a:gd name="connsiteX112" fmla="*/ 747812 w 798069"/>
              <a:gd name="connsiteY112" fmla="*/ 454818 h 695341"/>
              <a:gd name="connsiteX113" fmla="*/ 745430 w 798069"/>
              <a:gd name="connsiteY113" fmla="*/ 464343 h 695341"/>
              <a:gd name="connsiteX114" fmla="*/ 735905 w 798069"/>
              <a:gd name="connsiteY114" fmla="*/ 485775 h 695341"/>
              <a:gd name="connsiteX115" fmla="*/ 728762 w 798069"/>
              <a:gd name="connsiteY115" fmla="*/ 488156 h 695341"/>
              <a:gd name="connsiteX116" fmla="*/ 721618 w 798069"/>
              <a:gd name="connsiteY116" fmla="*/ 492918 h 695341"/>
              <a:gd name="connsiteX117" fmla="*/ 716855 w 798069"/>
              <a:gd name="connsiteY117" fmla="*/ 509587 h 695341"/>
              <a:gd name="connsiteX118" fmla="*/ 712093 w 798069"/>
              <a:gd name="connsiteY118" fmla="*/ 516731 h 695341"/>
              <a:gd name="connsiteX119" fmla="*/ 704949 w 798069"/>
              <a:gd name="connsiteY119" fmla="*/ 519112 h 695341"/>
              <a:gd name="connsiteX120" fmla="*/ 697805 w 798069"/>
              <a:gd name="connsiteY120" fmla="*/ 523875 h 695341"/>
              <a:gd name="connsiteX121" fmla="*/ 669230 w 798069"/>
              <a:gd name="connsiteY121" fmla="*/ 528637 h 695341"/>
              <a:gd name="connsiteX122" fmla="*/ 662087 w 798069"/>
              <a:gd name="connsiteY122" fmla="*/ 535781 h 695341"/>
              <a:gd name="connsiteX123" fmla="*/ 650180 w 798069"/>
              <a:gd name="connsiteY123" fmla="*/ 547687 h 695341"/>
              <a:gd name="connsiteX124" fmla="*/ 635893 w 798069"/>
              <a:gd name="connsiteY124" fmla="*/ 550068 h 695341"/>
              <a:gd name="connsiteX125" fmla="*/ 614462 w 798069"/>
              <a:gd name="connsiteY125" fmla="*/ 561975 h 695341"/>
              <a:gd name="connsiteX126" fmla="*/ 607318 w 798069"/>
              <a:gd name="connsiteY126" fmla="*/ 564356 h 695341"/>
              <a:gd name="connsiteX127" fmla="*/ 593030 w 798069"/>
              <a:gd name="connsiteY127" fmla="*/ 573881 h 695341"/>
              <a:gd name="connsiteX128" fmla="*/ 562074 w 798069"/>
              <a:gd name="connsiteY128" fmla="*/ 576262 h 695341"/>
              <a:gd name="connsiteX129" fmla="*/ 540643 w 798069"/>
              <a:gd name="connsiteY129" fmla="*/ 590550 h 695341"/>
              <a:gd name="connsiteX130" fmla="*/ 533499 w 798069"/>
              <a:gd name="connsiteY130" fmla="*/ 595312 h 695341"/>
              <a:gd name="connsiteX131" fmla="*/ 526355 w 798069"/>
              <a:gd name="connsiteY131" fmla="*/ 597693 h 695341"/>
              <a:gd name="connsiteX132" fmla="*/ 514449 w 798069"/>
              <a:gd name="connsiteY132" fmla="*/ 611981 h 695341"/>
              <a:gd name="connsiteX133" fmla="*/ 512068 w 798069"/>
              <a:gd name="connsiteY133" fmla="*/ 619125 h 695341"/>
              <a:gd name="connsiteX134" fmla="*/ 507305 w 798069"/>
              <a:gd name="connsiteY134" fmla="*/ 640556 h 695341"/>
              <a:gd name="connsiteX135" fmla="*/ 502543 w 798069"/>
              <a:gd name="connsiteY135" fmla="*/ 654843 h 695341"/>
              <a:gd name="connsiteX136" fmla="*/ 500162 w 798069"/>
              <a:gd name="connsiteY136" fmla="*/ 661987 h 695341"/>
              <a:gd name="connsiteX137" fmla="*/ 493018 w 798069"/>
              <a:gd name="connsiteY137" fmla="*/ 664368 h 695341"/>
              <a:gd name="connsiteX138" fmla="*/ 485874 w 798069"/>
              <a:gd name="connsiteY138" fmla="*/ 659606 h 695341"/>
              <a:gd name="connsiteX139" fmla="*/ 471587 w 798069"/>
              <a:gd name="connsiteY139" fmla="*/ 645318 h 695341"/>
              <a:gd name="connsiteX140" fmla="*/ 447774 w 798069"/>
              <a:gd name="connsiteY140" fmla="*/ 647700 h 695341"/>
              <a:gd name="connsiteX141" fmla="*/ 435868 w 798069"/>
              <a:gd name="connsiteY141" fmla="*/ 659606 h 695341"/>
              <a:gd name="connsiteX142" fmla="*/ 414437 w 798069"/>
              <a:gd name="connsiteY142" fmla="*/ 671512 h 695341"/>
              <a:gd name="connsiteX143" fmla="*/ 407293 w 798069"/>
              <a:gd name="connsiteY143" fmla="*/ 676275 h 695341"/>
              <a:gd name="connsiteX144" fmla="*/ 385862 w 798069"/>
              <a:gd name="connsiteY144" fmla="*/ 671512 h 695341"/>
              <a:gd name="connsiteX145" fmla="*/ 314424 w 798069"/>
              <a:gd name="connsiteY145" fmla="*/ 673893 h 695341"/>
              <a:gd name="connsiteX146" fmla="*/ 300137 w 798069"/>
              <a:gd name="connsiteY146" fmla="*/ 676275 h 695341"/>
              <a:gd name="connsiteX147" fmla="*/ 297755 w 798069"/>
              <a:gd name="connsiteY147" fmla="*/ 666750 h 695341"/>
              <a:gd name="connsiteX148" fmla="*/ 292993 w 798069"/>
              <a:gd name="connsiteY148" fmla="*/ 652462 h 695341"/>
              <a:gd name="connsiteX149" fmla="*/ 288230 w 798069"/>
              <a:gd name="connsiteY149" fmla="*/ 638175 h 695341"/>
              <a:gd name="connsiteX150" fmla="*/ 281087 w 798069"/>
              <a:gd name="connsiteY150" fmla="*/ 633412 h 695341"/>
              <a:gd name="connsiteX151" fmla="*/ 271562 w 798069"/>
              <a:gd name="connsiteY151" fmla="*/ 635793 h 695341"/>
              <a:gd name="connsiteX152" fmla="*/ 269180 w 798069"/>
              <a:gd name="connsiteY152" fmla="*/ 642937 h 695341"/>
              <a:gd name="connsiteX153" fmla="*/ 257274 w 798069"/>
              <a:gd name="connsiteY153" fmla="*/ 657225 h 695341"/>
              <a:gd name="connsiteX154" fmla="*/ 250130 w 798069"/>
              <a:gd name="connsiteY154" fmla="*/ 659606 h 695341"/>
              <a:gd name="connsiteX155" fmla="*/ 238224 w 798069"/>
              <a:gd name="connsiteY155" fmla="*/ 671512 h 695341"/>
              <a:gd name="connsiteX156" fmla="*/ 235843 w 798069"/>
              <a:gd name="connsiteY156" fmla="*/ 678656 h 695341"/>
              <a:gd name="connsiteX157" fmla="*/ 233462 w 798069"/>
              <a:gd name="connsiteY157" fmla="*/ 688181 h 695341"/>
              <a:gd name="connsiteX158" fmla="*/ 226318 w 798069"/>
              <a:gd name="connsiteY158" fmla="*/ 690562 h 695341"/>
              <a:gd name="connsiteX159" fmla="*/ 212030 w 798069"/>
              <a:gd name="connsiteY159" fmla="*/ 688181 h 695341"/>
              <a:gd name="connsiteX160" fmla="*/ 204887 w 798069"/>
              <a:gd name="connsiteY160" fmla="*/ 685800 h 695341"/>
              <a:gd name="connsiteX161" fmla="*/ 173930 w 798069"/>
              <a:gd name="connsiteY161" fmla="*/ 688181 h 695341"/>
              <a:gd name="connsiteX162" fmla="*/ 164405 w 798069"/>
              <a:gd name="connsiteY162" fmla="*/ 685800 h 695341"/>
              <a:gd name="connsiteX163" fmla="*/ 154880 w 798069"/>
              <a:gd name="connsiteY163" fmla="*/ 664368 h 695341"/>
              <a:gd name="connsiteX164" fmla="*/ 140593 w 798069"/>
              <a:gd name="connsiteY164" fmla="*/ 654843 h 695341"/>
              <a:gd name="connsiteX165" fmla="*/ 133449 w 798069"/>
              <a:gd name="connsiteY165" fmla="*/ 657225 h 695341"/>
              <a:gd name="connsiteX166" fmla="*/ 119162 w 798069"/>
              <a:gd name="connsiteY166" fmla="*/ 669131 h 695341"/>
              <a:gd name="connsiteX167" fmla="*/ 112018 w 798069"/>
              <a:gd name="connsiteY167" fmla="*/ 673893 h 695341"/>
              <a:gd name="connsiteX168" fmla="*/ 95349 w 798069"/>
              <a:gd name="connsiteY168" fmla="*/ 671512 h 695341"/>
              <a:gd name="connsiteX169" fmla="*/ 85824 w 798069"/>
              <a:gd name="connsiteY169" fmla="*/ 659606 h 695341"/>
              <a:gd name="connsiteX170" fmla="*/ 78680 w 798069"/>
              <a:gd name="connsiteY170" fmla="*/ 654843 h 695341"/>
              <a:gd name="connsiteX171" fmla="*/ 73918 w 798069"/>
              <a:gd name="connsiteY171" fmla="*/ 661987 h 695341"/>
              <a:gd name="connsiteX172" fmla="*/ 66774 w 798069"/>
              <a:gd name="connsiteY172" fmla="*/ 671512 h 695341"/>
              <a:gd name="connsiteX173" fmla="*/ 64393 w 798069"/>
              <a:gd name="connsiteY173" fmla="*/ 678656 h 695341"/>
              <a:gd name="connsiteX174" fmla="*/ 57249 w 798069"/>
              <a:gd name="connsiteY174" fmla="*/ 683418 h 695341"/>
              <a:gd name="connsiteX175" fmla="*/ 50105 w 798069"/>
              <a:gd name="connsiteY175" fmla="*/ 685800 h 695341"/>
              <a:gd name="connsiteX176" fmla="*/ 28674 w 798069"/>
              <a:gd name="connsiteY176" fmla="*/ 695325 h 695341"/>
              <a:gd name="connsiteX0" fmla="*/ 28674 w 798069"/>
              <a:gd name="connsiteY0" fmla="*/ 695325 h 695341"/>
              <a:gd name="connsiteX1" fmla="*/ 31055 w 798069"/>
              <a:gd name="connsiteY1" fmla="*/ 683418 h 695341"/>
              <a:gd name="connsiteX2" fmla="*/ 23912 w 798069"/>
              <a:gd name="connsiteY2" fmla="*/ 654843 h 695341"/>
              <a:gd name="connsiteX3" fmla="*/ 19149 w 798069"/>
              <a:gd name="connsiteY3" fmla="*/ 647700 h 695341"/>
              <a:gd name="connsiteX4" fmla="*/ 12005 w 798069"/>
              <a:gd name="connsiteY4" fmla="*/ 626268 h 695341"/>
              <a:gd name="connsiteX5" fmla="*/ 9624 w 798069"/>
              <a:gd name="connsiteY5" fmla="*/ 619125 h 695341"/>
              <a:gd name="connsiteX6" fmla="*/ 12005 w 798069"/>
              <a:gd name="connsiteY6" fmla="*/ 533400 h 695341"/>
              <a:gd name="connsiteX7" fmla="*/ 16768 w 798069"/>
              <a:gd name="connsiteY7" fmla="*/ 519112 h 695341"/>
              <a:gd name="connsiteX8" fmla="*/ 21530 w 798069"/>
              <a:gd name="connsiteY8" fmla="*/ 511968 h 695341"/>
              <a:gd name="connsiteX9" fmla="*/ 19149 w 798069"/>
              <a:gd name="connsiteY9" fmla="*/ 492918 h 695341"/>
              <a:gd name="connsiteX10" fmla="*/ 4862 w 798069"/>
              <a:gd name="connsiteY10" fmla="*/ 481012 h 695341"/>
              <a:gd name="connsiteX11" fmla="*/ 99 w 798069"/>
              <a:gd name="connsiteY11" fmla="*/ 473868 h 695341"/>
              <a:gd name="connsiteX12" fmla="*/ 2480 w 798069"/>
              <a:gd name="connsiteY12" fmla="*/ 464343 h 695341"/>
              <a:gd name="connsiteX13" fmla="*/ 23912 w 798069"/>
              <a:gd name="connsiteY13" fmla="*/ 447675 h 695341"/>
              <a:gd name="connsiteX14" fmla="*/ 38199 w 798069"/>
              <a:gd name="connsiteY14" fmla="*/ 433387 h 695341"/>
              <a:gd name="connsiteX15" fmla="*/ 52487 w 798069"/>
              <a:gd name="connsiteY15" fmla="*/ 421481 h 695341"/>
              <a:gd name="connsiteX16" fmla="*/ 57249 w 798069"/>
              <a:gd name="connsiteY16" fmla="*/ 414337 h 695341"/>
              <a:gd name="connsiteX17" fmla="*/ 62012 w 798069"/>
              <a:gd name="connsiteY17" fmla="*/ 388143 h 695341"/>
              <a:gd name="connsiteX18" fmla="*/ 69155 w 798069"/>
              <a:gd name="connsiteY18" fmla="*/ 364331 h 695341"/>
              <a:gd name="connsiteX19" fmla="*/ 73918 w 798069"/>
              <a:gd name="connsiteY19" fmla="*/ 357187 h 695341"/>
              <a:gd name="connsiteX20" fmla="*/ 76299 w 798069"/>
              <a:gd name="connsiteY20" fmla="*/ 350043 h 695341"/>
              <a:gd name="connsiteX21" fmla="*/ 88205 w 798069"/>
              <a:gd name="connsiteY21" fmla="*/ 333375 h 695341"/>
              <a:gd name="connsiteX22" fmla="*/ 100112 w 798069"/>
              <a:gd name="connsiteY22" fmla="*/ 321468 h 695341"/>
              <a:gd name="connsiteX23" fmla="*/ 112018 w 798069"/>
              <a:gd name="connsiteY23" fmla="*/ 307181 h 695341"/>
              <a:gd name="connsiteX24" fmla="*/ 121543 w 798069"/>
              <a:gd name="connsiteY24" fmla="*/ 292893 h 695341"/>
              <a:gd name="connsiteX25" fmla="*/ 133449 w 798069"/>
              <a:gd name="connsiteY25" fmla="*/ 278606 h 695341"/>
              <a:gd name="connsiteX26" fmla="*/ 138212 w 798069"/>
              <a:gd name="connsiteY26" fmla="*/ 269081 h 695341"/>
              <a:gd name="connsiteX27" fmla="*/ 147737 w 798069"/>
              <a:gd name="connsiteY27" fmla="*/ 254793 h 695341"/>
              <a:gd name="connsiteX28" fmla="*/ 159643 w 798069"/>
              <a:gd name="connsiteY28" fmla="*/ 233362 h 695341"/>
              <a:gd name="connsiteX29" fmla="*/ 164405 w 798069"/>
              <a:gd name="connsiteY29" fmla="*/ 223837 h 695341"/>
              <a:gd name="connsiteX30" fmla="*/ 169168 w 798069"/>
              <a:gd name="connsiteY30" fmla="*/ 216693 h 695341"/>
              <a:gd name="connsiteX31" fmla="*/ 176312 w 798069"/>
              <a:gd name="connsiteY31" fmla="*/ 202406 h 695341"/>
              <a:gd name="connsiteX32" fmla="*/ 185837 w 798069"/>
              <a:gd name="connsiteY32" fmla="*/ 188118 h 695341"/>
              <a:gd name="connsiteX33" fmla="*/ 183455 w 798069"/>
              <a:gd name="connsiteY33" fmla="*/ 166687 h 695341"/>
              <a:gd name="connsiteX34" fmla="*/ 173930 w 798069"/>
              <a:gd name="connsiteY34" fmla="*/ 159543 h 695341"/>
              <a:gd name="connsiteX35" fmla="*/ 169168 w 798069"/>
              <a:gd name="connsiteY35" fmla="*/ 152400 h 695341"/>
              <a:gd name="connsiteX36" fmla="*/ 171549 w 798069"/>
              <a:gd name="connsiteY36" fmla="*/ 126206 h 695341"/>
              <a:gd name="connsiteX37" fmla="*/ 176312 w 798069"/>
              <a:gd name="connsiteY37" fmla="*/ 119062 h 695341"/>
              <a:gd name="connsiteX38" fmla="*/ 178693 w 798069"/>
              <a:gd name="connsiteY38" fmla="*/ 111918 h 695341"/>
              <a:gd name="connsiteX39" fmla="*/ 185837 w 798069"/>
              <a:gd name="connsiteY39" fmla="*/ 97631 h 695341"/>
              <a:gd name="connsiteX40" fmla="*/ 183455 w 798069"/>
              <a:gd name="connsiteY40" fmla="*/ 85725 h 695341"/>
              <a:gd name="connsiteX41" fmla="*/ 178693 w 798069"/>
              <a:gd name="connsiteY41" fmla="*/ 78581 h 695341"/>
              <a:gd name="connsiteX42" fmla="*/ 190599 w 798069"/>
              <a:gd name="connsiteY42" fmla="*/ 52387 h 695341"/>
              <a:gd name="connsiteX43" fmla="*/ 197743 w 798069"/>
              <a:gd name="connsiteY43" fmla="*/ 50006 h 695341"/>
              <a:gd name="connsiteX44" fmla="*/ 219174 w 798069"/>
              <a:gd name="connsiteY44" fmla="*/ 30956 h 695341"/>
              <a:gd name="connsiteX45" fmla="*/ 231080 w 798069"/>
              <a:gd name="connsiteY45" fmla="*/ 19050 h 695341"/>
              <a:gd name="connsiteX46" fmla="*/ 235843 w 798069"/>
              <a:gd name="connsiteY46" fmla="*/ 11906 h 695341"/>
              <a:gd name="connsiteX47" fmla="*/ 242987 w 798069"/>
              <a:gd name="connsiteY47" fmla="*/ 14287 h 695341"/>
              <a:gd name="connsiteX48" fmla="*/ 247749 w 798069"/>
              <a:gd name="connsiteY48" fmla="*/ 30956 h 695341"/>
              <a:gd name="connsiteX49" fmla="*/ 250130 w 798069"/>
              <a:gd name="connsiteY49" fmla="*/ 78581 h 695341"/>
              <a:gd name="connsiteX50" fmla="*/ 257275 w 798069"/>
              <a:gd name="connsiteY50" fmla="*/ 78581 h 695341"/>
              <a:gd name="connsiteX51" fmla="*/ 273943 w 798069"/>
              <a:gd name="connsiteY51" fmla="*/ 88105 h 695341"/>
              <a:gd name="connsiteX52" fmla="*/ 281087 w 798069"/>
              <a:gd name="connsiteY52" fmla="*/ 102393 h 695341"/>
              <a:gd name="connsiteX53" fmla="*/ 288230 w 798069"/>
              <a:gd name="connsiteY53" fmla="*/ 104775 h 695341"/>
              <a:gd name="connsiteX54" fmla="*/ 307280 w 798069"/>
              <a:gd name="connsiteY54" fmla="*/ 102393 h 695341"/>
              <a:gd name="connsiteX55" fmla="*/ 319187 w 798069"/>
              <a:gd name="connsiteY55" fmla="*/ 100012 h 695341"/>
              <a:gd name="connsiteX56" fmla="*/ 352524 w 798069"/>
              <a:gd name="connsiteY56" fmla="*/ 102393 h 695341"/>
              <a:gd name="connsiteX57" fmla="*/ 354905 w 798069"/>
              <a:gd name="connsiteY57" fmla="*/ 109537 h 695341"/>
              <a:gd name="connsiteX58" fmla="*/ 359668 w 798069"/>
              <a:gd name="connsiteY58" fmla="*/ 147637 h 695341"/>
              <a:gd name="connsiteX59" fmla="*/ 364430 w 798069"/>
              <a:gd name="connsiteY59" fmla="*/ 157162 h 695341"/>
              <a:gd name="connsiteX60" fmla="*/ 371574 w 798069"/>
              <a:gd name="connsiteY60" fmla="*/ 159543 h 695341"/>
              <a:gd name="connsiteX61" fmla="*/ 414437 w 798069"/>
              <a:gd name="connsiteY61" fmla="*/ 157162 h 695341"/>
              <a:gd name="connsiteX62" fmla="*/ 428724 w 798069"/>
              <a:gd name="connsiteY62" fmla="*/ 150018 h 695341"/>
              <a:gd name="connsiteX63" fmla="*/ 435868 w 798069"/>
              <a:gd name="connsiteY63" fmla="*/ 142875 h 695341"/>
              <a:gd name="connsiteX64" fmla="*/ 450155 w 798069"/>
              <a:gd name="connsiteY64" fmla="*/ 133350 h 695341"/>
              <a:gd name="connsiteX65" fmla="*/ 457299 w 798069"/>
              <a:gd name="connsiteY65" fmla="*/ 128587 h 695341"/>
              <a:gd name="connsiteX66" fmla="*/ 464443 w 798069"/>
              <a:gd name="connsiteY66" fmla="*/ 126206 h 695341"/>
              <a:gd name="connsiteX67" fmla="*/ 478730 w 798069"/>
              <a:gd name="connsiteY67" fmla="*/ 116681 h 695341"/>
              <a:gd name="connsiteX68" fmla="*/ 490637 w 798069"/>
              <a:gd name="connsiteY68" fmla="*/ 95250 h 695341"/>
              <a:gd name="connsiteX69" fmla="*/ 493018 w 798069"/>
              <a:gd name="connsiteY69" fmla="*/ 78581 h 695341"/>
              <a:gd name="connsiteX70" fmla="*/ 495399 w 798069"/>
              <a:gd name="connsiteY70" fmla="*/ 71437 h 695341"/>
              <a:gd name="connsiteX71" fmla="*/ 502543 w 798069"/>
              <a:gd name="connsiteY71" fmla="*/ 45243 h 695341"/>
              <a:gd name="connsiteX72" fmla="*/ 512068 w 798069"/>
              <a:gd name="connsiteY72" fmla="*/ 0 h 695341"/>
              <a:gd name="connsiteX73" fmla="*/ 523974 w 798069"/>
              <a:gd name="connsiteY73" fmla="*/ 9525 h 695341"/>
              <a:gd name="connsiteX74" fmla="*/ 531118 w 798069"/>
              <a:gd name="connsiteY74" fmla="*/ 16668 h 695341"/>
              <a:gd name="connsiteX75" fmla="*/ 540643 w 798069"/>
              <a:gd name="connsiteY75" fmla="*/ 30956 h 695341"/>
              <a:gd name="connsiteX76" fmla="*/ 550168 w 798069"/>
              <a:gd name="connsiteY76" fmla="*/ 45243 h 695341"/>
              <a:gd name="connsiteX77" fmla="*/ 562074 w 798069"/>
              <a:gd name="connsiteY77" fmla="*/ 59531 h 695341"/>
              <a:gd name="connsiteX78" fmla="*/ 590649 w 798069"/>
              <a:gd name="connsiteY78" fmla="*/ 66675 h 695341"/>
              <a:gd name="connsiteX79" fmla="*/ 604937 w 798069"/>
              <a:gd name="connsiteY79" fmla="*/ 73818 h 695341"/>
              <a:gd name="connsiteX80" fmla="*/ 609699 w 798069"/>
              <a:gd name="connsiteY80" fmla="*/ 80962 h 695341"/>
              <a:gd name="connsiteX81" fmla="*/ 616843 w 798069"/>
              <a:gd name="connsiteY81" fmla="*/ 88106 h 695341"/>
              <a:gd name="connsiteX82" fmla="*/ 628749 w 798069"/>
              <a:gd name="connsiteY82" fmla="*/ 100012 h 695341"/>
              <a:gd name="connsiteX83" fmla="*/ 638274 w 798069"/>
              <a:gd name="connsiteY83" fmla="*/ 114300 h 695341"/>
              <a:gd name="connsiteX84" fmla="*/ 645418 w 798069"/>
              <a:gd name="connsiteY84" fmla="*/ 119062 h 695341"/>
              <a:gd name="connsiteX85" fmla="*/ 688280 w 798069"/>
              <a:gd name="connsiteY85" fmla="*/ 123825 h 695341"/>
              <a:gd name="connsiteX86" fmla="*/ 709712 w 798069"/>
              <a:gd name="connsiteY86" fmla="*/ 142875 h 695341"/>
              <a:gd name="connsiteX87" fmla="*/ 726380 w 798069"/>
              <a:gd name="connsiteY87" fmla="*/ 147637 h 695341"/>
              <a:gd name="connsiteX88" fmla="*/ 740668 w 798069"/>
              <a:gd name="connsiteY88" fmla="*/ 152400 h 695341"/>
              <a:gd name="connsiteX89" fmla="*/ 754955 w 798069"/>
              <a:gd name="connsiteY89" fmla="*/ 159543 h 695341"/>
              <a:gd name="connsiteX90" fmla="*/ 766862 w 798069"/>
              <a:gd name="connsiteY90" fmla="*/ 183356 h 695341"/>
              <a:gd name="connsiteX91" fmla="*/ 769243 w 798069"/>
              <a:gd name="connsiteY91" fmla="*/ 211931 h 695341"/>
              <a:gd name="connsiteX92" fmla="*/ 771624 w 798069"/>
              <a:gd name="connsiteY92" fmla="*/ 219075 h 695341"/>
              <a:gd name="connsiteX93" fmla="*/ 774005 w 798069"/>
              <a:gd name="connsiteY93" fmla="*/ 309562 h 695341"/>
              <a:gd name="connsiteX94" fmla="*/ 776387 w 798069"/>
              <a:gd name="connsiteY94" fmla="*/ 316706 h 695341"/>
              <a:gd name="connsiteX95" fmla="*/ 790674 w 798069"/>
              <a:gd name="connsiteY95" fmla="*/ 326231 h 695341"/>
              <a:gd name="connsiteX96" fmla="*/ 795437 w 798069"/>
              <a:gd name="connsiteY96" fmla="*/ 333375 h 695341"/>
              <a:gd name="connsiteX97" fmla="*/ 795437 w 798069"/>
              <a:gd name="connsiteY97" fmla="*/ 357187 h 695341"/>
              <a:gd name="connsiteX98" fmla="*/ 790674 w 798069"/>
              <a:gd name="connsiteY98" fmla="*/ 364331 h 695341"/>
              <a:gd name="connsiteX99" fmla="*/ 776387 w 798069"/>
              <a:gd name="connsiteY99" fmla="*/ 373856 h 695341"/>
              <a:gd name="connsiteX100" fmla="*/ 735906 w 798069"/>
              <a:gd name="connsiteY100" fmla="*/ 378619 h 695341"/>
              <a:gd name="connsiteX101" fmla="*/ 731143 w 798069"/>
              <a:gd name="connsiteY101" fmla="*/ 359568 h 695341"/>
              <a:gd name="connsiteX102" fmla="*/ 716855 w 798069"/>
              <a:gd name="connsiteY102" fmla="*/ 364331 h 695341"/>
              <a:gd name="connsiteX103" fmla="*/ 709712 w 798069"/>
              <a:gd name="connsiteY103" fmla="*/ 357187 h 695341"/>
              <a:gd name="connsiteX104" fmla="*/ 697805 w 798069"/>
              <a:gd name="connsiteY104" fmla="*/ 378618 h 695341"/>
              <a:gd name="connsiteX105" fmla="*/ 690662 w 798069"/>
              <a:gd name="connsiteY105" fmla="*/ 392906 h 695341"/>
              <a:gd name="connsiteX106" fmla="*/ 697805 w 798069"/>
              <a:gd name="connsiteY106" fmla="*/ 395287 h 695341"/>
              <a:gd name="connsiteX107" fmla="*/ 709712 w 798069"/>
              <a:gd name="connsiteY107" fmla="*/ 397668 h 695341"/>
              <a:gd name="connsiteX108" fmla="*/ 716855 w 798069"/>
              <a:gd name="connsiteY108" fmla="*/ 404812 h 695341"/>
              <a:gd name="connsiteX109" fmla="*/ 728762 w 798069"/>
              <a:gd name="connsiteY109" fmla="*/ 423862 h 695341"/>
              <a:gd name="connsiteX110" fmla="*/ 745430 w 798069"/>
              <a:gd name="connsiteY110" fmla="*/ 426243 h 695341"/>
              <a:gd name="connsiteX111" fmla="*/ 750193 w 798069"/>
              <a:gd name="connsiteY111" fmla="*/ 433387 h 695341"/>
              <a:gd name="connsiteX112" fmla="*/ 747812 w 798069"/>
              <a:gd name="connsiteY112" fmla="*/ 454818 h 695341"/>
              <a:gd name="connsiteX113" fmla="*/ 745430 w 798069"/>
              <a:gd name="connsiteY113" fmla="*/ 464343 h 695341"/>
              <a:gd name="connsiteX114" fmla="*/ 735905 w 798069"/>
              <a:gd name="connsiteY114" fmla="*/ 485775 h 695341"/>
              <a:gd name="connsiteX115" fmla="*/ 728762 w 798069"/>
              <a:gd name="connsiteY115" fmla="*/ 488156 h 695341"/>
              <a:gd name="connsiteX116" fmla="*/ 721618 w 798069"/>
              <a:gd name="connsiteY116" fmla="*/ 492918 h 695341"/>
              <a:gd name="connsiteX117" fmla="*/ 716855 w 798069"/>
              <a:gd name="connsiteY117" fmla="*/ 509587 h 695341"/>
              <a:gd name="connsiteX118" fmla="*/ 712093 w 798069"/>
              <a:gd name="connsiteY118" fmla="*/ 516731 h 695341"/>
              <a:gd name="connsiteX119" fmla="*/ 704949 w 798069"/>
              <a:gd name="connsiteY119" fmla="*/ 519112 h 695341"/>
              <a:gd name="connsiteX120" fmla="*/ 697805 w 798069"/>
              <a:gd name="connsiteY120" fmla="*/ 523875 h 695341"/>
              <a:gd name="connsiteX121" fmla="*/ 669230 w 798069"/>
              <a:gd name="connsiteY121" fmla="*/ 528637 h 695341"/>
              <a:gd name="connsiteX122" fmla="*/ 662087 w 798069"/>
              <a:gd name="connsiteY122" fmla="*/ 535781 h 695341"/>
              <a:gd name="connsiteX123" fmla="*/ 650180 w 798069"/>
              <a:gd name="connsiteY123" fmla="*/ 547687 h 695341"/>
              <a:gd name="connsiteX124" fmla="*/ 635893 w 798069"/>
              <a:gd name="connsiteY124" fmla="*/ 550068 h 695341"/>
              <a:gd name="connsiteX125" fmla="*/ 614462 w 798069"/>
              <a:gd name="connsiteY125" fmla="*/ 561975 h 695341"/>
              <a:gd name="connsiteX126" fmla="*/ 607318 w 798069"/>
              <a:gd name="connsiteY126" fmla="*/ 564356 h 695341"/>
              <a:gd name="connsiteX127" fmla="*/ 593030 w 798069"/>
              <a:gd name="connsiteY127" fmla="*/ 573881 h 695341"/>
              <a:gd name="connsiteX128" fmla="*/ 562074 w 798069"/>
              <a:gd name="connsiteY128" fmla="*/ 576262 h 695341"/>
              <a:gd name="connsiteX129" fmla="*/ 540643 w 798069"/>
              <a:gd name="connsiteY129" fmla="*/ 590550 h 695341"/>
              <a:gd name="connsiteX130" fmla="*/ 533499 w 798069"/>
              <a:gd name="connsiteY130" fmla="*/ 595312 h 695341"/>
              <a:gd name="connsiteX131" fmla="*/ 526355 w 798069"/>
              <a:gd name="connsiteY131" fmla="*/ 597693 h 695341"/>
              <a:gd name="connsiteX132" fmla="*/ 514449 w 798069"/>
              <a:gd name="connsiteY132" fmla="*/ 611981 h 695341"/>
              <a:gd name="connsiteX133" fmla="*/ 512068 w 798069"/>
              <a:gd name="connsiteY133" fmla="*/ 619125 h 695341"/>
              <a:gd name="connsiteX134" fmla="*/ 507305 w 798069"/>
              <a:gd name="connsiteY134" fmla="*/ 640556 h 695341"/>
              <a:gd name="connsiteX135" fmla="*/ 502543 w 798069"/>
              <a:gd name="connsiteY135" fmla="*/ 654843 h 695341"/>
              <a:gd name="connsiteX136" fmla="*/ 500162 w 798069"/>
              <a:gd name="connsiteY136" fmla="*/ 661987 h 695341"/>
              <a:gd name="connsiteX137" fmla="*/ 493018 w 798069"/>
              <a:gd name="connsiteY137" fmla="*/ 664368 h 695341"/>
              <a:gd name="connsiteX138" fmla="*/ 485874 w 798069"/>
              <a:gd name="connsiteY138" fmla="*/ 659606 h 695341"/>
              <a:gd name="connsiteX139" fmla="*/ 471587 w 798069"/>
              <a:gd name="connsiteY139" fmla="*/ 645318 h 695341"/>
              <a:gd name="connsiteX140" fmla="*/ 447774 w 798069"/>
              <a:gd name="connsiteY140" fmla="*/ 647700 h 695341"/>
              <a:gd name="connsiteX141" fmla="*/ 435868 w 798069"/>
              <a:gd name="connsiteY141" fmla="*/ 659606 h 695341"/>
              <a:gd name="connsiteX142" fmla="*/ 414437 w 798069"/>
              <a:gd name="connsiteY142" fmla="*/ 671512 h 695341"/>
              <a:gd name="connsiteX143" fmla="*/ 407293 w 798069"/>
              <a:gd name="connsiteY143" fmla="*/ 676275 h 695341"/>
              <a:gd name="connsiteX144" fmla="*/ 385862 w 798069"/>
              <a:gd name="connsiteY144" fmla="*/ 671512 h 695341"/>
              <a:gd name="connsiteX145" fmla="*/ 314424 w 798069"/>
              <a:gd name="connsiteY145" fmla="*/ 673893 h 695341"/>
              <a:gd name="connsiteX146" fmla="*/ 300137 w 798069"/>
              <a:gd name="connsiteY146" fmla="*/ 676275 h 695341"/>
              <a:gd name="connsiteX147" fmla="*/ 297755 w 798069"/>
              <a:gd name="connsiteY147" fmla="*/ 666750 h 695341"/>
              <a:gd name="connsiteX148" fmla="*/ 292993 w 798069"/>
              <a:gd name="connsiteY148" fmla="*/ 652462 h 695341"/>
              <a:gd name="connsiteX149" fmla="*/ 288230 w 798069"/>
              <a:gd name="connsiteY149" fmla="*/ 638175 h 695341"/>
              <a:gd name="connsiteX150" fmla="*/ 281087 w 798069"/>
              <a:gd name="connsiteY150" fmla="*/ 633412 h 695341"/>
              <a:gd name="connsiteX151" fmla="*/ 271562 w 798069"/>
              <a:gd name="connsiteY151" fmla="*/ 635793 h 695341"/>
              <a:gd name="connsiteX152" fmla="*/ 269180 w 798069"/>
              <a:gd name="connsiteY152" fmla="*/ 642937 h 695341"/>
              <a:gd name="connsiteX153" fmla="*/ 257274 w 798069"/>
              <a:gd name="connsiteY153" fmla="*/ 657225 h 695341"/>
              <a:gd name="connsiteX154" fmla="*/ 250130 w 798069"/>
              <a:gd name="connsiteY154" fmla="*/ 659606 h 695341"/>
              <a:gd name="connsiteX155" fmla="*/ 238224 w 798069"/>
              <a:gd name="connsiteY155" fmla="*/ 671512 h 695341"/>
              <a:gd name="connsiteX156" fmla="*/ 235843 w 798069"/>
              <a:gd name="connsiteY156" fmla="*/ 678656 h 695341"/>
              <a:gd name="connsiteX157" fmla="*/ 233462 w 798069"/>
              <a:gd name="connsiteY157" fmla="*/ 688181 h 695341"/>
              <a:gd name="connsiteX158" fmla="*/ 226318 w 798069"/>
              <a:gd name="connsiteY158" fmla="*/ 690562 h 695341"/>
              <a:gd name="connsiteX159" fmla="*/ 212030 w 798069"/>
              <a:gd name="connsiteY159" fmla="*/ 688181 h 695341"/>
              <a:gd name="connsiteX160" fmla="*/ 204887 w 798069"/>
              <a:gd name="connsiteY160" fmla="*/ 685800 h 695341"/>
              <a:gd name="connsiteX161" fmla="*/ 173930 w 798069"/>
              <a:gd name="connsiteY161" fmla="*/ 688181 h 695341"/>
              <a:gd name="connsiteX162" fmla="*/ 164405 w 798069"/>
              <a:gd name="connsiteY162" fmla="*/ 685800 h 695341"/>
              <a:gd name="connsiteX163" fmla="*/ 154880 w 798069"/>
              <a:gd name="connsiteY163" fmla="*/ 664368 h 695341"/>
              <a:gd name="connsiteX164" fmla="*/ 140593 w 798069"/>
              <a:gd name="connsiteY164" fmla="*/ 654843 h 695341"/>
              <a:gd name="connsiteX165" fmla="*/ 133449 w 798069"/>
              <a:gd name="connsiteY165" fmla="*/ 657225 h 695341"/>
              <a:gd name="connsiteX166" fmla="*/ 119162 w 798069"/>
              <a:gd name="connsiteY166" fmla="*/ 669131 h 695341"/>
              <a:gd name="connsiteX167" fmla="*/ 112018 w 798069"/>
              <a:gd name="connsiteY167" fmla="*/ 673893 h 695341"/>
              <a:gd name="connsiteX168" fmla="*/ 95349 w 798069"/>
              <a:gd name="connsiteY168" fmla="*/ 671512 h 695341"/>
              <a:gd name="connsiteX169" fmla="*/ 85824 w 798069"/>
              <a:gd name="connsiteY169" fmla="*/ 659606 h 695341"/>
              <a:gd name="connsiteX170" fmla="*/ 78680 w 798069"/>
              <a:gd name="connsiteY170" fmla="*/ 654843 h 695341"/>
              <a:gd name="connsiteX171" fmla="*/ 73918 w 798069"/>
              <a:gd name="connsiteY171" fmla="*/ 661987 h 695341"/>
              <a:gd name="connsiteX172" fmla="*/ 66774 w 798069"/>
              <a:gd name="connsiteY172" fmla="*/ 671512 h 695341"/>
              <a:gd name="connsiteX173" fmla="*/ 64393 w 798069"/>
              <a:gd name="connsiteY173" fmla="*/ 678656 h 695341"/>
              <a:gd name="connsiteX174" fmla="*/ 57249 w 798069"/>
              <a:gd name="connsiteY174" fmla="*/ 683418 h 695341"/>
              <a:gd name="connsiteX175" fmla="*/ 50105 w 798069"/>
              <a:gd name="connsiteY175" fmla="*/ 685800 h 695341"/>
              <a:gd name="connsiteX176" fmla="*/ 28674 w 798069"/>
              <a:gd name="connsiteY176" fmla="*/ 695325 h 695341"/>
              <a:gd name="connsiteX0" fmla="*/ 28674 w 798069"/>
              <a:gd name="connsiteY0" fmla="*/ 695325 h 695341"/>
              <a:gd name="connsiteX1" fmla="*/ 31055 w 798069"/>
              <a:gd name="connsiteY1" fmla="*/ 683418 h 695341"/>
              <a:gd name="connsiteX2" fmla="*/ 23912 w 798069"/>
              <a:gd name="connsiteY2" fmla="*/ 654843 h 695341"/>
              <a:gd name="connsiteX3" fmla="*/ 19149 w 798069"/>
              <a:gd name="connsiteY3" fmla="*/ 647700 h 695341"/>
              <a:gd name="connsiteX4" fmla="*/ 12005 w 798069"/>
              <a:gd name="connsiteY4" fmla="*/ 626268 h 695341"/>
              <a:gd name="connsiteX5" fmla="*/ 9624 w 798069"/>
              <a:gd name="connsiteY5" fmla="*/ 619125 h 695341"/>
              <a:gd name="connsiteX6" fmla="*/ 12005 w 798069"/>
              <a:gd name="connsiteY6" fmla="*/ 533400 h 695341"/>
              <a:gd name="connsiteX7" fmla="*/ 16768 w 798069"/>
              <a:gd name="connsiteY7" fmla="*/ 519112 h 695341"/>
              <a:gd name="connsiteX8" fmla="*/ 21530 w 798069"/>
              <a:gd name="connsiteY8" fmla="*/ 511968 h 695341"/>
              <a:gd name="connsiteX9" fmla="*/ 19149 w 798069"/>
              <a:gd name="connsiteY9" fmla="*/ 492918 h 695341"/>
              <a:gd name="connsiteX10" fmla="*/ 4862 w 798069"/>
              <a:gd name="connsiteY10" fmla="*/ 481012 h 695341"/>
              <a:gd name="connsiteX11" fmla="*/ 99 w 798069"/>
              <a:gd name="connsiteY11" fmla="*/ 473868 h 695341"/>
              <a:gd name="connsiteX12" fmla="*/ 2480 w 798069"/>
              <a:gd name="connsiteY12" fmla="*/ 464343 h 695341"/>
              <a:gd name="connsiteX13" fmla="*/ 23912 w 798069"/>
              <a:gd name="connsiteY13" fmla="*/ 447675 h 695341"/>
              <a:gd name="connsiteX14" fmla="*/ 38199 w 798069"/>
              <a:gd name="connsiteY14" fmla="*/ 433387 h 695341"/>
              <a:gd name="connsiteX15" fmla="*/ 52487 w 798069"/>
              <a:gd name="connsiteY15" fmla="*/ 421481 h 695341"/>
              <a:gd name="connsiteX16" fmla="*/ 57249 w 798069"/>
              <a:gd name="connsiteY16" fmla="*/ 414337 h 695341"/>
              <a:gd name="connsiteX17" fmla="*/ 62012 w 798069"/>
              <a:gd name="connsiteY17" fmla="*/ 388143 h 695341"/>
              <a:gd name="connsiteX18" fmla="*/ 69155 w 798069"/>
              <a:gd name="connsiteY18" fmla="*/ 364331 h 695341"/>
              <a:gd name="connsiteX19" fmla="*/ 73918 w 798069"/>
              <a:gd name="connsiteY19" fmla="*/ 357187 h 695341"/>
              <a:gd name="connsiteX20" fmla="*/ 76299 w 798069"/>
              <a:gd name="connsiteY20" fmla="*/ 350043 h 695341"/>
              <a:gd name="connsiteX21" fmla="*/ 88205 w 798069"/>
              <a:gd name="connsiteY21" fmla="*/ 333375 h 695341"/>
              <a:gd name="connsiteX22" fmla="*/ 100112 w 798069"/>
              <a:gd name="connsiteY22" fmla="*/ 321468 h 695341"/>
              <a:gd name="connsiteX23" fmla="*/ 112018 w 798069"/>
              <a:gd name="connsiteY23" fmla="*/ 307181 h 695341"/>
              <a:gd name="connsiteX24" fmla="*/ 121543 w 798069"/>
              <a:gd name="connsiteY24" fmla="*/ 292893 h 695341"/>
              <a:gd name="connsiteX25" fmla="*/ 133449 w 798069"/>
              <a:gd name="connsiteY25" fmla="*/ 278606 h 695341"/>
              <a:gd name="connsiteX26" fmla="*/ 138212 w 798069"/>
              <a:gd name="connsiteY26" fmla="*/ 269081 h 695341"/>
              <a:gd name="connsiteX27" fmla="*/ 147737 w 798069"/>
              <a:gd name="connsiteY27" fmla="*/ 254793 h 695341"/>
              <a:gd name="connsiteX28" fmla="*/ 159643 w 798069"/>
              <a:gd name="connsiteY28" fmla="*/ 233362 h 695341"/>
              <a:gd name="connsiteX29" fmla="*/ 164405 w 798069"/>
              <a:gd name="connsiteY29" fmla="*/ 223837 h 695341"/>
              <a:gd name="connsiteX30" fmla="*/ 169168 w 798069"/>
              <a:gd name="connsiteY30" fmla="*/ 216693 h 695341"/>
              <a:gd name="connsiteX31" fmla="*/ 176312 w 798069"/>
              <a:gd name="connsiteY31" fmla="*/ 202406 h 695341"/>
              <a:gd name="connsiteX32" fmla="*/ 185837 w 798069"/>
              <a:gd name="connsiteY32" fmla="*/ 188118 h 695341"/>
              <a:gd name="connsiteX33" fmla="*/ 183455 w 798069"/>
              <a:gd name="connsiteY33" fmla="*/ 166687 h 695341"/>
              <a:gd name="connsiteX34" fmla="*/ 173930 w 798069"/>
              <a:gd name="connsiteY34" fmla="*/ 159543 h 695341"/>
              <a:gd name="connsiteX35" fmla="*/ 169168 w 798069"/>
              <a:gd name="connsiteY35" fmla="*/ 152400 h 695341"/>
              <a:gd name="connsiteX36" fmla="*/ 171549 w 798069"/>
              <a:gd name="connsiteY36" fmla="*/ 126206 h 695341"/>
              <a:gd name="connsiteX37" fmla="*/ 176312 w 798069"/>
              <a:gd name="connsiteY37" fmla="*/ 119062 h 695341"/>
              <a:gd name="connsiteX38" fmla="*/ 178693 w 798069"/>
              <a:gd name="connsiteY38" fmla="*/ 111918 h 695341"/>
              <a:gd name="connsiteX39" fmla="*/ 185837 w 798069"/>
              <a:gd name="connsiteY39" fmla="*/ 97631 h 695341"/>
              <a:gd name="connsiteX40" fmla="*/ 183455 w 798069"/>
              <a:gd name="connsiteY40" fmla="*/ 85725 h 695341"/>
              <a:gd name="connsiteX41" fmla="*/ 178693 w 798069"/>
              <a:gd name="connsiteY41" fmla="*/ 78581 h 695341"/>
              <a:gd name="connsiteX42" fmla="*/ 190599 w 798069"/>
              <a:gd name="connsiteY42" fmla="*/ 52387 h 695341"/>
              <a:gd name="connsiteX43" fmla="*/ 197743 w 798069"/>
              <a:gd name="connsiteY43" fmla="*/ 50006 h 695341"/>
              <a:gd name="connsiteX44" fmla="*/ 219174 w 798069"/>
              <a:gd name="connsiteY44" fmla="*/ 30956 h 695341"/>
              <a:gd name="connsiteX45" fmla="*/ 231080 w 798069"/>
              <a:gd name="connsiteY45" fmla="*/ 19050 h 695341"/>
              <a:gd name="connsiteX46" fmla="*/ 235843 w 798069"/>
              <a:gd name="connsiteY46" fmla="*/ 11906 h 695341"/>
              <a:gd name="connsiteX47" fmla="*/ 242987 w 798069"/>
              <a:gd name="connsiteY47" fmla="*/ 14287 h 695341"/>
              <a:gd name="connsiteX48" fmla="*/ 247749 w 798069"/>
              <a:gd name="connsiteY48" fmla="*/ 30956 h 695341"/>
              <a:gd name="connsiteX49" fmla="*/ 250130 w 798069"/>
              <a:gd name="connsiteY49" fmla="*/ 78581 h 695341"/>
              <a:gd name="connsiteX50" fmla="*/ 257275 w 798069"/>
              <a:gd name="connsiteY50" fmla="*/ 78581 h 695341"/>
              <a:gd name="connsiteX51" fmla="*/ 273943 w 798069"/>
              <a:gd name="connsiteY51" fmla="*/ 88105 h 695341"/>
              <a:gd name="connsiteX52" fmla="*/ 281087 w 798069"/>
              <a:gd name="connsiteY52" fmla="*/ 102393 h 695341"/>
              <a:gd name="connsiteX53" fmla="*/ 288230 w 798069"/>
              <a:gd name="connsiteY53" fmla="*/ 104775 h 695341"/>
              <a:gd name="connsiteX54" fmla="*/ 307280 w 798069"/>
              <a:gd name="connsiteY54" fmla="*/ 102393 h 695341"/>
              <a:gd name="connsiteX55" fmla="*/ 319187 w 798069"/>
              <a:gd name="connsiteY55" fmla="*/ 100012 h 695341"/>
              <a:gd name="connsiteX56" fmla="*/ 352524 w 798069"/>
              <a:gd name="connsiteY56" fmla="*/ 102393 h 695341"/>
              <a:gd name="connsiteX57" fmla="*/ 354905 w 798069"/>
              <a:gd name="connsiteY57" fmla="*/ 109537 h 695341"/>
              <a:gd name="connsiteX58" fmla="*/ 359668 w 798069"/>
              <a:gd name="connsiteY58" fmla="*/ 147637 h 695341"/>
              <a:gd name="connsiteX59" fmla="*/ 364430 w 798069"/>
              <a:gd name="connsiteY59" fmla="*/ 157162 h 695341"/>
              <a:gd name="connsiteX60" fmla="*/ 371574 w 798069"/>
              <a:gd name="connsiteY60" fmla="*/ 159543 h 695341"/>
              <a:gd name="connsiteX61" fmla="*/ 414437 w 798069"/>
              <a:gd name="connsiteY61" fmla="*/ 157162 h 695341"/>
              <a:gd name="connsiteX62" fmla="*/ 428724 w 798069"/>
              <a:gd name="connsiteY62" fmla="*/ 150018 h 695341"/>
              <a:gd name="connsiteX63" fmla="*/ 435868 w 798069"/>
              <a:gd name="connsiteY63" fmla="*/ 142875 h 695341"/>
              <a:gd name="connsiteX64" fmla="*/ 450155 w 798069"/>
              <a:gd name="connsiteY64" fmla="*/ 133350 h 695341"/>
              <a:gd name="connsiteX65" fmla="*/ 457299 w 798069"/>
              <a:gd name="connsiteY65" fmla="*/ 128587 h 695341"/>
              <a:gd name="connsiteX66" fmla="*/ 464443 w 798069"/>
              <a:gd name="connsiteY66" fmla="*/ 126206 h 695341"/>
              <a:gd name="connsiteX67" fmla="*/ 478730 w 798069"/>
              <a:gd name="connsiteY67" fmla="*/ 116681 h 695341"/>
              <a:gd name="connsiteX68" fmla="*/ 490637 w 798069"/>
              <a:gd name="connsiteY68" fmla="*/ 95250 h 695341"/>
              <a:gd name="connsiteX69" fmla="*/ 493018 w 798069"/>
              <a:gd name="connsiteY69" fmla="*/ 78581 h 695341"/>
              <a:gd name="connsiteX70" fmla="*/ 495399 w 798069"/>
              <a:gd name="connsiteY70" fmla="*/ 71437 h 695341"/>
              <a:gd name="connsiteX71" fmla="*/ 502543 w 798069"/>
              <a:gd name="connsiteY71" fmla="*/ 45243 h 695341"/>
              <a:gd name="connsiteX72" fmla="*/ 512068 w 798069"/>
              <a:gd name="connsiteY72" fmla="*/ 0 h 695341"/>
              <a:gd name="connsiteX73" fmla="*/ 523974 w 798069"/>
              <a:gd name="connsiteY73" fmla="*/ 9525 h 695341"/>
              <a:gd name="connsiteX74" fmla="*/ 531118 w 798069"/>
              <a:gd name="connsiteY74" fmla="*/ 16668 h 695341"/>
              <a:gd name="connsiteX75" fmla="*/ 540643 w 798069"/>
              <a:gd name="connsiteY75" fmla="*/ 30956 h 695341"/>
              <a:gd name="connsiteX76" fmla="*/ 550168 w 798069"/>
              <a:gd name="connsiteY76" fmla="*/ 45243 h 695341"/>
              <a:gd name="connsiteX77" fmla="*/ 562074 w 798069"/>
              <a:gd name="connsiteY77" fmla="*/ 59531 h 695341"/>
              <a:gd name="connsiteX78" fmla="*/ 590649 w 798069"/>
              <a:gd name="connsiteY78" fmla="*/ 66675 h 695341"/>
              <a:gd name="connsiteX79" fmla="*/ 604937 w 798069"/>
              <a:gd name="connsiteY79" fmla="*/ 73818 h 695341"/>
              <a:gd name="connsiteX80" fmla="*/ 609699 w 798069"/>
              <a:gd name="connsiteY80" fmla="*/ 80962 h 695341"/>
              <a:gd name="connsiteX81" fmla="*/ 616843 w 798069"/>
              <a:gd name="connsiteY81" fmla="*/ 88106 h 695341"/>
              <a:gd name="connsiteX82" fmla="*/ 628749 w 798069"/>
              <a:gd name="connsiteY82" fmla="*/ 100012 h 695341"/>
              <a:gd name="connsiteX83" fmla="*/ 638274 w 798069"/>
              <a:gd name="connsiteY83" fmla="*/ 114300 h 695341"/>
              <a:gd name="connsiteX84" fmla="*/ 645418 w 798069"/>
              <a:gd name="connsiteY84" fmla="*/ 119062 h 695341"/>
              <a:gd name="connsiteX85" fmla="*/ 688280 w 798069"/>
              <a:gd name="connsiteY85" fmla="*/ 123825 h 695341"/>
              <a:gd name="connsiteX86" fmla="*/ 709712 w 798069"/>
              <a:gd name="connsiteY86" fmla="*/ 142875 h 695341"/>
              <a:gd name="connsiteX87" fmla="*/ 726380 w 798069"/>
              <a:gd name="connsiteY87" fmla="*/ 147637 h 695341"/>
              <a:gd name="connsiteX88" fmla="*/ 740668 w 798069"/>
              <a:gd name="connsiteY88" fmla="*/ 152400 h 695341"/>
              <a:gd name="connsiteX89" fmla="*/ 754955 w 798069"/>
              <a:gd name="connsiteY89" fmla="*/ 159543 h 695341"/>
              <a:gd name="connsiteX90" fmla="*/ 766862 w 798069"/>
              <a:gd name="connsiteY90" fmla="*/ 183356 h 695341"/>
              <a:gd name="connsiteX91" fmla="*/ 769243 w 798069"/>
              <a:gd name="connsiteY91" fmla="*/ 211931 h 695341"/>
              <a:gd name="connsiteX92" fmla="*/ 771624 w 798069"/>
              <a:gd name="connsiteY92" fmla="*/ 219075 h 695341"/>
              <a:gd name="connsiteX93" fmla="*/ 774005 w 798069"/>
              <a:gd name="connsiteY93" fmla="*/ 309562 h 695341"/>
              <a:gd name="connsiteX94" fmla="*/ 776387 w 798069"/>
              <a:gd name="connsiteY94" fmla="*/ 316706 h 695341"/>
              <a:gd name="connsiteX95" fmla="*/ 790674 w 798069"/>
              <a:gd name="connsiteY95" fmla="*/ 326231 h 695341"/>
              <a:gd name="connsiteX96" fmla="*/ 795437 w 798069"/>
              <a:gd name="connsiteY96" fmla="*/ 333375 h 695341"/>
              <a:gd name="connsiteX97" fmla="*/ 795437 w 798069"/>
              <a:gd name="connsiteY97" fmla="*/ 357187 h 695341"/>
              <a:gd name="connsiteX98" fmla="*/ 790674 w 798069"/>
              <a:gd name="connsiteY98" fmla="*/ 364331 h 695341"/>
              <a:gd name="connsiteX99" fmla="*/ 776387 w 798069"/>
              <a:gd name="connsiteY99" fmla="*/ 373856 h 695341"/>
              <a:gd name="connsiteX100" fmla="*/ 735906 w 798069"/>
              <a:gd name="connsiteY100" fmla="*/ 378619 h 695341"/>
              <a:gd name="connsiteX101" fmla="*/ 731143 w 798069"/>
              <a:gd name="connsiteY101" fmla="*/ 359568 h 695341"/>
              <a:gd name="connsiteX102" fmla="*/ 716855 w 798069"/>
              <a:gd name="connsiteY102" fmla="*/ 364331 h 695341"/>
              <a:gd name="connsiteX103" fmla="*/ 714474 w 798069"/>
              <a:gd name="connsiteY103" fmla="*/ 369093 h 695341"/>
              <a:gd name="connsiteX104" fmla="*/ 697805 w 798069"/>
              <a:gd name="connsiteY104" fmla="*/ 378618 h 695341"/>
              <a:gd name="connsiteX105" fmla="*/ 690662 w 798069"/>
              <a:gd name="connsiteY105" fmla="*/ 392906 h 695341"/>
              <a:gd name="connsiteX106" fmla="*/ 697805 w 798069"/>
              <a:gd name="connsiteY106" fmla="*/ 395287 h 695341"/>
              <a:gd name="connsiteX107" fmla="*/ 709712 w 798069"/>
              <a:gd name="connsiteY107" fmla="*/ 397668 h 695341"/>
              <a:gd name="connsiteX108" fmla="*/ 716855 w 798069"/>
              <a:gd name="connsiteY108" fmla="*/ 404812 h 695341"/>
              <a:gd name="connsiteX109" fmla="*/ 728762 w 798069"/>
              <a:gd name="connsiteY109" fmla="*/ 423862 h 695341"/>
              <a:gd name="connsiteX110" fmla="*/ 745430 w 798069"/>
              <a:gd name="connsiteY110" fmla="*/ 426243 h 695341"/>
              <a:gd name="connsiteX111" fmla="*/ 750193 w 798069"/>
              <a:gd name="connsiteY111" fmla="*/ 433387 h 695341"/>
              <a:gd name="connsiteX112" fmla="*/ 747812 w 798069"/>
              <a:gd name="connsiteY112" fmla="*/ 454818 h 695341"/>
              <a:gd name="connsiteX113" fmla="*/ 745430 w 798069"/>
              <a:gd name="connsiteY113" fmla="*/ 464343 h 695341"/>
              <a:gd name="connsiteX114" fmla="*/ 735905 w 798069"/>
              <a:gd name="connsiteY114" fmla="*/ 485775 h 695341"/>
              <a:gd name="connsiteX115" fmla="*/ 728762 w 798069"/>
              <a:gd name="connsiteY115" fmla="*/ 488156 h 695341"/>
              <a:gd name="connsiteX116" fmla="*/ 721618 w 798069"/>
              <a:gd name="connsiteY116" fmla="*/ 492918 h 695341"/>
              <a:gd name="connsiteX117" fmla="*/ 716855 w 798069"/>
              <a:gd name="connsiteY117" fmla="*/ 509587 h 695341"/>
              <a:gd name="connsiteX118" fmla="*/ 712093 w 798069"/>
              <a:gd name="connsiteY118" fmla="*/ 516731 h 695341"/>
              <a:gd name="connsiteX119" fmla="*/ 704949 w 798069"/>
              <a:gd name="connsiteY119" fmla="*/ 519112 h 695341"/>
              <a:gd name="connsiteX120" fmla="*/ 697805 w 798069"/>
              <a:gd name="connsiteY120" fmla="*/ 523875 h 695341"/>
              <a:gd name="connsiteX121" fmla="*/ 669230 w 798069"/>
              <a:gd name="connsiteY121" fmla="*/ 528637 h 695341"/>
              <a:gd name="connsiteX122" fmla="*/ 662087 w 798069"/>
              <a:gd name="connsiteY122" fmla="*/ 535781 h 695341"/>
              <a:gd name="connsiteX123" fmla="*/ 650180 w 798069"/>
              <a:gd name="connsiteY123" fmla="*/ 547687 h 695341"/>
              <a:gd name="connsiteX124" fmla="*/ 635893 w 798069"/>
              <a:gd name="connsiteY124" fmla="*/ 550068 h 695341"/>
              <a:gd name="connsiteX125" fmla="*/ 614462 w 798069"/>
              <a:gd name="connsiteY125" fmla="*/ 561975 h 695341"/>
              <a:gd name="connsiteX126" fmla="*/ 607318 w 798069"/>
              <a:gd name="connsiteY126" fmla="*/ 564356 h 695341"/>
              <a:gd name="connsiteX127" fmla="*/ 593030 w 798069"/>
              <a:gd name="connsiteY127" fmla="*/ 573881 h 695341"/>
              <a:gd name="connsiteX128" fmla="*/ 562074 w 798069"/>
              <a:gd name="connsiteY128" fmla="*/ 576262 h 695341"/>
              <a:gd name="connsiteX129" fmla="*/ 540643 w 798069"/>
              <a:gd name="connsiteY129" fmla="*/ 590550 h 695341"/>
              <a:gd name="connsiteX130" fmla="*/ 533499 w 798069"/>
              <a:gd name="connsiteY130" fmla="*/ 595312 h 695341"/>
              <a:gd name="connsiteX131" fmla="*/ 526355 w 798069"/>
              <a:gd name="connsiteY131" fmla="*/ 597693 h 695341"/>
              <a:gd name="connsiteX132" fmla="*/ 514449 w 798069"/>
              <a:gd name="connsiteY132" fmla="*/ 611981 h 695341"/>
              <a:gd name="connsiteX133" fmla="*/ 512068 w 798069"/>
              <a:gd name="connsiteY133" fmla="*/ 619125 h 695341"/>
              <a:gd name="connsiteX134" fmla="*/ 507305 w 798069"/>
              <a:gd name="connsiteY134" fmla="*/ 640556 h 695341"/>
              <a:gd name="connsiteX135" fmla="*/ 502543 w 798069"/>
              <a:gd name="connsiteY135" fmla="*/ 654843 h 695341"/>
              <a:gd name="connsiteX136" fmla="*/ 500162 w 798069"/>
              <a:gd name="connsiteY136" fmla="*/ 661987 h 695341"/>
              <a:gd name="connsiteX137" fmla="*/ 493018 w 798069"/>
              <a:gd name="connsiteY137" fmla="*/ 664368 h 695341"/>
              <a:gd name="connsiteX138" fmla="*/ 485874 w 798069"/>
              <a:gd name="connsiteY138" fmla="*/ 659606 h 695341"/>
              <a:gd name="connsiteX139" fmla="*/ 471587 w 798069"/>
              <a:gd name="connsiteY139" fmla="*/ 645318 h 695341"/>
              <a:gd name="connsiteX140" fmla="*/ 447774 w 798069"/>
              <a:gd name="connsiteY140" fmla="*/ 647700 h 695341"/>
              <a:gd name="connsiteX141" fmla="*/ 435868 w 798069"/>
              <a:gd name="connsiteY141" fmla="*/ 659606 h 695341"/>
              <a:gd name="connsiteX142" fmla="*/ 414437 w 798069"/>
              <a:gd name="connsiteY142" fmla="*/ 671512 h 695341"/>
              <a:gd name="connsiteX143" fmla="*/ 407293 w 798069"/>
              <a:gd name="connsiteY143" fmla="*/ 676275 h 695341"/>
              <a:gd name="connsiteX144" fmla="*/ 385862 w 798069"/>
              <a:gd name="connsiteY144" fmla="*/ 671512 h 695341"/>
              <a:gd name="connsiteX145" fmla="*/ 314424 w 798069"/>
              <a:gd name="connsiteY145" fmla="*/ 673893 h 695341"/>
              <a:gd name="connsiteX146" fmla="*/ 300137 w 798069"/>
              <a:gd name="connsiteY146" fmla="*/ 676275 h 695341"/>
              <a:gd name="connsiteX147" fmla="*/ 297755 w 798069"/>
              <a:gd name="connsiteY147" fmla="*/ 666750 h 695341"/>
              <a:gd name="connsiteX148" fmla="*/ 292993 w 798069"/>
              <a:gd name="connsiteY148" fmla="*/ 652462 h 695341"/>
              <a:gd name="connsiteX149" fmla="*/ 288230 w 798069"/>
              <a:gd name="connsiteY149" fmla="*/ 638175 h 695341"/>
              <a:gd name="connsiteX150" fmla="*/ 281087 w 798069"/>
              <a:gd name="connsiteY150" fmla="*/ 633412 h 695341"/>
              <a:gd name="connsiteX151" fmla="*/ 271562 w 798069"/>
              <a:gd name="connsiteY151" fmla="*/ 635793 h 695341"/>
              <a:gd name="connsiteX152" fmla="*/ 269180 w 798069"/>
              <a:gd name="connsiteY152" fmla="*/ 642937 h 695341"/>
              <a:gd name="connsiteX153" fmla="*/ 257274 w 798069"/>
              <a:gd name="connsiteY153" fmla="*/ 657225 h 695341"/>
              <a:gd name="connsiteX154" fmla="*/ 250130 w 798069"/>
              <a:gd name="connsiteY154" fmla="*/ 659606 h 695341"/>
              <a:gd name="connsiteX155" fmla="*/ 238224 w 798069"/>
              <a:gd name="connsiteY155" fmla="*/ 671512 h 695341"/>
              <a:gd name="connsiteX156" fmla="*/ 235843 w 798069"/>
              <a:gd name="connsiteY156" fmla="*/ 678656 h 695341"/>
              <a:gd name="connsiteX157" fmla="*/ 233462 w 798069"/>
              <a:gd name="connsiteY157" fmla="*/ 688181 h 695341"/>
              <a:gd name="connsiteX158" fmla="*/ 226318 w 798069"/>
              <a:gd name="connsiteY158" fmla="*/ 690562 h 695341"/>
              <a:gd name="connsiteX159" fmla="*/ 212030 w 798069"/>
              <a:gd name="connsiteY159" fmla="*/ 688181 h 695341"/>
              <a:gd name="connsiteX160" fmla="*/ 204887 w 798069"/>
              <a:gd name="connsiteY160" fmla="*/ 685800 h 695341"/>
              <a:gd name="connsiteX161" fmla="*/ 173930 w 798069"/>
              <a:gd name="connsiteY161" fmla="*/ 688181 h 695341"/>
              <a:gd name="connsiteX162" fmla="*/ 164405 w 798069"/>
              <a:gd name="connsiteY162" fmla="*/ 685800 h 695341"/>
              <a:gd name="connsiteX163" fmla="*/ 154880 w 798069"/>
              <a:gd name="connsiteY163" fmla="*/ 664368 h 695341"/>
              <a:gd name="connsiteX164" fmla="*/ 140593 w 798069"/>
              <a:gd name="connsiteY164" fmla="*/ 654843 h 695341"/>
              <a:gd name="connsiteX165" fmla="*/ 133449 w 798069"/>
              <a:gd name="connsiteY165" fmla="*/ 657225 h 695341"/>
              <a:gd name="connsiteX166" fmla="*/ 119162 w 798069"/>
              <a:gd name="connsiteY166" fmla="*/ 669131 h 695341"/>
              <a:gd name="connsiteX167" fmla="*/ 112018 w 798069"/>
              <a:gd name="connsiteY167" fmla="*/ 673893 h 695341"/>
              <a:gd name="connsiteX168" fmla="*/ 95349 w 798069"/>
              <a:gd name="connsiteY168" fmla="*/ 671512 h 695341"/>
              <a:gd name="connsiteX169" fmla="*/ 85824 w 798069"/>
              <a:gd name="connsiteY169" fmla="*/ 659606 h 695341"/>
              <a:gd name="connsiteX170" fmla="*/ 78680 w 798069"/>
              <a:gd name="connsiteY170" fmla="*/ 654843 h 695341"/>
              <a:gd name="connsiteX171" fmla="*/ 73918 w 798069"/>
              <a:gd name="connsiteY171" fmla="*/ 661987 h 695341"/>
              <a:gd name="connsiteX172" fmla="*/ 66774 w 798069"/>
              <a:gd name="connsiteY172" fmla="*/ 671512 h 695341"/>
              <a:gd name="connsiteX173" fmla="*/ 64393 w 798069"/>
              <a:gd name="connsiteY173" fmla="*/ 678656 h 695341"/>
              <a:gd name="connsiteX174" fmla="*/ 57249 w 798069"/>
              <a:gd name="connsiteY174" fmla="*/ 683418 h 695341"/>
              <a:gd name="connsiteX175" fmla="*/ 50105 w 798069"/>
              <a:gd name="connsiteY175" fmla="*/ 685800 h 695341"/>
              <a:gd name="connsiteX176" fmla="*/ 28674 w 798069"/>
              <a:gd name="connsiteY176" fmla="*/ 695325 h 695341"/>
              <a:gd name="connsiteX0" fmla="*/ 28674 w 798069"/>
              <a:gd name="connsiteY0" fmla="*/ 695325 h 695341"/>
              <a:gd name="connsiteX1" fmla="*/ 31055 w 798069"/>
              <a:gd name="connsiteY1" fmla="*/ 683418 h 695341"/>
              <a:gd name="connsiteX2" fmla="*/ 23912 w 798069"/>
              <a:gd name="connsiteY2" fmla="*/ 654843 h 695341"/>
              <a:gd name="connsiteX3" fmla="*/ 19149 w 798069"/>
              <a:gd name="connsiteY3" fmla="*/ 647700 h 695341"/>
              <a:gd name="connsiteX4" fmla="*/ 12005 w 798069"/>
              <a:gd name="connsiteY4" fmla="*/ 626268 h 695341"/>
              <a:gd name="connsiteX5" fmla="*/ 9624 w 798069"/>
              <a:gd name="connsiteY5" fmla="*/ 619125 h 695341"/>
              <a:gd name="connsiteX6" fmla="*/ 12005 w 798069"/>
              <a:gd name="connsiteY6" fmla="*/ 533400 h 695341"/>
              <a:gd name="connsiteX7" fmla="*/ 16768 w 798069"/>
              <a:gd name="connsiteY7" fmla="*/ 519112 h 695341"/>
              <a:gd name="connsiteX8" fmla="*/ 21530 w 798069"/>
              <a:gd name="connsiteY8" fmla="*/ 511968 h 695341"/>
              <a:gd name="connsiteX9" fmla="*/ 19149 w 798069"/>
              <a:gd name="connsiteY9" fmla="*/ 492918 h 695341"/>
              <a:gd name="connsiteX10" fmla="*/ 4862 w 798069"/>
              <a:gd name="connsiteY10" fmla="*/ 481012 h 695341"/>
              <a:gd name="connsiteX11" fmla="*/ 99 w 798069"/>
              <a:gd name="connsiteY11" fmla="*/ 473868 h 695341"/>
              <a:gd name="connsiteX12" fmla="*/ 2480 w 798069"/>
              <a:gd name="connsiteY12" fmla="*/ 464343 h 695341"/>
              <a:gd name="connsiteX13" fmla="*/ 23912 w 798069"/>
              <a:gd name="connsiteY13" fmla="*/ 447675 h 695341"/>
              <a:gd name="connsiteX14" fmla="*/ 38199 w 798069"/>
              <a:gd name="connsiteY14" fmla="*/ 433387 h 695341"/>
              <a:gd name="connsiteX15" fmla="*/ 52487 w 798069"/>
              <a:gd name="connsiteY15" fmla="*/ 421481 h 695341"/>
              <a:gd name="connsiteX16" fmla="*/ 57249 w 798069"/>
              <a:gd name="connsiteY16" fmla="*/ 414337 h 695341"/>
              <a:gd name="connsiteX17" fmla="*/ 62012 w 798069"/>
              <a:gd name="connsiteY17" fmla="*/ 388143 h 695341"/>
              <a:gd name="connsiteX18" fmla="*/ 69155 w 798069"/>
              <a:gd name="connsiteY18" fmla="*/ 364331 h 695341"/>
              <a:gd name="connsiteX19" fmla="*/ 73918 w 798069"/>
              <a:gd name="connsiteY19" fmla="*/ 357187 h 695341"/>
              <a:gd name="connsiteX20" fmla="*/ 76299 w 798069"/>
              <a:gd name="connsiteY20" fmla="*/ 350043 h 695341"/>
              <a:gd name="connsiteX21" fmla="*/ 88205 w 798069"/>
              <a:gd name="connsiteY21" fmla="*/ 333375 h 695341"/>
              <a:gd name="connsiteX22" fmla="*/ 100112 w 798069"/>
              <a:gd name="connsiteY22" fmla="*/ 321468 h 695341"/>
              <a:gd name="connsiteX23" fmla="*/ 112018 w 798069"/>
              <a:gd name="connsiteY23" fmla="*/ 307181 h 695341"/>
              <a:gd name="connsiteX24" fmla="*/ 121543 w 798069"/>
              <a:gd name="connsiteY24" fmla="*/ 292893 h 695341"/>
              <a:gd name="connsiteX25" fmla="*/ 133449 w 798069"/>
              <a:gd name="connsiteY25" fmla="*/ 278606 h 695341"/>
              <a:gd name="connsiteX26" fmla="*/ 138212 w 798069"/>
              <a:gd name="connsiteY26" fmla="*/ 269081 h 695341"/>
              <a:gd name="connsiteX27" fmla="*/ 147737 w 798069"/>
              <a:gd name="connsiteY27" fmla="*/ 254793 h 695341"/>
              <a:gd name="connsiteX28" fmla="*/ 159643 w 798069"/>
              <a:gd name="connsiteY28" fmla="*/ 233362 h 695341"/>
              <a:gd name="connsiteX29" fmla="*/ 164405 w 798069"/>
              <a:gd name="connsiteY29" fmla="*/ 223837 h 695341"/>
              <a:gd name="connsiteX30" fmla="*/ 169168 w 798069"/>
              <a:gd name="connsiteY30" fmla="*/ 216693 h 695341"/>
              <a:gd name="connsiteX31" fmla="*/ 176312 w 798069"/>
              <a:gd name="connsiteY31" fmla="*/ 202406 h 695341"/>
              <a:gd name="connsiteX32" fmla="*/ 185837 w 798069"/>
              <a:gd name="connsiteY32" fmla="*/ 188118 h 695341"/>
              <a:gd name="connsiteX33" fmla="*/ 183455 w 798069"/>
              <a:gd name="connsiteY33" fmla="*/ 166687 h 695341"/>
              <a:gd name="connsiteX34" fmla="*/ 173930 w 798069"/>
              <a:gd name="connsiteY34" fmla="*/ 159543 h 695341"/>
              <a:gd name="connsiteX35" fmla="*/ 169168 w 798069"/>
              <a:gd name="connsiteY35" fmla="*/ 152400 h 695341"/>
              <a:gd name="connsiteX36" fmla="*/ 171549 w 798069"/>
              <a:gd name="connsiteY36" fmla="*/ 126206 h 695341"/>
              <a:gd name="connsiteX37" fmla="*/ 176312 w 798069"/>
              <a:gd name="connsiteY37" fmla="*/ 119062 h 695341"/>
              <a:gd name="connsiteX38" fmla="*/ 178693 w 798069"/>
              <a:gd name="connsiteY38" fmla="*/ 111918 h 695341"/>
              <a:gd name="connsiteX39" fmla="*/ 185837 w 798069"/>
              <a:gd name="connsiteY39" fmla="*/ 97631 h 695341"/>
              <a:gd name="connsiteX40" fmla="*/ 183455 w 798069"/>
              <a:gd name="connsiteY40" fmla="*/ 85725 h 695341"/>
              <a:gd name="connsiteX41" fmla="*/ 178693 w 798069"/>
              <a:gd name="connsiteY41" fmla="*/ 78581 h 695341"/>
              <a:gd name="connsiteX42" fmla="*/ 190599 w 798069"/>
              <a:gd name="connsiteY42" fmla="*/ 52387 h 695341"/>
              <a:gd name="connsiteX43" fmla="*/ 197743 w 798069"/>
              <a:gd name="connsiteY43" fmla="*/ 50006 h 695341"/>
              <a:gd name="connsiteX44" fmla="*/ 219174 w 798069"/>
              <a:gd name="connsiteY44" fmla="*/ 30956 h 695341"/>
              <a:gd name="connsiteX45" fmla="*/ 231080 w 798069"/>
              <a:gd name="connsiteY45" fmla="*/ 19050 h 695341"/>
              <a:gd name="connsiteX46" fmla="*/ 235843 w 798069"/>
              <a:gd name="connsiteY46" fmla="*/ 11906 h 695341"/>
              <a:gd name="connsiteX47" fmla="*/ 242987 w 798069"/>
              <a:gd name="connsiteY47" fmla="*/ 14287 h 695341"/>
              <a:gd name="connsiteX48" fmla="*/ 247749 w 798069"/>
              <a:gd name="connsiteY48" fmla="*/ 30956 h 695341"/>
              <a:gd name="connsiteX49" fmla="*/ 250130 w 798069"/>
              <a:gd name="connsiteY49" fmla="*/ 78581 h 695341"/>
              <a:gd name="connsiteX50" fmla="*/ 257275 w 798069"/>
              <a:gd name="connsiteY50" fmla="*/ 78581 h 695341"/>
              <a:gd name="connsiteX51" fmla="*/ 273943 w 798069"/>
              <a:gd name="connsiteY51" fmla="*/ 88105 h 695341"/>
              <a:gd name="connsiteX52" fmla="*/ 281087 w 798069"/>
              <a:gd name="connsiteY52" fmla="*/ 102393 h 695341"/>
              <a:gd name="connsiteX53" fmla="*/ 288230 w 798069"/>
              <a:gd name="connsiteY53" fmla="*/ 104775 h 695341"/>
              <a:gd name="connsiteX54" fmla="*/ 307280 w 798069"/>
              <a:gd name="connsiteY54" fmla="*/ 102393 h 695341"/>
              <a:gd name="connsiteX55" fmla="*/ 319187 w 798069"/>
              <a:gd name="connsiteY55" fmla="*/ 100012 h 695341"/>
              <a:gd name="connsiteX56" fmla="*/ 352524 w 798069"/>
              <a:gd name="connsiteY56" fmla="*/ 102393 h 695341"/>
              <a:gd name="connsiteX57" fmla="*/ 354905 w 798069"/>
              <a:gd name="connsiteY57" fmla="*/ 109537 h 695341"/>
              <a:gd name="connsiteX58" fmla="*/ 359668 w 798069"/>
              <a:gd name="connsiteY58" fmla="*/ 147637 h 695341"/>
              <a:gd name="connsiteX59" fmla="*/ 364430 w 798069"/>
              <a:gd name="connsiteY59" fmla="*/ 157162 h 695341"/>
              <a:gd name="connsiteX60" fmla="*/ 371574 w 798069"/>
              <a:gd name="connsiteY60" fmla="*/ 159543 h 695341"/>
              <a:gd name="connsiteX61" fmla="*/ 414437 w 798069"/>
              <a:gd name="connsiteY61" fmla="*/ 157162 h 695341"/>
              <a:gd name="connsiteX62" fmla="*/ 428724 w 798069"/>
              <a:gd name="connsiteY62" fmla="*/ 150018 h 695341"/>
              <a:gd name="connsiteX63" fmla="*/ 435868 w 798069"/>
              <a:gd name="connsiteY63" fmla="*/ 142875 h 695341"/>
              <a:gd name="connsiteX64" fmla="*/ 450155 w 798069"/>
              <a:gd name="connsiteY64" fmla="*/ 133350 h 695341"/>
              <a:gd name="connsiteX65" fmla="*/ 457299 w 798069"/>
              <a:gd name="connsiteY65" fmla="*/ 128587 h 695341"/>
              <a:gd name="connsiteX66" fmla="*/ 464443 w 798069"/>
              <a:gd name="connsiteY66" fmla="*/ 126206 h 695341"/>
              <a:gd name="connsiteX67" fmla="*/ 478730 w 798069"/>
              <a:gd name="connsiteY67" fmla="*/ 116681 h 695341"/>
              <a:gd name="connsiteX68" fmla="*/ 490637 w 798069"/>
              <a:gd name="connsiteY68" fmla="*/ 95250 h 695341"/>
              <a:gd name="connsiteX69" fmla="*/ 493018 w 798069"/>
              <a:gd name="connsiteY69" fmla="*/ 78581 h 695341"/>
              <a:gd name="connsiteX70" fmla="*/ 495399 w 798069"/>
              <a:gd name="connsiteY70" fmla="*/ 71437 h 695341"/>
              <a:gd name="connsiteX71" fmla="*/ 502543 w 798069"/>
              <a:gd name="connsiteY71" fmla="*/ 45243 h 695341"/>
              <a:gd name="connsiteX72" fmla="*/ 512068 w 798069"/>
              <a:gd name="connsiteY72" fmla="*/ 0 h 695341"/>
              <a:gd name="connsiteX73" fmla="*/ 523974 w 798069"/>
              <a:gd name="connsiteY73" fmla="*/ 9525 h 695341"/>
              <a:gd name="connsiteX74" fmla="*/ 531118 w 798069"/>
              <a:gd name="connsiteY74" fmla="*/ 16668 h 695341"/>
              <a:gd name="connsiteX75" fmla="*/ 540643 w 798069"/>
              <a:gd name="connsiteY75" fmla="*/ 30956 h 695341"/>
              <a:gd name="connsiteX76" fmla="*/ 550168 w 798069"/>
              <a:gd name="connsiteY76" fmla="*/ 45243 h 695341"/>
              <a:gd name="connsiteX77" fmla="*/ 562074 w 798069"/>
              <a:gd name="connsiteY77" fmla="*/ 59531 h 695341"/>
              <a:gd name="connsiteX78" fmla="*/ 590649 w 798069"/>
              <a:gd name="connsiteY78" fmla="*/ 66675 h 695341"/>
              <a:gd name="connsiteX79" fmla="*/ 604937 w 798069"/>
              <a:gd name="connsiteY79" fmla="*/ 73818 h 695341"/>
              <a:gd name="connsiteX80" fmla="*/ 609699 w 798069"/>
              <a:gd name="connsiteY80" fmla="*/ 80962 h 695341"/>
              <a:gd name="connsiteX81" fmla="*/ 616843 w 798069"/>
              <a:gd name="connsiteY81" fmla="*/ 88106 h 695341"/>
              <a:gd name="connsiteX82" fmla="*/ 628749 w 798069"/>
              <a:gd name="connsiteY82" fmla="*/ 100012 h 695341"/>
              <a:gd name="connsiteX83" fmla="*/ 638274 w 798069"/>
              <a:gd name="connsiteY83" fmla="*/ 114300 h 695341"/>
              <a:gd name="connsiteX84" fmla="*/ 645418 w 798069"/>
              <a:gd name="connsiteY84" fmla="*/ 119062 h 695341"/>
              <a:gd name="connsiteX85" fmla="*/ 688280 w 798069"/>
              <a:gd name="connsiteY85" fmla="*/ 123825 h 695341"/>
              <a:gd name="connsiteX86" fmla="*/ 709712 w 798069"/>
              <a:gd name="connsiteY86" fmla="*/ 142875 h 695341"/>
              <a:gd name="connsiteX87" fmla="*/ 726380 w 798069"/>
              <a:gd name="connsiteY87" fmla="*/ 147637 h 695341"/>
              <a:gd name="connsiteX88" fmla="*/ 740668 w 798069"/>
              <a:gd name="connsiteY88" fmla="*/ 152400 h 695341"/>
              <a:gd name="connsiteX89" fmla="*/ 754955 w 798069"/>
              <a:gd name="connsiteY89" fmla="*/ 159543 h 695341"/>
              <a:gd name="connsiteX90" fmla="*/ 766862 w 798069"/>
              <a:gd name="connsiteY90" fmla="*/ 183356 h 695341"/>
              <a:gd name="connsiteX91" fmla="*/ 769243 w 798069"/>
              <a:gd name="connsiteY91" fmla="*/ 211931 h 695341"/>
              <a:gd name="connsiteX92" fmla="*/ 771624 w 798069"/>
              <a:gd name="connsiteY92" fmla="*/ 219075 h 695341"/>
              <a:gd name="connsiteX93" fmla="*/ 774005 w 798069"/>
              <a:gd name="connsiteY93" fmla="*/ 309562 h 695341"/>
              <a:gd name="connsiteX94" fmla="*/ 776387 w 798069"/>
              <a:gd name="connsiteY94" fmla="*/ 316706 h 695341"/>
              <a:gd name="connsiteX95" fmla="*/ 790674 w 798069"/>
              <a:gd name="connsiteY95" fmla="*/ 326231 h 695341"/>
              <a:gd name="connsiteX96" fmla="*/ 795437 w 798069"/>
              <a:gd name="connsiteY96" fmla="*/ 333375 h 695341"/>
              <a:gd name="connsiteX97" fmla="*/ 795437 w 798069"/>
              <a:gd name="connsiteY97" fmla="*/ 357187 h 695341"/>
              <a:gd name="connsiteX98" fmla="*/ 790674 w 798069"/>
              <a:gd name="connsiteY98" fmla="*/ 364331 h 695341"/>
              <a:gd name="connsiteX99" fmla="*/ 776387 w 798069"/>
              <a:gd name="connsiteY99" fmla="*/ 373856 h 695341"/>
              <a:gd name="connsiteX100" fmla="*/ 735906 w 798069"/>
              <a:gd name="connsiteY100" fmla="*/ 378619 h 695341"/>
              <a:gd name="connsiteX101" fmla="*/ 733524 w 798069"/>
              <a:gd name="connsiteY101" fmla="*/ 376237 h 695341"/>
              <a:gd name="connsiteX102" fmla="*/ 716855 w 798069"/>
              <a:gd name="connsiteY102" fmla="*/ 364331 h 695341"/>
              <a:gd name="connsiteX103" fmla="*/ 714474 w 798069"/>
              <a:gd name="connsiteY103" fmla="*/ 369093 h 695341"/>
              <a:gd name="connsiteX104" fmla="*/ 697805 w 798069"/>
              <a:gd name="connsiteY104" fmla="*/ 378618 h 695341"/>
              <a:gd name="connsiteX105" fmla="*/ 690662 w 798069"/>
              <a:gd name="connsiteY105" fmla="*/ 392906 h 695341"/>
              <a:gd name="connsiteX106" fmla="*/ 697805 w 798069"/>
              <a:gd name="connsiteY106" fmla="*/ 395287 h 695341"/>
              <a:gd name="connsiteX107" fmla="*/ 709712 w 798069"/>
              <a:gd name="connsiteY107" fmla="*/ 397668 h 695341"/>
              <a:gd name="connsiteX108" fmla="*/ 716855 w 798069"/>
              <a:gd name="connsiteY108" fmla="*/ 404812 h 695341"/>
              <a:gd name="connsiteX109" fmla="*/ 728762 w 798069"/>
              <a:gd name="connsiteY109" fmla="*/ 423862 h 695341"/>
              <a:gd name="connsiteX110" fmla="*/ 745430 w 798069"/>
              <a:gd name="connsiteY110" fmla="*/ 426243 h 695341"/>
              <a:gd name="connsiteX111" fmla="*/ 750193 w 798069"/>
              <a:gd name="connsiteY111" fmla="*/ 433387 h 695341"/>
              <a:gd name="connsiteX112" fmla="*/ 747812 w 798069"/>
              <a:gd name="connsiteY112" fmla="*/ 454818 h 695341"/>
              <a:gd name="connsiteX113" fmla="*/ 745430 w 798069"/>
              <a:gd name="connsiteY113" fmla="*/ 464343 h 695341"/>
              <a:gd name="connsiteX114" fmla="*/ 735905 w 798069"/>
              <a:gd name="connsiteY114" fmla="*/ 485775 h 695341"/>
              <a:gd name="connsiteX115" fmla="*/ 728762 w 798069"/>
              <a:gd name="connsiteY115" fmla="*/ 488156 h 695341"/>
              <a:gd name="connsiteX116" fmla="*/ 721618 w 798069"/>
              <a:gd name="connsiteY116" fmla="*/ 492918 h 695341"/>
              <a:gd name="connsiteX117" fmla="*/ 716855 w 798069"/>
              <a:gd name="connsiteY117" fmla="*/ 509587 h 695341"/>
              <a:gd name="connsiteX118" fmla="*/ 712093 w 798069"/>
              <a:gd name="connsiteY118" fmla="*/ 516731 h 695341"/>
              <a:gd name="connsiteX119" fmla="*/ 704949 w 798069"/>
              <a:gd name="connsiteY119" fmla="*/ 519112 h 695341"/>
              <a:gd name="connsiteX120" fmla="*/ 697805 w 798069"/>
              <a:gd name="connsiteY120" fmla="*/ 523875 h 695341"/>
              <a:gd name="connsiteX121" fmla="*/ 669230 w 798069"/>
              <a:gd name="connsiteY121" fmla="*/ 528637 h 695341"/>
              <a:gd name="connsiteX122" fmla="*/ 662087 w 798069"/>
              <a:gd name="connsiteY122" fmla="*/ 535781 h 695341"/>
              <a:gd name="connsiteX123" fmla="*/ 650180 w 798069"/>
              <a:gd name="connsiteY123" fmla="*/ 547687 h 695341"/>
              <a:gd name="connsiteX124" fmla="*/ 635893 w 798069"/>
              <a:gd name="connsiteY124" fmla="*/ 550068 h 695341"/>
              <a:gd name="connsiteX125" fmla="*/ 614462 w 798069"/>
              <a:gd name="connsiteY125" fmla="*/ 561975 h 695341"/>
              <a:gd name="connsiteX126" fmla="*/ 607318 w 798069"/>
              <a:gd name="connsiteY126" fmla="*/ 564356 h 695341"/>
              <a:gd name="connsiteX127" fmla="*/ 593030 w 798069"/>
              <a:gd name="connsiteY127" fmla="*/ 573881 h 695341"/>
              <a:gd name="connsiteX128" fmla="*/ 562074 w 798069"/>
              <a:gd name="connsiteY128" fmla="*/ 576262 h 695341"/>
              <a:gd name="connsiteX129" fmla="*/ 540643 w 798069"/>
              <a:gd name="connsiteY129" fmla="*/ 590550 h 695341"/>
              <a:gd name="connsiteX130" fmla="*/ 533499 w 798069"/>
              <a:gd name="connsiteY130" fmla="*/ 595312 h 695341"/>
              <a:gd name="connsiteX131" fmla="*/ 526355 w 798069"/>
              <a:gd name="connsiteY131" fmla="*/ 597693 h 695341"/>
              <a:gd name="connsiteX132" fmla="*/ 514449 w 798069"/>
              <a:gd name="connsiteY132" fmla="*/ 611981 h 695341"/>
              <a:gd name="connsiteX133" fmla="*/ 512068 w 798069"/>
              <a:gd name="connsiteY133" fmla="*/ 619125 h 695341"/>
              <a:gd name="connsiteX134" fmla="*/ 507305 w 798069"/>
              <a:gd name="connsiteY134" fmla="*/ 640556 h 695341"/>
              <a:gd name="connsiteX135" fmla="*/ 502543 w 798069"/>
              <a:gd name="connsiteY135" fmla="*/ 654843 h 695341"/>
              <a:gd name="connsiteX136" fmla="*/ 500162 w 798069"/>
              <a:gd name="connsiteY136" fmla="*/ 661987 h 695341"/>
              <a:gd name="connsiteX137" fmla="*/ 493018 w 798069"/>
              <a:gd name="connsiteY137" fmla="*/ 664368 h 695341"/>
              <a:gd name="connsiteX138" fmla="*/ 485874 w 798069"/>
              <a:gd name="connsiteY138" fmla="*/ 659606 h 695341"/>
              <a:gd name="connsiteX139" fmla="*/ 471587 w 798069"/>
              <a:gd name="connsiteY139" fmla="*/ 645318 h 695341"/>
              <a:gd name="connsiteX140" fmla="*/ 447774 w 798069"/>
              <a:gd name="connsiteY140" fmla="*/ 647700 h 695341"/>
              <a:gd name="connsiteX141" fmla="*/ 435868 w 798069"/>
              <a:gd name="connsiteY141" fmla="*/ 659606 h 695341"/>
              <a:gd name="connsiteX142" fmla="*/ 414437 w 798069"/>
              <a:gd name="connsiteY142" fmla="*/ 671512 h 695341"/>
              <a:gd name="connsiteX143" fmla="*/ 407293 w 798069"/>
              <a:gd name="connsiteY143" fmla="*/ 676275 h 695341"/>
              <a:gd name="connsiteX144" fmla="*/ 385862 w 798069"/>
              <a:gd name="connsiteY144" fmla="*/ 671512 h 695341"/>
              <a:gd name="connsiteX145" fmla="*/ 314424 w 798069"/>
              <a:gd name="connsiteY145" fmla="*/ 673893 h 695341"/>
              <a:gd name="connsiteX146" fmla="*/ 300137 w 798069"/>
              <a:gd name="connsiteY146" fmla="*/ 676275 h 695341"/>
              <a:gd name="connsiteX147" fmla="*/ 297755 w 798069"/>
              <a:gd name="connsiteY147" fmla="*/ 666750 h 695341"/>
              <a:gd name="connsiteX148" fmla="*/ 292993 w 798069"/>
              <a:gd name="connsiteY148" fmla="*/ 652462 h 695341"/>
              <a:gd name="connsiteX149" fmla="*/ 288230 w 798069"/>
              <a:gd name="connsiteY149" fmla="*/ 638175 h 695341"/>
              <a:gd name="connsiteX150" fmla="*/ 281087 w 798069"/>
              <a:gd name="connsiteY150" fmla="*/ 633412 h 695341"/>
              <a:gd name="connsiteX151" fmla="*/ 271562 w 798069"/>
              <a:gd name="connsiteY151" fmla="*/ 635793 h 695341"/>
              <a:gd name="connsiteX152" fmla="*/ 269180 w 798069"/>
              <a:gd name="connsiteY152" fmla="*/ 642937 h 695341"/>
              <a:gd name="connsiteX153" fmla="*/ 257274 w 798069"/>
              <a:gd name="connsiteY153" fmla="*/ 657225 h 695341"/>
              <a:gd name="connsiteX154" fmla="*/ 250130 w 798069"/>
              <a:gd name="connsiteY154" fmla="*/ 659606 h 695341"/>
              <a:gd name="connsiteX155" fmla="*/ 238224 w 798069"/>
              <a:gd name="connsiteY155" fmla="*/ 671512 h 695341"/>
              <a:gd name="connsiteX156" fmla="*/ 235843 w 798069"/>
              <a:gd name="connsiteY156" fmla="*/ 678656 h 695341"/>
              <a:gd name="connsiteX157" fmla="*/ 233462 w 798069"/>
              <a:gd name="connsiteY157" fmla="*/ 688181 h 695341"/>
              <a:gd name="connsiteX158" fmla="*/ 226318 w 798069"/>
              <a:gd name="connsiteY158" fmla="*/ 690562 h 695341"/>
              <a:gd name="connsiteX159" fmla="*/ 212030 w 798069"/>
              <a:gd name="connsiteY159" fmla="*/ 688181 h 695341"/>
              <a:gd name="connsiteX160" fmla="*/ 204887 w 798069"/>
              <a:gd name="connsiteY160" fmla="*/ 685800 h 695341"/>
              <a:gd name="connsiteX161" fmla="*/ 173930 w 798069"/>
              <a:gd name="connsiteY161" fmla="*/ 688181 h 695341"/>
              <a:gd name="connsiteX162" fmla="*/ 164405 w 798069"/>
              <a:gd name="connsiteY162" fmla="*/ 685800 h 695341"/>
              <a:gd name="connsiteX163" fmla="*/ 154880 w 798069"/>
              <a:gd name="connsiteY163" fmla="*/ 664368 h 695341"/>
              <a:gd name="connsiteX164" fmla="*/ 140593 w 798069"/>
              <a:gd name="connsiteY164" fmla="*/ 654843 h 695341"/>
              <a:gd name="connsiteX165" fmla="*/ 133449 w 798069"/>
              <a:gd name="connsiteY165" fmla="*/ 657225 h 695341"/>
              <a:gd name="connsiteX166" fmla="*/ 119162 w 798069"/>
              <a:gd name="connsiteY166" fmla="*/ 669131 h 695341"/>
              <a:gd name="connsiteX167" fmla="*/ 112018 w 798069"/>
              <a:gd name="connsiteY167" fmla="*/ 673893 h 695341"/>
              <a:gd name="connsiteX168" fmla="*/ 95349 w 798069"/>
              <a:gd name="connsiteY168" fmla="*/ 671512 h 695341"/>
              <a:gd name="connsiteX169" fmla="*/ 85824 w 798069"/>
              <a:gd name="connsiteY169" fmla="*/ 659606 h 695341"/>
              <a:gd name="connsiteX170" fmla="*/ 78680 w 798069"/>
              <a:gd name="connsiteY170" fmla="*/ 654843 h 695341"/>
              <a:gd name="connsiteX171" fmla="*/ 73918 w 798069"/>
              <a:gd name="connsiteY171" fmla="*/ 661987 h 695341"/>
              <a:gd name="connsiteX172" fmla="*/ 66774 w 798069"/>
              <a:gd name="connsiteY172" fmla="*/ 671512 h 695341"/>
              <a:gd name="connsiteX173" fmla="*/ 64393 w 798069"/>
              <a:gd name="connsiteY173" fmla="*/ 678656 h 695341"/>
              <a:gd name="connsiteX174" fmla="*/ 57249 w 798069"/>
              <a:gd name="connsiteY174" fmla="*/ 683418 h 695341"/>
              <a:gd name="connsiteX175" fmla="*/ 50105 w 798069"/>
              <a:gd name="connsiteY175" fmla="*/ 685800 h 695341"/>
              <a:gd name="connsiteX176" fmla="*/ 28674 w 798069"/>
              <a:gd name="connsiteY176" fmla="*/ 695325 h 695341"/>
              <a:gd name="connsiteX0" fmla="*/ 28674 w 798069"/>
              <a:gd name="connsiteY0" fmla="*/ 695325 h 695341"/>
              <a:gd name="connsiteX1" fmla="*/ 31055 w 798069"/>
              <a:gd name="connsiteY1" fmla="*/ 683418 h 695341"/>
              <a:gd name="connsiteX2" fmla="*/ 23912 w 798069"/>
              <a:gd name="connsiteY2" fmla="*/ 654843 h 695341"/>
              <a:gd name="connsiteX3" fmla="*/ 19149 w 798069"/>
              <a:gd name="connsiteY3" fmla="*/ 647700 h 695341"/>
              <a:gd name="connsiteX4" fmla="*/ 12005 w 798069"/>
              <a:gd name="connsiteY4" fmla="*/ 626268 h 695341"/>
              <a:gd name="connsiteX5" fmla="*/ 9624 w 798069"/>
              <a:gd name="connsiteY5" fmla="*/ 619125 h 695341"/>
              <a:gd name="connsiteX6" fmla="*/ 12005 w 798069"/>
              <a:gd name="connsiteY6" fmla="*/ 533400 h 695341"/>
              <a:gd name="connsiteX7" fmla="*/ 16768 w 798069"/>
              <a:gd name="connsiteY7" fmla="*/ 519112 h 695341"/>
              <a:gd name="connsiteX8" fmla="*/ 21530 w 798069"/>
              <a:gd name="connsiteY8" fmla="*/ 511968 h 695341"/>
              <a:gd name="connsiteX9" fmla="*/ 19149 w 798069"/>
              <a:gd name="connsiteY9" fmla="*/ 492918 h 695341"/>
              <a:gd name="connsiteX10" fmla="*/ 4862 w 798069"/>
              <a:gd name="connsiteY10" fmla="*/ 481012 h 695341"/>
              <a:gd name="connsiteX11" fmla="*/ 99 w 798069"/>
              <a:gd name="connsiteY11" fmla="*/ 473868 h 695341"/>
              <a:gd name="connsiteX12" fmla="*/ 2480 w 798069"/>
              <a:gd name="connsiteY12" fmla="*/ 464343 h 695341"/>
              <a:gd name="connsiteX13" fmla="*/ 23912 w 798069"/>
              <a:gd name="connsiteY13" fmla="*/ 447675 h 695341"/>
              <a:gd name="connsiteX14" fmla="*/ 38199 w 798069"/>
              <a:gd name="connsiteY14" fmla="*/ 433387 h 695341"/>
              <a:gd name="connsiteX15" fmla="*/ 52487 w 798069"/>
              <a:gd name="connsiteY15" fmla="*/ 421481 h 695341"/>
              <a:gd name="connsiteX16" fmla="*/ 57249 w 798069"/>
              <a:gd name="connsiteY16" fmla="*/ 414337 h 695341"/>
              <a:gd name="connsiteX17" fmla="*/ 62012 w 798069"/>
              <a:gd name="connsiteY17" fmla="*/ 388143 h 695341"/>
              <a:gd name="connsiteX18" fmla="*/ 69155 w 798069"/>
              <a:gd name="connsiteY18" fmla="*/ 364331 h 695341"/>
              <a:gd name="connsiteX19" fmla="*/ 73918 w 798069"/>
              <a:gd name="connsiteY19" fmla="*/ 357187 h 695341"/>
              <a:gd name="connsiteX20" fmla="*/ 76299 w 798069"/>
              <a:gd name="connsiteY20" fmla="*/ 350043 h 695341"/>
              <a:gd name="connsiteX21" fmla="*/ 88205 w 798069"/>
              <a:gd name="connsiteY21" fmla="*/ 333375 h 695341"/>
              <a:gd name="connsiteX22" fmla="*/ 100112 w 798069"/>
              <a:gd name="connsiteY22" fmla="*/ 321468 h 695341"/>
              <a:gd name="connsiteX23" fmla="*/ 112018 w 798069"/>
              <a:gd name="connsiteY23" fmla="*/ 307181 h 695341"/>
              <a:gd name="connsiteX24" fmla="*/ 121543 w 798069"/>
              <a:gd name="connsiteY24" fmla="*/ 292893 h 695341"/>
              <a:gd name="connsiteX25" fmla="*/ 133449 w 798069"/>
              <a:gd name="connsiteY25" fmla="*/ 278606 h 695341"/>
              <a:gd name="connsiteX26" fmla="*/ 138212 w 798069"/>
              <a:gd name="connsiteY26" fmla="*/ 269081 h 695341"/>
              <a:gd name="connsiteX27" fmla="*/ 147737 w 798069"/>
              <a:gd name="connsiteY27" fmla="*/ 254793 h 695341"/>
              <a:gd name="connsiteX28" fmla="*/ 159643 w 798069"/>
              <a:gd name="connsiteY28" fmla="*/ 233362 h 695341"/>
              <a:gd name="connsiteX29" fmla="*/ 164405 w 798069"/>
              <a:gd name="connsiteY29" fmla="*/ 223837 h 695341"/>
              <a:gd name="connsiteX30" fmla="*/ 169168 w 798069"/>
              <a:gd name="connsiteY30" fmla="*/ 216693 h 695341"/>
              <a:gd name="connsiteX31" fmla="*/ 176312 w 798069"/>
              <a:gd name="connsiteY31" fmla="*/ 202406 h 695341"/>
              <a:gd name="connsiteX32" fmla="*/ 185837 w 798069"/>
              <a:gd name="connsiteY32" fmla="*/ 188118 h 695341"/>
              <a:gd name="connsiteX33" fmla="*/ 183455 w 798069"/>
              <a:gd name="connsiteY33" fmla="*/ 166687 h 695341"/>
              <a:gd name="connsiteX34" fmla="*/ 173930 w 798069"/>
              <a:gd name="connsiteY34" fmla="*/ 159543 h 695341"/>
              <a:gd name="connsiteX35" fmla="*/ 169168 w 798069"/>
              <a:gd name="connsiteY35" fmla="*/ 152400 h 695341"/>
              <a:gd name="connsiteX36" fmla="*/ 171549 w 798069"/>
              <a:gd name="connsiteY36" fmla="*/ 126206 h 695341"/>
              <a:gd name="connsiteX37" fmla="*/ 176312 w 798069"/>
              <a:gd name="connsiteY37" fmla="*/ 119062 h 695341"/>
              <a:gd name="connsiteX38" fmla="*/ 178693 w 798069"/>
              <a:gd name="connsiteY38" fmla="*/ 111918 h 695341"/>
              <a:gd name="connsiteX39" fmla="*/ 185837 w 798069"/>
              <a:gd name="connsiteY39" fmla="*/ 97631 h 695341"/>
              <a:gd name="connsiteX40" fmla="*/ 183455 w 798069"/>
              <a:gd name="connsiteY40" fmla="*/ 85725 h 695341"/>
              <a:gd name="connsiteX41" fmla="*/ 178693 w 798069"/>
              <a:gd name="connsiteY41" fmla="*/ 78581 h 695341"/>
              <a:gd name="connsiteX42" fmla="*/ 190599 w 798069"/>
              <a:gd name="connsiteY42" fmla="*/ 52387 h 695341"/>
              <a:gd name="connsiteX43" fmla="*/ 197743 w 798069"/>
              <a:gd name="connsiteY43" fmla="*/ 50006 h 695341"/>
              <a:gd name="connsiteX44" fmla="*/ 219174 w 798069"/>
              <a:gd name="connsiteY44" fmla="*/ 30956 h 695341"/>
              <a:gd name="connsiteX45" fmla="*/ 231080 w 798069"/>
              <a:gd name="connsiteY45" fmla="*/ 19050 h 695341"/>
              <a:gd name="connsiteX46" fmla="*/ 235843 w 798069"/>
              <a:gd name="connsiteY46" fmla="*/ 11906 h 695341"/>
              <a:gd name="connsiteX47" fmla="*/ 242987 w 798069"/>
              <a:gd name="connsiteY47" fmla="*/ 14287 h 695341"/>
              <a:gd name="connsiteX48" fmla="*/ 247749 w 798069"/>
              <a:gd name="connsiteY48" fmla="*/ 30956 h 695341"/>
              <a:gd name="connsiteX49" fmla="*/ 250130 w 798069"/>
              <a:gd name="connsiteY49" fmla="*/ 78581 h 695341"/>
              <a:gd name="connsiteX50" fmla="*/ 257275 w 798069"/>
              <a:gd name="connsiteY50" fmla="*/ 78581 h 695341"/>
              <a:gd name="connsiteX51" fmla="*/ 273943 w 798069"/>
              <a:gd name="connsiteY51" fmla="*/ 88105 h 695341"/>
              <a:gd name="connsiteX52" fmla="*/ 281087 w 798069"/>
              <a:gd name="connsiteY52" fmla="*/ 102393 h 695341"/>
              <a:gd name="connsiteX53" fmla="*/ 288230 w 798069"/>
              <a:gd name="connsiteY53" fmla="*/ 104775 h 695341"/>
              <a:gd name="connsiteX54" fmla="*/ 307280 w 798069"/>
              <a:gd name="connsiteY54" fmla="*/ 102393 h 695341"/>
              <a:gd name="connsiteX55" fmla="*/ 319187 w 798069"/>
              <a:gd name="connsiteY55" fmla="*/ 100012 h 695341"/>
              <a:gd name="connsiteX56" fmla="*/ 352524 w 798069"/>
              <a:gd name="connsiteY56" fmla="*/ 102393 h 695341"/>
              <a:gd name="connsiteX57" fmla="*/ 354905 w 798069"/>
              <a:gd name="connsiteY57" fmla="*/ 109537 h 695341"/>
              <a:gd name="connsiteX58" fmla="*/ 359668 w 798069"/>
              <a:gd name="connsiteY58" fmla="*/ 147637 h 695341"/>
              <a:gd name="connsiteX59" fmla="*/ 364430 w 798069"/>
              <a:gd name="connsiteY59" fmla="*/ 157162 h 695341"/>
              <a:gd name="connsiteX60" fmla="*/ 371574 w 798069"/>
              <a:gd name="connsiteY60" fmla="*/ 159543 h 695341"/>
              <a:gd name="connsiteX61" fmla="*/ 414437 w 798069"/>
              <a:gd name="connsiteY61" fmla="*/ 157162 h 695341"/>
              <a:gd name="connsiteX62" fmla="*/ 428724 w 798069"/>
              <a:gd name="connsiteY62" fmla="*/ 150018 h 695341"/>
              <a:gd name="connsiteX63" fmla="*/ 435868 w 798069"/>
              <a:gd name="connsiteY63" fmla="*/ 128587 h 695341"/>
              <a:gd name="connsiteX64" fmla="*/ 450155 w 798069"/>
              <a:gd name="connsiteY64" fmla="*/ 133350 h 695341"/>
              <a:gd name="connsiteX65" fmla="*/ 457299 w 798069"/>
              <a:gd name="connsiteY65" fmla="*/ 128587 h 695341"/>
              <a:gd name="connsiteX66" fmla="*/ 464443 w 798069"/>
              <a:gd name="connsiteY66" fmla="*/ 126206 h 695341"/>
              <a:gd name="connsiteX67" fmla="*/ 478730 w 798069"/>
              <a:gd name="connsiteY67" fmla="*/ 116681 h 695341"/>
              <a:gd name="connsiteX68" fmla="*/ 490637 w 798069"/>
              <a:gd name="connsiteY68" fmla="*/ 95250 h 695341"/>
              <a:gd name="connsiteX69" fmla="*/ 493018 w 798069"/>
              <a:gd name="connsiteY69" fmla="*/ 78581 h 695341"/>
              <a:gd name="connsiteX70" fmla="*/ 495399 w 798069"/>
              <a:gd name="connsiteY70" fmla="*/ 71437 h 695341"/>
              <a:gd name="connsiteX71" fmla="*/ 502543 w 798069"/>
              <a:gd name="connsiteY71" fmla="*/ 45243 h 695341"/>
              <a:gd name="connsiteX72" fmla="*/ 512068 w 798069"/>
              <a:gd name="connsiteY72" fmla="*/ 0 h 695341"/>
              <a:gd name="connsiteX73" fmla="*/ 523974 w 798069"/>
              <a:gd name="connsiteY73" fmla="*/ 9525 h 695341"/>
              <a:gd name="connsiteX74" fmla="*/ 531118 w 798069"/>
              <a:gd name="connsiteY74" fmla="*/ 16668 h 695341"/>
              <a:gd name="connsiteX75" fmla="*/ 540643 w 798069"/>
              <a:gd name="connsiteY75" fmla="*/ 30956 h 695341"/>
              <a:gd name="connsiteX76" fmla="*/ 550168 w 798069"/>
              <a:gd name="connsiteY76" fmla="*/ 45243 h 695341"/>
              <a:gd name="connsiteX77" fmla="*/ 562074 w 798069"/>
              <a:gd name="connsiteY77" fmla="*/ 59531 h 695341"/>
              <a:gd name="connsiteX78" fmla="*/ 590649 w 798069"/>
              <a:gd name="connsiteY78" fmla="*/ 66675 h 695341"/>
              <a:gd name="connsiteX79" fmla="*/ 604937 w 798069"/>
              <a:gd name="connsiteY79" fmla="*/ 73818 h 695341"/>
              <a:gd name="connsiteX80" fmla="*/ 609699 w 798069"/>
              <a:gd name="connsiteY80" fmla="*/ 80962 h 695341"/>
              <a:gd name="connsiteX81" fmla="*/ 616843 w 798069"/>
              <a:gd name="connsiteY81" fmla="*/ 88106 h 695341"/>
              <a:gd name="connsiteX82" fmla="*/ 628749 w 798069"/>
              <a:gd name="connsiteY82" fmla="*/ 100012 h 695341"/>
              <a:gd name="connsiteX83" fmla="*/ 638274 w 798069"/>
              <a:gd name="connsiteY83" fmla="*/ 114300 h 695341"/>
              <a:gd name="connsiteX84" fmla="*/ 645418 w 798069"/>
              <a:gd name="connsiteY84" fmla="*/ 119062 h 695341"/>
              <a:gd name="connsiteX85" fmla="*/ 688280 w 798069"/>
              <a:gd name="connsiteY85" fmla="*/ 123825 h 695341"/>
              <a:gd name="connsiteX86" fmla="*/ 709712 w 798069"/>
              <a:gd name="connsiteY86" fmla="*/ 142875 h 695341"/>
              <a:gd name="connsiteX87" fmla="*/ 726380 w 798069"/>
              <a:gd name="connsiteY87" fmla="*/ 147637 h 695341"/>
              <a:gd name="connsiteX88" fmla="*/ 740668 w 798069"/>
              <a:gd name="connsiteY88" fmla="*/ 152400 h 695341"/>
              <a:gd name="connsiteX89" fmla="*/ 754955 w 798069"/>
              <a:gd name="connsiteY89" fmla="*/ 159543 h 695341"/>
              <a:gd name="connsiteX90" fmla="*/ 766862 w 798069"/>
              <a:gd name="connsiteY90" fmla="*/ 183356 h 695341"/>
              <a:gd name="connsiteX91" fmla="*/ 769243 w 798069"/>
              <a:gd name="connsiteY91" fmla="*/ 211931 h 695341"/>
              <a:gd name="connsiteX92" fmla="*/ 771624 w 798069"/>
              <a:gd name="connsiteY92" fmla="*/ 219075 h 695341"/>
              <a:gd name="connsiteX93" fmla="*/ 774005 w 798069"/>
              <a:gd name="connsiteY93" fmla="*/ 309562 h 695341"/>
              <a:gd name="connsiteX94" fmla="*/ 776387 w 798069"/>
              <a:gd name="connsiteY94" fmla="*/ 316706 h 695341"/>
              <a:gd name="connsiteX95" fmla="*/ 790674 w 798069"/>
              <a:gd name="connsiteY95" fmla="*/ 326231 h 695341"/>
              <a:gd name="connsiteX96" fmla="*/ 795437 w 798069"/>
              <a:gd name="connsiteY96" fmla="*/ 333375 h 695341"/>
              <a:gd name="connsiteX97" fmla="*/ 795437 w 798069"/>
              <a:gd name="connsiteY97" fmla="*/ 357187 h 695341"/>
              <a:gd name="connsiteX98" fmla="*/ 790674 w 798069"/>
              <a:gd name="connsiteY98" fmla="*/ 364331 h 695341"/>
              <a:gd name="connsiteX99" fmla="*/ 776387 w 798069"/>
              <a:gd name="connsiteY99" fmla="*/ 373856 h 695341"/>
              <a:gd name="connsiteX100" fmla="*/ 735906 w 798069"/>
              <a:gd name="connsiteY100" fmla="*/ 378619 h 695341"/>
              <a:gd name="connsiteX101" fmla="*/ 733524 w 798069"/>
              <a:gd name="connsiteY101" fmla="*/ 376237 h 695341"/>
              <a:gd name="connsiteX102" fmla="*/ 716855 w 798069"/>
              <a:gd name="connsiteY102" fmla="*/ 364331 h 695341"/>
              <a:gd name="connsiteX103" fmla="*/ 714474 w 798069"/>
              <a:gd name="connsiteY103" fmla="*/ 369093 h 695341"/>
              <a:gd name="connsiteX104" fmla="*/ 697805 w 798069"/>
              <a:gd name="connsiteY104" fmla="*/ 378618 h 695341"/>
              <a:gd name="connsiteX105" fmla="*/ 690662 w 798069"/>
              <a:gd name="connsiteY105" fmla="*/ 392906 h 695341"/>
              <a:gd name="connsiteX106" fmla="*/ 697805 w 798069"/>
              <a:gd name="connsiteY106" fmla="*/ 395287 h 695341"/>
              <a:gd name="connsiteX107" fmla="*/ 709712 w 798069"/>
              <a:gd name="connsiteY107" fmla="*/ 397668 h 695341"/>
              <a:gd name="connsiteX108" fmla="*/ 716855 w 798069"/>
              <a:gd name="connsiteY108" fmla="*/ 404812 h 695341"/>
              <a:gd name="connsiteX109" fmla="*/ 728762 w 798069"/>
              <a:gd name="connsiteY109" fmla="*/ 423862 h 695341"/>
              <a:gd name="connsiteX110" fmla="*/ 745430 w 798069"/>
              <a:gd name="connsiteY110" fmla="*/ 426243 h 695341"/>
              <a:gd name="connsiteX111" fmla="*/ 750193 w 798069"/>
              <a:gd name="connsiteY111" fmla="*/ 433387 h 695341"/>
              <a:gd name="connsiteX112" fmla="*/ 747812 w 798069"/>
              <a:gd name="connsiteY112" fmla="*/ 454818 h 695341"/>
              <a:gd name="connsiteX113" fmla="*/ 745430 w 798069"/>
              <a:gd name="connsiteY113" fmla="*/ 464343 h 695341"/>
              <a:gd name="connsiteX114" fmla="*/ 735905 w 798069"/>
              <a:gd name="connsiteY114" fmla="*/ 485775 h 695341"/>
              <a:gd name="connsiteX115" fmla="*/ 728762 w 798069"/>
              <a:gd name="connsiteY115" fmla="*/ 488156 h 695341"/>
              <a:gd name="connsiteX116" fmla="*/ 721618 w 798069"/>
              <a:gd name="connsiteY116" fmla="*/ 492918 h 695341"/>
              <a:gd name="connsiteX117" fmla="*/ 716855 w 798069"/>
              <a:gd name="connsiteY117" fmla="*/ 509587 h 695341"/>
              <a:gd name="connsiteX118" fmla="*/ 712093 w 798069"/>
              <a:gd name="connsiteY118" fmla="*/ 516731 h 695341"/>
              <a:gd name="connsiteX119" fmla="*/ 704949 w 798069"/>
              <a:gd name="connsiteY119" fmla="*/ 519112 h 695341"/>
              <a:gd name="connsiteX120" fmla="*/ 697805 w 798069"/>
              <a:gd name="connsiteY120" fmla="*/ 523875 h 695341"/>
              <a:gd name="connsiteX121" fmla="*/ 669230 w 798069"/>
              <a:gd name="connsiteY121" fmla="*/ 528637 h 695341"/>
              <a:gd name="connsiteX122" fmla="*/ 662087 w 798069"/>
              <a:gd name="connsiteY122" fmla="*/ 535781 h 695341"/>
              <a:gd name="connsiteX123" fmla="*/ 650180 w 798069"/>
              <a:gd name="connsiteY123" fmla="*/ 547687 h 695341"/>
              <a:gd name="connsiteX124" fmla="*/ 635893 w 798069"/>
              <a:gd name="connsiteY124" fmla="*/ 550068 h 695341"/>
              <a:gd name="connsiteX125" fmla="*/ 614462 w 798069"/>
              <a:gd name="connsiteY125" fmla="*/ 561975 h 695341"/>
              <a:gd name="connsiteX126" fmla="*/ 607318 w 798069"/>
              <a:gd name="connsiteY126" fmla="*/ 564356 h 695341"/>
              <a:gd name="connsiteX127" fmla="*/ 593030 w 798069"/>
              <a:gd name="connsiteY127" fmla="*/ 573881 h 695341"/>
              <a:gd name="connsiteX128" fmla="*/ 562074 w 798069"/>
              <a:gd name="connsiteY128" fmla="*/ 576262 h 695341"/>
              <a:gd name="connsiteX129" fmla="*/ 540643 w 798069"/>
              <a:gd name="connsiteY129" fmla="*/ 590550 h 695341"/>
              <a:gd name="connsiteX130" fmla="*/ 533499 w 798069"/>
              <a:gd name="connsiteY130" fmla="*/ 595312 h 695341"/>
              <a:gd name="connsiteX131" fmla="*/ 526355 w 798069"/>
              <a:gd name="connsiteY131" fmla="*/ 597693 h 695341"/>
              <a:gd name="connsiteX132" fmla="*/ 514449 w 798069"/>
              <a:gd name="connsiteY132" fmla="*/ 611981 h 695341"/>
              <a:gd name="connsiteX133" fmla="*/ 512068 w 798069"/>
              <a:gd name="connsiteY133" fmla="*/ 619125 h 695341"/>
              <a:gd name="connsiteX134" fmla="*/ 507305 w 798069"/>
              <a:gd name="connsiteY134" fmla="*/ 640556 h 695341"/>
              <a:gd name="connsiteX135" fmla="*/ 502543 w 798069"/>
              <a:gd name="connsiteY135" fmla="*/ 654843 h 695341"/>
              <a:gd name="connsiteX136" fmla="*/ 500162 w 798069"/>
              <a:gd name="connsiteY136" fmla="*/ 661987 h 695341"/>
              <a:gd name="connsiteX137" fmla="*/ 493018 w 798069"/>
              <a:gd name="connsiteY137" fmla="*/ 664368 h 695341"/>
              <a:gd name="connsiteX138" fmla="*/ 485874 w 798069"/>
              <a:gd name="connsiteY138" fmla="*/ 659606 h 695341"/>
              <a:gd name="connsiteX139" fmla="*/ 471587 w 798069"/>
              <a:gd name="connsiteY139" fmla="*/ 645318 h 695341"/>
              <a:gd name="connsiteX140" fmla="*/ 447774 w 798069"/>
              <a:gd name="connsiteY140" fmla="*/ 647700 h 695341"/>
              <a:gd name="connsiteX141" fmla="*/ 435868 w 798069"/>
              <a:gd name="connsiteY141" fmla="*/ 659606 h 695341"/>
              <a:gd name="connsiteX142" fmla="*/ 414437 w 798069"/>
              <a:gd name="connsiteY142" fmla="*/ 671512 h 695341"/>
              <a:gd name="connsiteX143" fmla="*/ 407293 w 798069"/>
              <a:gd name="connsiteY143" fmla="*/ 676275 h 695341"/>
              <a:gd name="connsiteX144" fmla="*/ 385862 w 798069"/>
              <a:gd name="connsiteY144" fmla="*/ 671512 h 695341"/>
              <a:gd name="connsiteX145" fmla="*/ 314424 w 798069"/>
              <a:gd name="connsiteY145" fmla="*/ 673893 h 695341"/>
              <a:gd name="connsiteX146" fmla="*/ 300137 w 798069"/>
              <a:gd name="connsiteY146" fmla="*/ 676275 h 695341"/>
              <a:gd name="connsiteX147" fmla="*/ 297755 w 798069"/>
              <a:gd name="connsiteY147" fmla="*/ 666750 h 695341"/>
              <a:gd name="connsiteX148" fmla="*/ 292993 w 798069"/>
              <a:gd name="connsiteY148" fmla="*/ 652462 h 695341"/>
              <a:gd name="connsiteX149" fmla="*/ 288230 w 798069"/>
              <a:gd name="connsiteY149" fmla="*/ 638175 h 695341"/>
              <a:gd name="connsiteX150" fmla="*/ 281087 w 798069"/>
              <a:gd name="connsiteY150" fmla="*/ 633412 h 695341"/>
              <a:gd name="connsiteX151" fmla="*/ 271562 w 798069"/>
              <a:gd name="connsiteY151" fmla="*/ 635793 h 695341"/>
              <a:gd name="connsiteX152" fmla="*/ 269180 w 798069"/>
              <a:gd name="connsiteY152" fmla="*/ 642937 h 695341"/>
              <a:gd name="connsiteX153" fmla="*/ 257274 w 798069"/>
              <a:gd name="connsiteY153" fmla="*/ 657225 h 695341"/>
              <a:gd name="connsiteX154" fmla="*/ 250130 w 798069"/>
              <a:gd name="connsiteY154" fmla="*/ 659606 h 695341"/>
              <a:gd name="connsiteX155" fmla="*/ 238224 w 798069"/>
              <a:gd name="connsiteY155" fmla="*/ 671512 h 695341"/>
              <a:gd name="connsiteX156" fmla="*/ 235843 w 798069"/>
              <a:gd name="connsiteY156" fmla="*/ 678656 h 695341"/>
              <a:gd name="connsiteX157" fmla="*/ 233462 w 798069"/>
              <a:gd name="connsiteY157" fmla="*/ 688181 h 695341"/>
              <a:gd name="connsiteX158" fmla="*/ 226318 w 798069"/>
              <a:gd name="connsiteY158" fmla="*/ 690562 h 695341"/>
              <a:gd name="connsiteX159" fmla="*/ 212030 w 798069"/>
              <a:gd name="connsiteY159" fmla="*/ 688181 h 695341"/>
              <a:gd name="connsiteX160" fmla="*/ 204887 w 798069"/>
              <a:gd name="connsiteY160" fmla="*/ 685800 h 695341"/>
              <a:gd name="connsiteX161" fmla="*/ 173930 w 798069"/>
              <a:gd name="connsiteY161" fmla="*/ 688181 h 695341"/>
              <a:gd name="connsiteX162" fmla="*/ 164405 w 798069"/>
              <a:gd name="connsiteY162" fmla="*/ 685800 h 695341"/>
              <a:gd name="connsiteX163" fmla="*/ 154880 w 798069"/>
              <a:gd name="connsiteY163" fmla="*/ 664368 h 695341"/>
              <a:gd name="connsiteX164" fmla="*/ 140593 w 798069"/>
              <a:gd name="connsiteY164" fmla="*/ 654843 h 695341"/>
              <a:gd name="connsiteX165" fmla="*/ 133449 w 798069"/>
              <a:gd name="connsiteY165" fmla="*/ 657225 h 695341"/>
              <a:gd name="connsiteX166" fmla="*/ 119162 w 798069"/>
              <a:gd name="connsiteY166" fmla="*/ 669131 h 695341"/>
              <a:gd name="connsiteX167" fmla="*/ 112018 w 798069"/>
              <a:gd name="connsiteY167" fmla="*/ 673893 h 695341"/>
              <a:gd name="connsiteX168" fmla="*/ 95349 w 798069"/>
              <a:gd name="connsiteY168" fmla="*/ 671512 h 695341"/>
              <a:gd name="connsiteX169" fmla="*/ 85824 w 798069"/>
              <a:gd name="connsiteY169" fmla="*/ 659606 h 695341"/>
              <a:gd name="connsiteX170" fmla="*/ 78680 w 798069"/>
              <a:gd name="connsiteY170" fmla="*/ 654843 h 695341"/>
              <a:gd name="connsiteX171" fmla="*/ 73918 w 798069"/>
              <a:gd name="connsiteY171" fmla="*/ 661987 h 695341"/>
              <a:gd name="connsiteX172" fmla="*/ 66774 w 798069"/>
              <a:gd name="connsiteY172" fmla="*/ 671512 h 695341"/>
              <a:gd name="connsiteX173" fmla="*/ 64393 w 798069"/>
              <a:gd name="connsiteY173" fmla="*/ 678656 h 695341"/>
              <a:gd name="connsiteX174" fmla="*/ 57249 w 798069"/>
              <a:gd name="connsiteY174" fmla="*/ 683418 h 695341"/>
              <a:gd name="connsiteX175" fmla="*/ 50105 w 798069"/>
              <a:gd name="connsiteY175" fmla="*/ 685800 h 695341"/>
              <a:gd name="connsiteX176" fmla="*/ 28674 w 798069"/>
              <a:gd name="connsiteY176" fmla="*/ 695325 h 695341"/>
              <a:gd name="connsiteX0" fmla="*/ 28674 w 798069"/>
              <a:gd name="connsiteY0" fmla="*/ 695325 h 695341"/>
              <a:gd name="connsiteX1" fmla="*/ 31055 w 798069"/>
              <a:gd name="connsiteY1" fmla="*/ 683418 h 695341"/>
              <a:gd name="connsiteX2" fmla="*/ 23912 w 798069"/>
              <a:gd name="connsiteY2" fmla="*/ 654843 h 695341"/>
              <a:gd name="connsiteX3" fmla="*/ 19149 w 798069"/>
              <a:gd name="connsiteY3" fmla="*/ 647700 h 695341"/>
              <a:gd name="connsiteX4" fmla="*/ 12005 w 798069"/>
              <a:gd name="connsiteY4" fmla="*/ 626268 h 695341"/>
              <a:gd name="connsiteX5" fmla="*/ 9624 w 798069"/>
              <a:gd name="connsiteY5" fmla="*/ 619125 h 695341"/>
              <a:gd name="connsiteX6" fmla="*/ 12005 w 798069"/>
              <a:gd name="connsiteY6" fmla="*/ 533400 h 695341"/>
              <a:gd name="connsiteX7" fmla="*/ 16768 w 798069"/>
              <a:gd name="connsiteY7" fmla="*/ 519112 h 695341"/>
              <a:gd name="connsiteX8" fmla="*/ 21530 w 798069"/>
              <a:gd name="connsiteY8" fmla="*/ 511968 h 695341"/>
              <a:gd name="connsiteX9" fmla="*/ 19149 w 798069"/>
              <a:gd name="connsiteY9" fmla="*/ 492918 h 695341"/>
              <a:gd name="connsiteX10" fmla="*/ 4862 w 798069"/>
              <a:gd name="connsiteY10" fmla="*/ 481012 h 695341"/>
              <a:gd name="connsiteX11" fmla="*/ 99 w 798069"/>
              <a:gd name="connsiteY11" fmla="*/ 473868 h 695341"/>
              <a:gd name="connsiteX12" fmla="*/ 2480 w 798069"/>
              <a:gd name="connsiteY12" fmla="*/ 464343 h 695341"/>
              <a:gd name="connsiteX13" fmla="*/ 23912 w 798069"/>
              <a:gd name="connsiteY13" fmla="*/ 447675 h 695341"/>
              <a:gd name="connsiteX14" fmla="*/ 38199 w 798069"/>
              <a:gd name="connsiteY14" fmla="*/ 433387 h 695341"/>
              <a:gd name="connsiteX15" fmla="*/ 52487 w 798069"/>
              <a:gd name="connsiteY15" fmla="*/ 421481 h 695341"/>
              <a:gd name="connsiteX16" fmla="*/ 57249 w 798069"/>
              <a:gd name="connsiteY16" fmla="*/ 414337 h 695341"/>
              <a:gd name="connsiteX17" fmla="*/ 62012 w 798069"/>
              <a:gd name="connsiteY17" fmla="*/ 388143 h 695341"/>
              <a:gd name="connsiteX18" fmla="*/ 69155 w 798069"/>
              <a:gd name="connsiteY18" fmla="*/ 364331 h 695341"/>
              <a:gd name="connsiteX19" fmla="*/ 73918 w 798069"/>
              <a:gd name="connsiteY19" fmla="*/ 357187 h 695341"/>
              <a:gd name="connsiteX20" fmla="*/ 76299 w 798069"/>
              <a:gd name="connsiteY20" fmla="*/ 350043 h 695341"/>
              <a:gd name="connsiteX21" fmla="*/ 88205 w 798069"/>
              <a:gd name="connsiteY21" fmla="*/ 333375 h 695341"/>
              <a:gd name="connsiteX22" fmla="*/ 100112 w 798069"/>
              <a:gd name="connsiteY22" fmla="*/ 321468 h 695341"/>
              <a:gd name="connsiteX23" fmla="*/ 112018 w 798069"/>
              <a:gd name="connsiteY23" fmla="*/ 307181 h 695341"/>
              <a:gd name="connsiteX24" fmla="*/ 121543 w 798069"/>
              <a:gd name="connsiteY24" fmla="*/ 292893 h 695341"/>
              <a:gd name="connsiteX25" fmla="*/ 133449 w 798069"/>
              <a:gd name="connsiteY25" fmla="*/ 278606 h 695341"/>
              <a:gd name="connsiteX26" fmla="*/ 138212 w 798069"/>
              <a:gd name="connsiteY26" fmla="*/ 269081 h 695341"/>
              <a:gd name="connsiteX27" fmla="*/ 147737 w 798069"/>
              <a:gd name="connsiteY27" fmla="*/ 254793 h 695341"/>
              <a:gd name="connsiteX28" fmla="*/ 159643 w 798069"/>
              <a:gd name="connsiteY28" fmla="*/ 233362 h 695341"/>
              <a:gd name="connsiteX29" fmla="*/ 164405 w 798069"/>
              <a:gd name="connsiteY29" fmla="*/ 223837 h 695341"/>
              <a:gd name="connsiteX30" fmla="*/ 169168 w 798069"/>
              <a:gd name="connsiteY30" fmla="*/ 216693 h 695341"/>
              <a:gd name="connsiteX31" fmla="*/ 176312 w 798069"/>
              <a:gd name="connsiteY31" fmla="*/ 202406 h 695341"/>
              <a:gd name="connsiteX32" fmla="*/ 185837 w 798069"/>
              <a:gd name="connsiteY32" fmla="*/ 188118 h 695341"/>
              <a:gd name="connsiteX33" fmla="*/ 183455 w 798069"/>
              <a:gd name="connsiteY33" fmla="*/ 166687 h 695341"/>
              <a:gd name="connsiteX34" fmla="*/ 173930 w 798069"/>
              <a:gd name="connsiteY34" fmla="*/ 159543 h 695341"/>
              <a:gd name="connsiteX35" fmla="*/ 169168 w 798069"/>
              <a:gd name="connsiteY35" fmla="*/ 152400 h 695341"/>
              <a:gd name="connsiteX36" fmla="*/ 171549 w 798069"/>
              <a:gd name="connsiteY36" fmla="*/ 126206 h 695341"/>
              <a:gd name="connsiteX37" fmla="*/ 176312 w 798069"/>
              <a:gd name="connsiteY37" fmla="*/ 119062 h 695341"/>
              <a:gd name="connsiteX38" fmla="*/ 178693 w 798069"/>
              <a:gd name="connsiteY38" fmla="*/ 111918 h 695341"/>
              <a:gd name="connsiteX39" fmla="*/ 185837 w 798069"/>
              <a:gd name="connsiteY39" fmla="*/ 97631 h 695341"/>
              <a:gd name="connsiteX40" fmla="*/ 183455 w 798069"/>
              <a:gd name="connsiteY40" fmla="*/ 85725 h 695341"/>
              <a:gd name="connsiteX41" fmla="*/ 178693 w 798069"/>
              <a:gd name="connsiteY41" fmla="*/ 78581 h 695341"/>
              <a:gd name="connsiteX42" fmla="*/ 190599 w 798069"/>
              <a:gd name="connsiteY42" fmla="*/ 52387 h 695341"/>
              <a:gd name="connsiteX43" fmla="*/ 197743 w 798069"/>
              <a:gd name="connsiteY43" fmla="*/ 50006 h 695341"/>
              <a:gd name="connsiteX44" fmla="*/ 219174 w 798069"/>
              <a:gd name="connsiteY44" fmla="*/ 30956 h 695341"/>
              <a:gd name="connsiteX45" fmla="*/ 231080 w 798069"/>
              <a:gd name="connsiteY45" fmla="*/ 19050 h 695341"/>
              <a:gd name="connsiteX46" fmla="*/ 235843 w 798069"/>
              <a:gd name="connsiteY46" fmla="*/ 11906 h 695341"/>
              <a:gd name="connsiteX47" fmla="*/ 242987 w 798069"/>
              <a:gd name="connsiteY47" fmla="*/ 14287 h 695341"/>
              <a:gd name="connsiteX48" fmla="*/ 247749 w 798069"/>
              <a:gd name="connsiteY48" fmla="*/ 30956 h 695341"/>
              <a:gd name="connsiteX49" fmla="*/ 250130 w 798069"/>
              <a:gd name="connsiteY49" fmla="*/ 78581 h 695341"/>
              <a:gd name="connsiteX50" fmla="*/ 257275 w 798069"/>
              <a:gd name="connsiteY50" fmla="*/ 78581 h 695341"/>
              <a:gd name="connsiteX51" fmla="*/ 273943 w 798069"/>
              <a:gd name="connsiteY51" fmla="*/ 88105 h 695341"/>
              <a:gd name="connsiteX52" fmla="*/ 281087 w 798069"/>
              <a:gd name="connsiteY52" fmla="*/ 102393 h 695341"/>
              <a:gd name="connsiteX53" fmla="*/ 288230 w 798069"/>
              <a:gd name="connsiteY53" fmla="*/ 104775 h 695341"/>
              <a:gd name="connsiteX54" fmla="*/ 307280 w 798069"/>
              <a:gd name="connsiteY54" fmla="*/ 102393 h 695341"/>
              <a:gd name="connsiteX55" fmla="*/ 319187 w 798069"/>
              <a:gd name="connsiteY55" fmla="*/ 100012 h 695341"/>
              <a:gd name="connsiteX56" fmla="*/ 352524 w 798069"/>
              <a:gd name="connsiteY56" fmla="*/ 102393 h 695341"/>
              <a:gd name="connsiteX57" fmla="*/ 354905 w 798069"/>
              <a:gd name="connsiteY57" fmla="*/ 109537 h 695341"/>
              <a:gd name="connsiteX58" fmla="*/ 359668 w 798069"/>
              <a:gd name="connsiteY58" fmla="*/ 147637 h 695341"/>
              <a:gd name="connsiteX59" fmla="*/ 364430 w 798069"/>
              <a:gd name="connsiteY59" fmla="*/ 157162 h 695341"/>
              <a:gd name="connsiteX60" fmla="*/ 371574 w 798069"/>
              <a:gd name="connsiteY60" fmla="*/ 159543 h 695341"/>
              <a:gd name="connsiteX61" fmla="*/ 414437 w 798069"/>
              <a:gd name="connsiteY61" fmla="*/ 157162 h 695341"/>
              <a:gd name="connsiteX62" fmla="*/ 428724 w 798069"/>
              <a:gd name="connsiteY62" fmla="*/ 150018 h 695341"/>
              <a:gd name="connsiteX63" fmla="*/ 435868 w 798069"/>
              <a:gd name="connsiteY63" fmla="*/ 128587 h 695341"/>
              <a:gd name="connsiteX64" fmla="*/ 450155 w 798069"/>
              <a:gd name="connsiteY64" fmla="*/ 133350 h 695341"/>
              <a:gd name="connsiteX65" fmla="*/ 457299 w 798069"/>
              <a:gd name="connsiteY65" fmla="*/ 128587 h 695341"/>
              <a:gd name="connsiteX66" fmla="*/ 464443 w 798069"/>
              <a:gd name="connsiteY66" fmla="*/ 114300 h 695341"/>
              <a:gd name="connsiteX67" fmla="*/ 478730 w 798069"/>
              <a:gd name="connsiteY67" fmla="*/ 116681 h 695341"/>
              <a:gd name="connsiteX68" fmla="*/ 490637 w 798069"/>
              <a:gd name="connsiteY68" fmla="*/ 95250 h 695341"/>
              <a:gd name="connsiteX69" fmla="*/ 493018 w 798069"/>
              <a:gd name="connsiteY69" fmla="*/ 78581 h 695341"/>
              <a:gd name="connsiteX70" fmla="*/ 495399 w 798069"/>
              <a:gd name="connsiteY70" fmla="*/ 71437 h 695341"/>
              <a:gd name="connsiteX71" fmla="*/ 502543 w 798069"/>
              <a:gd name="connsiteY71" fmla="*/ 45243 h 695341"/>
              <a:gd name="connsiteX72" fmla="*/ 512068 w 798069"/>
              <a:gd name="connsiteY72" fmla="*/ 0 h 695341"/>
              <a:gd name="connsiteX73" fmla="*/ 523974 w 798069"/>
              <a:gd name="connsiteY73" fmla="*/ 9525 h 695341"/>
              <a:gd name="connsiteX74" fmla="*/ 531118 w 798069"/>
              <a:gd name="connsiteY74" fmla="*/ 16668 h 695341"/>
              <a:gd name="connsiteX75" fmla="*/ 540643 w 798069"/>
              <a:gd name="connsiteY75" fmla="*/ 30956 h 695341"/>
              <a:gd name="connsiteX76" fmla="*/ 550168 w 798069"/>
              <a:gd name="connsiteY76" fmla="*/ 45243 h 695341"/>
              <a:gd name="connsiteX77" fmla="*/ 562074 w 798069"/>
              <a:gd name="connsiteY77" fmla="*/ 59531 h 695341"/>
              <a:gd name="connsiteX78" fmla="*/ 590649 w 798069"/>
              <a:gd name="connsiteY78" fmla="*/ 66675 h 695341"/>
              <a:gd name="connsiteX79" fmla="*/ 604937 w 798069"/>
              <a:gd name="connsiteY79" fmla="*/ 73818 h 695341"/>
              <a:gd name="connsiteX80" fmla="*/ 609699 w 798069"/>
              <a:gd name="connsiteY80" fmla="*/ 80962 h 695341"/>
              <a:gd name="connsiteX81" fmla="*/ 616843 w 798069"/>
              <a:gd name="connsiteY81" fmla="*/ 88106 h 695341"/>
              <a:gd name="connsiteX82" fmla="*/ 628749 w 798069"/>
              <a:gd name="connsiteY82" fmla="*/ 100012 h 695341"/>
              <a:gd name="connsiteX83" fmla="*/ 638274 w 798069"/>
              <a:gd name="connsiteY83" fmla="*/ 114300 h 695341"/>
              <a:gd name="connsiteX84" fmla="*/ 645418 w 798069"/>
              <a:gd name="connsiteY84" fmla="*/ 119062 h 695341"/>
              <a:gd name="connsiteX85" fmla="*/ 688280 w 798069"/>
              <a:gd name="connsiteY85" fmla="*/ 123825 h 695341"/>
              <a:gd name="connsiteX86" fmla="*/ 709712 w 798069"/>
              <a:gd name="connsiteY86" fmla="*/ 142875 h 695341"/>
              <a:gd name="connsiteX87" fmla="*/ 726380 w 798069"/>
              <a:gd name="connsiteY87" fmla="*/ 147637 h 695341"/>
              <a:gd name="connsiteX88" fmla="*/ 740668 w 798069"/>
              <a:gd name="connsiteY88" fmla="*/ 152400 h 695341"/>
              <a:gd name="connsiteX89" fmla="*/ 754955 w 798069"/>
              <a:gd name="connsiteY89" fmla="*/ 159543 h 695341"/>
              <a:gd name="connsiteX90" fmla="*/ 766862 w 798069"/>
              <a:gd name="connsiteY90" fmla="*/ 183356 h 695341"/>
              <a:gd name="connsiteX91" fmla="*/ 769243 w 798069"/>
              <a:gd name="connsiteY91" fmla="*/ 211931 h 695341"/>
              <a:gd name="connsiteX92" fmla="*/ 771624 w 798069"/>
              <a:gd name="connsiteY92" fmla="*/ 219075 h 695341"/>
              <a:gd name="connsiteX93" fmla="*/ 774005 w 798069"/>
              <a:gd name="connsiteY93" fmla="*/ 309562 h 695341"/>
              <a:gd name="connsiteX94" fmla="*/ 776387 w 798069"/>
              <a:gd name="connsiteY94" fmla="*/ 316706 h 695341"/>
              <a:gd name="connsiteX95" fmla="*/ 790674 w 798069"/>
              <a:gd name="connsiteY95" fmla="*/ 326231 h 695341"/>
              <a:gd name="connsiteX96" fmla="*/ 795437 w 798069"/>
              <a:gd name="connsiteY96" fmla="*/ 333375 h 695341"/>
              <a:gd name="connsiteX97" fmla="*/ 795437 w 798069"/>
              <a:gd name="connsiteY97" fmla="*/ 357187 h 695341"/>
              <a:gd name="connsiteX98" fmla="*/ 790674 w 798069"/>
              <a:gd name="connsiteY98" fmla="*/ 364331 h 695341"/>
              <a:gd name="connsiteX99" fmla="*/ 776387 w 798069"/>
              <a:gd name="connsiteY99" fmla="*/ 373856 h 695341"/>
              <a:gd name="connsiteX100" fmla="*/ 735906 w 798069"/>
              <a:gd name="connsiteY100" fmla="*/ 378619 h 695341"/>
              <a:gd name="connsiteX101" fmla="*/ 733524 w 798069"/>
              <a:gd name="connsiteY101" fmla="*/ 376237 h 695341"/>
              <a:gd name="connsiteX102" fmla="*/ 716855 w 798069"/>
              <a:gd name="connsiteY102" fmla="*/ 364331 h 695341"/>
              <a:gd name="connsiteX103" fmla="*/ 714474 w 798069"/>
              <a:gd name="connsiteY103" fmla="*/ 369093 h 695341"/>
              <a:gd name="connsiteX104" fmla="*/ 697805 w 798069"/>
              <a:gd name="connsiteY104" fmla="*/ 378618 h 695341"/>
              <a:gd name="connsiteX105" fmla="*/ 690662 w 798069"/>
              <a:gd name="connsiteY105" fmla="*/ 392906 h 695341"/>
              <a:gd name="connsiteX106" fmla="*/ 697805 w 798069"/>
              <a:gd name="connsiteY106" fmla="*/ 395287 h 695341"/>
              <a:gd name="connsiteX107" fmla="*/ 709712 w 798069"/>
              <a:gd name="connsiteY107" fmla="*/ 397668 h 695341"/>
              <a:gd name="connsiteX108" fmla="*/ 716855 w 798069"/>
              <a:gd name="connsiteY108" fmla="*/ 404812 h 695341"/>
              <a:gd name="connsiteX109" fmla="*/ 728762 w 798069"/>
              <a:gd name="connsiteY109" fmla="*/ 423862 h 695341"/>
              <a:gd name="connsiteX110" fmla="*/ 745430 w 798069"/>
              <a:gd name="connsiteY110" fmla="*/ 426243 h 695341"/>
              <a:gd name="connsiteX111" fmla="*/ 750193 w 798069"/>
              <a:gd name="connsiteY111" fmla="*/ 433387 h 695341"/>
              <a:gd name="connsiteX112" fmla="*/ 747812 w 798069"/>
              <a:gd name="connsiteY112" fmla="*/ 454818 h 695341"/>
              <a:gd name="connsiteX113" fmla="*/ 745430 w 798069"/>
              <a:gd name="connsiteY113" fmla="*/ 464343 h 695341"/>
              <a:gd name="connsiteX114" fmla="*/ 735905 w 798069"/>
              <a:gd name="connsiteY114" fmla="*/ 485775 h 695341"/>
              <a:gd name="connsiteX115" fmla="*/ 728762 w 798069"/>
              <a:gd name="connsiteY115" fmla="*/ 488156 h 695341"/>
              <a:gd name="connsiteX116" fmla="*/ 721618 w 798069"/>
              <a:gd name="connsiteY116" fmla="*/ 492918 h 695341"/>
              <a:gd name="connsiteX117" fmla="*/ 716855 w 798069"/>
              <a:gd name="connsiteY117" fmla="*/ 509587 h 695341"/>
              <a:gd name="connsiteX118" fmla="*/ 712093 w 798069"/>
              <a:gd name="connsiteY118" fmla="*/ 516731 h 695341"/>
              <a:gd name="connsiteX119" fmla="*/ 704949 w 798069"/>
              <a:gd name="connsiteY119" fmla="*/ 519112 h 695341"/>
              <a:gd name="connsiteX120" fmla="*/ 697805 w 798069"/>
              <a:gd name="connsiteY120" fmla="*/ 523875 h 695341"/>
              <a:gd name="connsiteX121" fmla="*/ 669230 w 798069"/>
              <a:gd name="connsiteY121" fmla="*/ 528637 h 695341"/>
              <a:gd name="connsiteX122" fmla="*/ 662087 w 798069"/>
              <a:gd name="connsiteY122" fmla="*/ 535781 h 695341"/>
              <a:gd name="connsiteX123" fmla="*/ 650180 w 798069"/>
              <a:gd name="connsiteY123" fmla="*/ 547687 h 695341"/>
              <a:gd name="connsiteX124" fmla="*/ 635893 w 798069"/>
              <a:gd name="connsiteY124" fmla="*/ 550068 h 695341"/>
              <a:gd name="connsiteX125" fmla="*/ 614462 w 798069"/>
              <a:gd name="connsiteY125" fmla="*/ 561975 h 695341"/>
              <a:gd name="connsiteX126" fmla="*/ 607318 w 798069"/>
              <a:gd name="connsiteY126" fmla="*/ 564356 h 695341"/>
              <a:gd name="connsiteX127" fmla="*/ 593030 w 798069"/>
              <a:gd name="connsiteY127" fmla="*/ 573881 h 695341"/>
              <a:gd name="connsiteX128" fmla="*/ 562074 w 798069"/>
              <a:gd name="connsiteY128" fmla="*/ 576262 h 695341"/>
              <a:gd name="connsiteX129" fmla="*/ 540643 w 798069"/>
              <a:gd name="connsiteY129" fmla="*/ 590550 h 695341"/>
              <a:gd name="connsiteX130" fmla="*/ 533499 w 798069"/>
              <a:gd name="connsiteY130" fmla="*/ 595312 h 695341"/>
              <a:gd name="connsiteX131" fmla="*/ 526355 w 798069"/>
              <a:gd name="connsiteY131" fmla="*/ 597693 h 695341"/>
              <a:gd name="connsiteX132" fmla="*/ 514449 w 798069"/>
              <a:gd name="connsiteY132" fmla="*/ 611981 h 695341"/>
              <a:gd name="connsiteX133" fmla="*/ 512068 w 798069"/>
              <a:gd name="connsiteY133" fmla="*/ 619125 h 695341"/>
              <a:gd name="connsiteX134" fmla="*/ 507305 w 798069"/>
              <a:gd name="connsiteY134" fmla="*/ 640556 h 695341"/>
              <a:gd name="connsiteX135" fmla="*/ 502543 w 798069"/>
              <a:gd name="connsiteY135" fmla="*/ 654843 h 695341"/>
              <a:gd name="connsiteX136" fmla="*/ 500162 w 798069"/>
              <a:gd name="connsiteY136" fmla="*/ 661987 h 695341"/>
              <a:gd name="connsiteX137" fmla="*/ 493018 w 798069"/>
              <a:gd name="connsiteY137" fmla="*/ 664368 h 695341"/>
              <a:gd name="connsiteX138" fmla="*/ 485874 w 798069"/>
              <a:gd name="connsiteY138" fmla="*/ 659606 h 695341"/>
              <a:gd name="connsiteX139" fmla="*/ 471587 w 798069"/>
              <a:gd name="connsiteY139" fmla="*/ 645318 h 695341"/>
              <a:gd name="connsiteX140" fmla="*/ 447774 w 798069"/>
              <a:gd name="connsiteY140" fmla="*/ 647700 h 695341"/>
              <a:gd name="connsiteX141" fmla="*/ 435868 w 798069"/>
              <a:gd name="connsiteY141" fmla="*/ 659606 h 695341"/>
              <a:gd name="connsiteX142" fmla="*/ 414437 w 798069"/>
              <a:gd name="connsiteY142" fmla="*/ 671512 h 695341"/>
              <a:gd name="connsiteX143" fmla="*/ 407293 w 798069"/>
              <a:gd name="connsiteY143" fmla="*/ 676275 h 695341"/>
              <a:gd name="connsiteX144" fmla="*/ 385862 w 798069"/>
              <a:gd name="connsiteY144" fmla="*/ 671512 h 695341"/>
              <a:gd name="connsiteX145" fmla="*/ 314424 w 798069"/>
              <a:gd name="connsiteY145" fmla="*/ 673893 h 695341"/>
              <a:gd name="connsiteX146" fmla="*/ 300137 w 798069"/>
              <a:gd name="connsiteY146" fmla="*/ 676275 h 695341"/>
              <a:gd name="connsiteX147" fmla="*/ 297755 w 798069"/>
              <a:gd name="connsiteY147" fmla="*/ 666750 h 695341"/>
              <a:gd name="connsiteX148" fmla="*/ 292993 w 798069"/>
              <a:gd name="connsiteY148" fmla="*/ 652462 h 695341"/>
              <a:gd name="connsiteX149" fmla="*/ 288230 w 798069"/>
              <a:gd name="connsiteY149" fmla="*/ 638175 h 695341"/>
              <a:gd name="connsiteX150" fmla="*/ 281087 w 798069"/>
              <a:gd name="connsiteY150" fmla="*/ 633412 h 695341"/>
              <a:gd name="connsiteX151" fmla="*/ 271562 w 798069"/>
              <a:gd name="connsiteY151" fmla="*/ 635793 h 695341"/>
              <a:gd name="connsiteX152" fmla="*/ 269180 w 798069"/>
              <a:gd name="connsiteY152" fmla="*/ 642937 h 695341"/>
              <a:gd name="connsiteX153" fmla="*/ 257274 w 798069"/>
              <a:gd name="connsiteY153" fmla="*/ 657225 h 695341"/>
              <a:gd name="connsiteX154" fmla="*/ 250130 w 798069"/>
              <a:gd name="connsiteY154" fmla="*/ 659606 h 695341"/>
              <a:gd name="connsiteX155" fmla="*/ 238224 w 798069"/>
              <a:gd name="connsiteY155" fmla="*/ 671512 h 695341"/>
              <a:gd name="connsiteX156" fmla="*/ 235843 w 798069"/>
              <a:gd name="connsiteY156" fmla="*/ 678656 h 695341"/>
              <a:gd name="connsiteX157" fmla="*/ 233462 w 798069"/>
              <a:gd name="connsiteY157" fmla="*/ 688181 h 695341"/>
              <a:gd name="connsiteX158" fmla="*/ 226318 w 798069"/>
              <a:gd name="connsiteY158" fmla="*/ 690562 h 695341"/>
              <a:gd name="connsiteX159" fmla="*/ 212030 w 798069"/>
              <a:gd name="connsiteY159" fmla="*/ 688181 h 695341"/>
              <a:gd name="connsiteX160" fmla="*/ 204887 w 798069"/>
              <a:gd name="connsiteY160" fmla="*/ 685800 h 695341"/>
              <a:gd name="connsiteX161" fmla="*/ 173930 w 798069"/>
              <a:gd name="connsiteY161" fmla="*/ 688181 h 695341"/>
              <a:gd name="connsiteX162" fmla="*/ 164405 w 798069"/>
              <a:gd name="connsiteY162" fmla="*/ 685800 h 695341"/>
              <a:gd name="connsiteX163" fmla="*/ 154880 w 798069"/>
              <a:gd name="connsiteY163" fmla="*/ 664368 h 695341"/>
              <a:gd name="connsiteX164" fmla="*/ 140593 w 798069"/>
              <a:gd name="connsiteY164" fmla="*/ 654843 h 695341"/>
              <a:gd name="connsiteX165" fmla="*/ 133449 w 798069"/>
              <a:gd name="connsiteY165" fmla="*/ 657225 h 695341"/>
              <a:gd name="connsiteX166" fmla="*/ 119162 w 798069"/>
              <a:gd name="connsiteY166" fmla="*/ 669131 h 695341"/>
              <a:gd name="connsiteX167" fmla="*/ 112018 w 798069"/>
              <a:gd name="connsiteY167" fmla="*/ 673893 h 695341"/>
              <a:gd name="connsiteX168" fmla="*/ 95349 w 798069"/>
              <a:gd name="connsiteY168" fmla="*/ 671512 h 695341"/>
              <a:gd name="connsiteX169" fmla="*/ 85824 w 798069"/>
              <a:gd name="connsiteY169" fmla="*/ 659606 h 695341"/>
              <a:gd name="connsiteX170" fmla="*/ 78680 w 798069"/>
              <a:gd name="connsiteY170" fmla="*/ 654843 h 695341"/>
              <a:gd name="connsiteX171" fmla="*/ 73918 w 798069"/>
              <a:gd name="connsiteY171" fmla="*/ 661987 h 695341"/>
              <a:gd name="connsiteX172" fmla="*/ 66774 w 798069"/>
              <a:gd name="connsiteY172" fmla="*/ 671512 h 695341"/>
              <a:gd name="connsiteX173" fmla="*/ 64393 w 798069"/>
              <a:gd name="connsiteY173" fmla="*/ 678656 h 695341"/>
              <a:gd name="connsiteX174" fmla="*/ 57249 w 798069"/>
              <a:gd name="connsiteY174" fmla="*/ 683418 h 695341"/>
              <a:gd name="connsiteX175" fmla="*/ 50105 w 798069"/>
              <a:gd name="connsiteY175" fmla="*/ 685800 h 695341"/>
              <a:gd name="connsiteX176" fmla="*/ 28674 w 798069"/>
              <a:gd name="connsiteY176" fmla="*/ 695325 h 695341"/>
              <a:gd name="connsiteX0" fmla="*/ 28674 w 798069"/>
              <a:gd name="connsiteY0" fmla="*/ 695325 h 695341"/>
              <a:gd name="connsiteX1" fmla="*/ 31055 w 798069"/>
              <a:gd name="connsiteY1" fmla="*/ 683418 h 695341"/>
              <a:gd name="connsiteX2" fmla="*/ 23912 w 798069"/>
              <a:gd name="connsiteY2" fmla="*/ 654843 h 695341"/>
              <a:gd name="connsiteX3" fmla="*/ 19149 w 798069"/>
              <a:gd name="connsiteY3" fmla="*/ 647700 h 695341"/>
              <a:gd name="connsiteX4" fmla="*/ 12005 w 798069"/>
              <a:gd name="connsiteY4" fmla="*/ 626268 h 695341"/>
              <a:gd name="connsiteX5" fmla="*/ 9624 w 798069"/>
              <a:gd name="connsiteY5" fmla="*/ 619125 h 695341"/>
              <a:gd name="connsiteX6" fmla="*/ 12005 w 798069"/>
              <a:gd name="connsiteY6" fmla="*/ 533400 h 695341"/>
              <a:gd name="connsiteX7" fmla="*/ 16768 w 798069"/>
              <a:gd name="connsiteY7" fmla="*/ 519112 h 695341"/>
              <a:gd name="connsiteX8" fmla="*/ 21530 w 798069"/>
              <a:gd name="connsiteY8" fmla="*/ 511968 h 695341"/>
              <a:gd name="connsiteX9" fmla="*/ 19149 w 798069"/>
              <a:gd name="connsiteY9" fmla="*/ 492918 h 695341"/>
              <a:gd name="connsiteX10" fmla="*/ 4862 w 798069"/>
              <a:gd name="connsiteY10" fmla="*/ 481012 h 695341"/>
              <a:gd name="connsiteX11" fmla="*/ 99 w 798069"/>
              <a:gd name="connsiteY11" fmla="*/ 473868 h 695341"/>
              <a:gd name="connsiteX12" fmla="*/ 2480 w 798069"/>
              <a:gd name="connsiteY12" fmla="*/ 464343 h 695341"/>
              <a:gd name="connsiteX13" fmla="*/ 23912 w 798069"/>
              <a:gd name="connsiteY13" fmla="*/ 447675 h 695341"/>
              <a:gd name="connsiteX14" fmla="*/ 38199 w 798069"/>
              <a:gd name="connsiteY14" fmla="*/ 433387 h 695341"/>
              <a:gd name="connsiteX15" fmla="*/ 52487 w 798069"/>
              <a:gd name="connsiteY15" fmla="*/ 421481 h 695341"/>
              <a:gd name="connsiteX16" fmla="*/ 57249 w 798069"/>
              <a:gd name="connsiteY16" fmla="*/ 414337 h 695341"/>
              <a:gd name="connsiteX17" fmla="*/ 62012 w 798069"/>
              <a:gd name="connsiteY17" fmla="*/ 388143 h 695341"/>
              <a:gd name="connsiteX18" fmla="*/ 69155 w 798069"/>
              <a:gd name="connsiteY18" fmla="*/ 364331 h 695341"/>
              <a:gd name="connsiteX19" fmla="*/ 73918 w 798069"/>
              <a:gd name="connsiteY19" fmla="*/ 357187 h 695341"/>
              <a:gd name="connsiteX20" fmla="*/ 76299 w 798069"/>
              <a:gd name="connsiteY20" fmla="*/ 350043 h 695341"/>
              <a:gd name="connsiteX21" fmla="*/ 88205 w 798069"/>
              <a:gd name="connsiteY21" fmla="*/ 333375 h 695341"/>
              <a:gd name="connsiteX22" fmla="*/ 100112 w 798069"/>
              <a:gd name="connsiteY22" fmla="*/ 321468 h 695341"/>
              <a:gd name="connsiteX23" fmla="*/ 112018 w 798069"/>
              <a:gd name="connsiteY23" fmla="*/ 307181 h 695341"/>
              <a:gd name="connsiteX24" fmla="*/ 121543 w 798069"/>
              <a:gd name="connsiteY24" fmla="*/ 292893 h 695341"/>
              <a:gd name="connsiteX25" fmla="*/ 133449 w 798069"/>
              <a:gd name="connsiteY25" fmla="*/ 278606 h 695341"/>
              <a:gd name="connsiteX26" fmla="*/ 138212 w 798069"/>
              <a:gd name="connsiteY26" fmla="*/ 269081 h 695341"/>
              <a:gd name="connsiteX27" fmla="*/ 147737 w 798069"/>
              <a:gd name="connsiteY27" fmla="*/ 254793 h 695341"/>
              <a:gd name="connsiteX28" fmla="*/ 159643 w 798069"/>
              <a:gd name="connsiteY28" fmla="*/ 233362 h 695341"/>
              <a:gd name="connsiteX29" fmla="*/ 164405 w 798069"/>
              <a:gd name="connsiteY29" fmla="*/ 223837 h 695341"/>
              <a:gd name="connsiteX30" fmla="*/ 169168 w 798069"/>
              <a:gd name="connsiteY30" fmla="*/ 216693 h 695341"/>
              <a:gd name="connsiteX31" fmla="*/ 176312 w 798069"/>
              <a:gd name="connsiteY31" fmla="*/ 202406 h 695341"/>
              <a:gd name="connsiteX32" fmla="*/ 185837 w 798069"/>
              <a:gd name="connsiteY32" fmla="*/ 188118 h 695341"/>
              <a:gd name="connsiteX33" fmla="*/ 183455 w 798069"/>
              <a:gd name="connsiteY33" fmla="*/ 166687 h 695341"/>
              <a:gd name="connsiteX34" fmla="*/ 173930 w 798069"/>
              <a:gd name="connsiteY34" fmla="*/ 159543 h 695341"/>
              <a:gd name="connsiteX35" fmla="*/ 169168 w 798069"/>
              <a:gd name="connsiteY35" fmla="*/ 152400 h 695341"/>
              <a:gd name="connsiteX36" fmla="*/ 171549 w 798069"/>
              <a:gd name="connsiteY36" fmla="*/ 126206 h 695341"/>
              <a:gd name="connsiteX37" fmla="*/ 176312 w 798069"/>
              <a:gd name="connsiteY37" fmla="*/ 119062 h 695341"/>
              <a:gd name="connsiteX38" fmla="*/ 178693 w 798069"/>
              <a:gd name="connsiteY38" fmla="*/ 111918 h 695341"/>
              <a:gd name="connsiteX39" fmla="*/ 185837 w 798069"/>
              <a:gd name="connsiteY39" fmla="*/ 97631 h 695341"/>
              <a:gd name="connsiteX40" fmla="*/ 183455 w 798069"/>
              <a:gd name="connsiteY40" fmla="*/ 85725 h 695341"/>
              <a:gd name="connsiteX41" fmla="*/ 178693 w 798069"/>
              <a:gd name="connsiteY41" fmla="*/ 78581 h 695341"/>
              <a:gd name="connsiteX42" fmla="*/ 190599 w 798069"/>
              <a:gd name="connsiteY42" fmla="*/ 52387 h 695341"/>
              <a:gd name="connsiteX43" fmla="*/ 197743 w 798069"/>
              <a:gd name="connsiteY43" fmla="*/ 50006 h 695341"/>
              <a:gd name="connsiteX44" fmla="*/ 219174 w 798069"/>
              <a:gd name="connsiteY44" fmla="*/ 30956 h 695341"/>
              <a:gd name="connsiteX45" fmla="*/ 231080 w 798069"/>
              <a:gd name="connsiteY45" fmla="*/ 19050 h 695341"/>
              <a:gd name="connsiteX46" fmla="*/ 235843 w 798069"/>
              <a:gd name="connsiteY46" fmla="*/ 11906 h 695341"/>
              <a:gd name="connsiteX47" fmla="*/ 242987 w 798069"/>
              <a:gd name="connsiteY47" fmla="*/ 14287 h 695341"/>
              <a:gd name="connsiteX48" fmla="*/ 247749 w 798069"/>
              <a:gd name="connsiteY48" fmla="*/ 30956 h 695341"/>
              <a:gd name="connsiteX49" fmla="*/ 250130 w 798069"/>
              <a:gd name="connsiteY49" fmla="*/ 78581 h 695341"/>
              <a:gd name="connsiteX50" fmla="*/ 257275 w 798069"/>
              <a:gd name="connsiteY50" fmla="*/ 78581 h 695341"/>
              <a:gd name="connsiteX51" fmla="*/ 273943 w 798069"/>
              <a:gd name="connsiteY51" fmla="*/ 88105 h 695341"/>
              <a:gd name="connsiteX52" fmla="*/ 281087 w 798069"/>
              <a:gd name="connsiteY52" fmla="*/ 102393 h 695341"/>
              <a:gd name="connsiteX53" fmla="*/ 288230 w 798069"/>
              <a:gd name="connsiteY53" fmla="*/ 104775 h 695341"/>
              <a:gd name="connsiteX54" fmla="*/ 307280 w 798069"/>
              <a:gd name="connsiteY54" fmla="*/ 102393 h 695341"/>
              <a:gd name="connsiteX55" fmla="*/ 319187 w 798069"/>
              <a:gd name="connsiteY55" fmla="*/ 100012 h 695341"/>
              <a:gd name="connsiteX56" fmla="*/ 352524 w 798069"/>
              <a:gd name="connsiteY56" fmla="*/ 102393 h 695341"/>
              <a:gd name="connsiteX57" fmla="*/ 354905 w 798069"/>
              <a:gd name="connsiteY57" fmla="*/ 109537 h 695341"/>
              <a:gd name="connsiteX58" fmla="*/ 359668 w 798069"/>
              <a:gd name="connsiteY58" fmla="*/ 147637 h 695341"/>
              <a:gd name="connsiteX59" fmla="*/ 364430 w 798069"/>
              <a:gd name="connsiteY59" fmla="*/ 157162 h 695341"/>
              <a:gd name="connsiteX60" fmla="*/ 371574 w 798069"/>
              <a:gd name="connsiteY60" fmla="*/ 159543 h 695341"/>
              <a:gd name="connsiteX61" fmla="*/ 414437 w 798069"/>
              <a:gd name="connsiteY61" fmla="*/ 157162 h 695341"/>
              <a:gd name="connsiteX62" fmla="*/ 428724 w 798069"/>
              <a:gd name="connsiteY62" fmla="*/ 150018 h 695341"/>
              <a:gd name="connsiteX63" fmla="*/ 435868 w 798069"/>
              <a:gd name="connsiteY63" fmla="*/ 128587 h 695341"/>
              <a:gd name="connsiteX64" fmla="*/ 450155 w 798069"/>
              <a:gd name="connsiteY64" fmla="*/ 133350 h 695341"/>
              <a:gd name="connsiteX65" fmla="*/ 457299 w 798069"/>
              <a:gd name="connsiteY65" fmla="*/ 128587 h 695341"/>
              <a:gd name="connsiteX66" fmla="*/ 464443 w 798069"/>
              <a:gd name="connsiteY66" fmla="*/ 114300 h 695341"/>
              <a:gd name="connsiteX67" fmla="*/ 478730 w 798069"/>
              <a:gd name="connsiteY67" fmla="*/ 107156 h 695341"/>
              <a:gd name="connsiteX68" fmla="*/ 490637 w 798069"/>
              <a:gd name="connsiteY68" fmla="*/ 95250 h 695341"/>
              <a:gd name="connsiteX69" fmla="*/ 493018 w 798069"/>
              <a:gd name="connsiteY69" fmla="*/ 78581 h 695341"/>
              <a:gd name="connsiteX70" fmla="*/ 495399 w 798069"/>
              <a:gd name="connsiteY70" fmla="*/ 71437 h 695341"/>
              <a:gd name="connsiteX71" fmla="*/ 502543 w 798069"/>
              <a:gd name="connsiteY71" fmla="*/ 45243 h 695341"/>
              <a:gd name="connsiteX72" fmla="*/ 512068 w 798069"/>
              <a:gd name="connsiteY72" fmla="*/ 0 h 695341"/>
              <a:gd name="connsiteX73" fmla="*/ 523974 w 798069"/>
              <a:gd name="connsiteY73" fmla="*/ 9525 h 695341"/>
              <a:gd name="connsiteX74" fmla="*/ 531118 w 798069"/>
              <a:gd name="connsiteY74" fmla="*/ 16668 h 695341"/>
              <a:gd name="connsiteX75" fmla="*/ 540643 w 798069"/>
              <a:gd name="connsiteY75" fmla="*/ 30956 h 695341"/>
              <a:gd name="connsiteX76" fmla="*/ 550168 w 798069"/>
              <a:gd name="connsiteY76" fmla="*/ 45243 h 695341"/>
              <a:gd name="connsiteX77" fmla="*/ 562074 w 798069"/>
              <a:gd name="connsiteY77" fmla="*/ 59531 h 695341"/>
              <a:gd name="connsiteX78" fmla="*/ 590649 w 798069"/>
              <a:gd name="connsiteY78" fmla="*/ 66675 h 695341"/>
              <a:gd name="connsiteX79" fmla="*/ 604937 w 798069"/>
              <a:gd name="connsiteY79" fmla="*/ 73818 h 695341"/>
              <a:gd name="connsiteX80" fmla="*/ 609699 w 798069"/>
              <a:gd name="connsiteY80" fmla="*/ 80962 h 695341"/>
              <a:gd name="connsiteX81" fmla="*/ 616843 w 798069"/>
              <a:gd name="connsiteY81" fmla="*/ 88106 h 695341"/>
              <a:gd name="connsiteX82" fmla="*/ 628749 w 798069"/>
              <a:gd name="connsiteY82" fmla="*/ 100012 h 695341"/>
              <a:gd name="connsiteX83" fmla="*/ 638274 w 798069"/>
              <a:gd name="connsiteY83" fmla="*/ 114300 h 695341"/>
              <a:gd name="connsiteX84" fmla="*/ 645418 w 798069"/>
              <a:gd name="connsiteY84" fmla="*/ 119062 h 695341"/>
              <a:gd name="connsiteX85" fmla="*/ 688280 w 798069"/>
              <a:gd name="connsiteY85" fmla="*/ 123825 h 695341"/>
              <a:gd name="connsiteX86" fmla="*/ 709712 w 798069"/>
              <a:gd name="connsiteY86" fmla="*/ 142875 h 695341"/>
              <a:gd name="connsiteX87" fmla="*/ 726380 w 798069"/>
              <a:gd name="connsiteY87" fmla="*/ 147637 h 695341"/>
              <a:gd name="connsiteX88" fmla="*/ 740668 w 798069"/>
              <a:gd name="connsiteY88" fmla="*/ 152400 h 695341"/>
              <a:gd name="connsiteX89" fmla="*/ 754955 w 798069"/>
              <a:gd name="connsiteY89" fmla="*/ 159543 h 695341"/>
              <a:gd name="connsiteX90" fmla="*/ 766862 w 798069"/>
              <a:gd name="connsiteY90" fmla="*/ 183356 h 695341"/>
              <a:gd name="connsiteX91" fmla="*/ 769243 w 798069"/>
              <a:gd name="connsiteY91" fmla="*/ 211931 h 695341"/>
              <a:gd name="connsiteX92" fmla="*/ 771624 w 798069"/>
              <a:gd name="connsiteY92" fmla="*/ 219075 h 695341"/>
              <a:gd name="connsiteX93" fmla="*/ 774005 w 798069"/>
              <a:gd name="connsiteY93" fmla="*/ 309562 h 695341"/>
              <a:gd name="connsiteX94" fmla="*/ 776387 w 798069"/>
              <a:gd name="connsiteY94" fmla="*/ 316706 h 695341"/>
              <a:gd name="connsiteX95" fmla="*/ 790674 w 798069"/>
              <a:gd name="connsiteY95" fmla="*/ 326231 h 695341"/>
              <a:gd name="connsiteX96" fmla="*/ 795437 w 798069"/>
              <a:gd name="connsiteY96" fmla="*/ 333375 h 695341"/>
              <a:gd name="connsiteX97" fmla="*/ 795437 w 798069"/>
              <a:gd name="connsiteY97" fmla="*/ 357187 h 695341"/>
              <a:gd name="connsiteX98" fmla="*/ 790674 w 798069"/>
              <a:gd name="connsiteY98" fmla="*/ 364331 h 695341"/>
              <a:gd name="connsiteX99" fmla="*/ 776387 w 798069"/>
              <a:gd name="connsiteY99" fmla="*/ 373856 h 695341"/>
              <a:gd name="connsiteX100" fmla="*/ 735906 w 798069"/>
              <a:gd name="connsiteY100" fmla="*/ 378619 h 695341"/>
              <a:gd name="connsiteX101" fmla="*/ 733524 w 798069"/>
              <a:gd name="connsiteY101" fmla="*/ 376237 h 695341"/>
              <a:gd name="connsiteX102" fmla="*/ 716855 w 798069"/>
              <a:gd name="connsiteY102" fmla="*/ 364331 h 695341"/>
              <a:gd name="connsiteX103" fmla="*/ 714474 w 798069"/>
              <a:gd name="connsiteY103" fmla="*/ 369093 h 695341"/>
              <a:gd name="connsiteX104" fmla="*/ 697805 w 798069"/>
              <a:gd name="connsiteY104" fmla="*/ 378618 h 695341"/>
              <a:gd name="connsiteX105" fmla="*/ 690662 w 798069"/>
              <a:gd name="connsiteY105" fmla="*/ 392906 h 695341"/>
              <a:gd name="connsiteX106" fmla="*/ 697805 w 798069"/>
              <a:gd name="connsiteY106" fmla="*/ 395287 h 695341"/>
              <a:gd name="connsiteX107" fmla="*/ 709712 w 798069"/>
              <a:gd name="connsiteY107" fmla="*/ 397668 h 695341"/>
              <a:gd name="connsiteX108" fmla="*/ 716855 w 798069"/>
              <a:gd name="connsiteY108" fmla="*/ 404812 h 695341"/>
              <a:gd name="connsiteX109" fmla="*/ 728762 w 798069"/>
              <a:gd name="connsiteY109" fmla="*/ 423862 h 695341"/>
              <a:gd name="connsiteX110" fmla="*/ 745430 w 798069"/>
              <a:gd name="connsiteY110" fmla="*/ 426243 h 695341"/>
              <a:gd name="connsiteX111" fmla="*/ 750193 w 798069"/>
              <a:gd name="connsiteY111" fmla="*/ 433387 h 695341"/>
              <a:gd name="connsiteX112" fmla="*/ 747812 w 798069"/>
              <a:gd name="connsiteY112" fmla="*/ 454818 h 695341"/>
              <a:gd name="connsiteX113" fmla="*/ 745430 w 798069"/>
              <a:gd name="connsiteY113" fmla="*/ 464343 h 695341"/>
              <a:gd name="connsiteX114" fmla="*/ 735905 w 798069"/>
              <a:gd name="connsiteY114" fmla="*/ 485775 h 695341"/>
              <a:gd name="connsiteX115" fmla="*/ 728762 w 798069"/>
              <a:gd name="connsiteY115" fmla="*/ 488156 h 695341"/>
              <a:gd name="connsiteX116" fmla="*/ 721618 w 798069"/>
              <a:gd name="connsiteY116" fmla="*/ 492918 h 695341"/>
              <a:gd name="connsiteX117" fmla="*/ 716855 w 798069"/>
              <a:gd name="connsiteY117" fmla="*/ 509587 h 695341"/>
              <a:gd name="connsiteX118" fmla="*/ 712093 w 798069"/>
              <a:gd name="connsiteY118" fmla="*/ 516731 h 695341"/>
              <a:gd name="connsiteX119" fmla="*/ 704949 w 798069"/>
              <a:gd name="connsiteY119" fmla="*/ 519112 h 695341"/>
              <a:gd name="connsiteX120" fmla="*/ 697805 w 798069"/>
              <a:gd name="connsiteY120" fmla="*/ 523875 h 695341"/>
              <a:gd name="connsiteX121" fmla="*/ 669230 w 798069"/>
              <a:gd name="connsiteY121" fmla="*/ 528637 h 695341"/>
              <a:gd name="connsiteX122" fmla="*/ 662087 w 798069"/>
              <a:gd name="connsiteY122" fmla="*/ 535781 h 695341"/>
              <a:gd name="connsiteX123" fmla="*/ 650180 w 798069"/>
              <a:gd name="connsiteY123" fmla="*/ 547687 h 695341"/>
              <a:gd name="connsiteX124" fmla="*/ 635893 w 798069"/>
              <a:gd name="connsiteY124" fmla="*/ 550068 h 695341"/>
              <a:gd name="connsiteX125" fmla="*/ 614462 w 798069"/>
              <a:gd name="connsiteY125" fmla="*/ 561975 h 695341"/>
              <a:gd name="connsiteX126" fmla="*/ 607318 w 798069"/>
              <a:gd name="connsiteY126" fmla="*/ 564356 h 695341"/>
              <a:gd name="connsiteX127" fmla="*/ 593030 w 798069"/>
              <a:gd name="connsiteY127" fmla="*/ 573881 h 695341"/>
              <a:gd name="connsiteX128" fmla="*/ 562074 w 798069"/>
              <a:gd name="connsiteY128" fmla="*/ 576262 h 695341"/>
              <a:gd name="connsiteX129" fmla="*/ 540643 w 798069"/>
              <a:gd name="connsiteY129" fmla="*/ 590550 h 695341"/>
              <a:gd name="connsiteX130" fmla="*/ 533499 w 798069"/>
              <a:gd name="connsiteY130" fmla="*/ 595312 h 695341"/>
              <a:gd name="connsiteX131" fmla="*/ 526355 w 798069"/>
              <a:gd name="connsiteY131" fmla="*/ 597693 h 695341"/>
              <a:gd name="connsiteX132" fmla="*/ 514449 w 798069"/>
              <a:gd name="connsiteY132" fmla="*/ 611981 h 695341"/>
              <a:gd name="connsiteX133" fmla="*/ 512068 w 798069"/>
              <a:gd name="connsiteY133" fmla="*/ 619125 h 695341"/>
              <a:gd name="connsiteX134" fmla="*/ 507305 w 798069"/>
              <a:gd name="connsiteY134" fmla="*/ 640556 h 695341"/>
              <a:gd name="connsiteX135" fmla="*/ 502543 w 798069"/>
              <a:gd name="connsiteY135" fmla="*/ 654843 h 695341"/>
              <a:gd name="connsiteX136" fmla="*/ 500162 w 798069"/>
              <a:gd name="connsiteY136" fmla="*/ 661987 h 695341"/>
              <a:gd name="connsiteX137" fmla="*/ 493018 w 798069"/>
              <a:gd name="connsiteY137" fmla="*/ 664368 h 695341"/>
              <a:gd name="connsiteX138" fmla="*/ 485874 w 798069"/>
              <a:gd name="connsiteY138" fmla="*/ 659606 h 695341"/>
              <a:gd name="connsiteX139" fmla="*/ 471587 w 798069"/>
              <a:gd name="connsiteY139" fmla="*/ 645318 h 695341"/>
              <a:gd name="connsiteX140" fmla="*/ 447774 w 798069"/>
              <a:gd name="connsiteY140" fmla="*/ 647700 h 695341"/>
              <a:gd name="connsiteX141" fmla="*/ 435868 w 798069"/>
              <a:gd name="connsiteY141" fmla="*/ 659606 h 695341"/>
              <a:gd name="connsiteX142" fmla="*/ 414437 w 798069"/>
              <a:gd name="connsiteY142" fmla="*/ 671512 h 695341"/>
              <a:gd name="connsiteX143" fmla="*/ 407293 w 798069"/>
              <a:gd name="connsiteY143" fmla="*/ 676275 h 695341"/>
              <a:gd name="connsiteX144" fmla="*/ 385862 w 798069"/>
              <a:gd name="connsiteY144" fmla="*/ 671512 h 695341"/>
              <a:gd name="connsiteX145" fmla="*/ 314424 w 798069"/>
              <a:gd name="connsiteY145" fmla="*/ 673893 h 695341"/>
              <a:gd name="connsiteX146" fmla="*/ 300137 w 798069"/>
              <a:gd name="connsiteY146" fmla="*/ 676275 h 695341"/>
              <a:gd name="connsiteX147" fmla="*/ 297755 w 798069"/>
              <a:gd name="connsiteY147" fmla="*/ 666750 h 695341"/>
              <a:gd name="connsiteX148" fmla="*/ 292993 w 798069"/>
              <a:gd name="connsiteY148" fmla="*/ 652462 h 695341"/>
              <a:gd name="connsiteX149" fmla="*/ 288230 w 798069"/>
              <a:gd name="connsiteY149" fmla="*/ 638175 h 695341"/>
              <a:gd name="connsiteX150" fmla="*/ 281087 w 798069"/>
              <a:gd name="connsiteY150" fmla="*/ 633412 h 695341"/>
              <a:gd name="connsiteX151" fmla="*/ 271562 w 798069"/>
              <a:gd name="connsiteY151" fmla="*/ 635793 h 695341"/>
              <a:gd name="connsiteX152" fmla="*/ 269180 w 798069"/>
              <a:gd name="connsiteY152" fmla="*/ 642937 h 695341"/>
              <a:gd name="connsiteX153" fmla="*/ 257274 w 798069"/>
              <a:gd name="connsiteY153" fmla="*/ 657225 h 695341"/>
              <a:gd name="connsiteX154" fmla="*/ 250130 w 798069"/>
              <a:gd name="connsiteY154" fmla="*/ 659606 h 695341"/>
              <a:gd name="connsiteX155" fmla="*/ 238224 w 798069"/>
              <a:gd name="connsiteY155" fmla="*/ 671512 h 695341"/>
              <a:gd name="connsiteX156" fmla="*/ 235843 w 798069"/>
              <a:gd name="connsiteY156" fmla="*/ 678656 h 695341"/>
              <a:gd name="connsiteX157" fmla="*/ 233462 w 798069"/>
              <a:gd name="connsiteY157" fmla="*/ 688181 h 695341"/>
              <a:gd name="connsiteX158" fmla="*/ 226318 w 798069"/>
              <a:gd name="connsiteY158" fmla="*/ 690562 h 695341"/>
              <a:gd name="connsiteX159" fmla="*/ 212030 w 798069"/>
              <a:gd name="connsiteY159" fmla="*/ 688181 h 695341"/>
              <a:gd name="connsiteX160" fmla="*/ 204887 w 798069"/>
              <a:gd name="connsiteY160" fmla="*/ 685800 h 695341"/>
              <a:gd name="connsiteX161" fmla="*/ 173930 w 798069"/>
              <a:gd name="connsiteY161" fmla="*/ 688181 h 695341"/>
              <a:gd name="connsiteX162" fmla="*/ 164405 w 798069"/>
              <a:gd name="connsiteY162" fmla="*/ 685800 h 695341"/>
              <a:gd name="connsiteX163" fmla="*/ 154880 w 798069"/>
              <a:gd name="connsiteY163" fmla="*/ 664368 h 695341"/>
              <a:gd name="connsiteX164" fmla="*/ 140593 w 798069"/>
              <a:gd name="connsiteY164" fmla="*/ 654843 h 695341"/>
              <a:gd name="connsiteX165" fmla="*/ 133449 w 798069"/>
              <a:gd name="connsiteY165" fmla="*/ 657225 h 695341"/>
              <a:gd name="connsiteX166" fmla="*/ 119162 w 798069"/>
              <a:gd name="connsiteY166" fmla="*/ 669131 h 695341"/>
              <a:gd name="connsiteX167" fmla="*/ 112018 w 798069"/>
              <a:gd name="connsiteY167" fmla="*/ 673893 h 695341"/>
              <a:gd name="connsiteX168" fmla="*/ 95349 w 798069"/>
              <a:gd name="connsiteY168" fmla="*/ 671512 h 695341"/>
              <a:gd name="connsiteX169" fmla="*/ 85824 w 798069"/>
              <a:gd name="connsiteY169" fmla="*/ 659606 h 695341"/>
              <a:gd name="connsiteX170" fmla="*/ 78680 w 798069"/>
              <a:gd name="connsiteY170" fmla="*/ 654843 h 695341"/>
              <a:gd name="connsiteX171" fmla="*/ 73918 w 798069"/>
              <a:gd name="connsiteY171" fmla="*/ 661987 h 695341"/>
              <a:gd name="connsiteX172" fmla="*/ 66774 w 798069"/>
              <a:gd name="connsiteY172" fmla="*/ 671512 h 695341"/>
              <a:gd name="connsiteX173" fmla="*/ 64393 w 798069"/>
              <a:gd name="connsiteY173" fmla="*/ 678656 h 695341"/>
              <a:gd name="connsiteX174" fmla="*/ 57249 w 798069"/>
              <a:gd name="connsiteY174" fmla="*/ 683418 h 695341"/>
              <a:gd name="connsiteX175" fmla="*/ 50105 w 798069"/>
              <a:gd name="connsiteY175" fmla="*/ 685800 h 695341"/>
              <a:gd name="connsiteX176" fmla="*/ 28674 w 798069"/>
              <a:gd name="connsiteY176" fmla="*/ 695325 h 695341"/>
              <a:gd name="connsiteX0" fmla="*/ 28674 w 798069"/>
              <a:gd name="connsiteY0" fmla="*/ 695325 h 695341"/>
              <a:gd name="connsiteX1" fmla="*/ 31055 w 798069"/>
              <a:gd name="connsiteY1" fmla="*/ 683418 h 695341"/>
              <a:gd name="connsiteX2" fmla="*/ 23912 w 798069"/>
              <a:gd name="connsiteY2" fmla="*/ 654843 h 695341"/>
              <a:gd name="connsiteX3" fmla="*/ 19149 w 798069"/>
              <a:gd name="connsiteY3" fmla="*/ 647700 h 695341"/>
              <a:gd name="connsiteX4" fmla="*/ 12005 w 798069"/>
              <a:gd name="connsiteY4" fmla="*/ 626268 h 695341"/>
              <a:gd name="connsiteX5" fmla="*/ 9624 w 798069"/>
              <a:gd name="connsiteY5" fmla="*/ 619125 h 695341"/>
              <a:gd name="connsiteX6" fmla="*/ 12005 w 798069"/>
              <a:gd name="connsiteY6" fmla="*/ 533400 h 695341"/>
              <a:gd name="connsiteX7" fmla="*/ 16768 w 798069"/>
              <a:gd name="connsiteY7" fmla="*/ 519112 h 695341"/>
              <a:gd name="connsiteX8" fmla="*/ 21530 w 798069"/>
              <a:gd name="connsiteY8" fmla="*/ 511968 h 695341"/>
              <a:gd name="connsiteX9" fmla="*/ 19149 w 798069"/>
              <a:gd name="connsiteY9" fmla="*/ 492918 h 695341"/>
              <a:gd name="connsiteX10" fmla="*/ 4862 w 798069"/>
              <a:gd name="connsiteY10" fmla="*/ 481012 h 695341"/>
              <a:gd name="connsiteX11" fmla="*/ 99 w 798069"/>
              <a:gd name="connsiteY11" fmla="*/ 473868 h 695341"/>
              <a:gd name="connsiteX12" fmla="*/ 2480 w 798069"/>
              <a:gd name="connsiteY12" fmla="*/ 464343 h 695341"/>
              <a:gd name="connsiteX13" fmla="*/ 23912 w 798069"/>
              <a:gd name="connsiteY13" fmla="*/ 447675 h 695341"/>
              <a:gd name="connsiteX14" fmla="*/ 38199 w 798069"/>
              <a:gd name="connsiteY14" fmla="*/ 433387 h 695341"/>
              <a:gd name="connsiteX15" fmla="*/ 52487 w 798069"/>
              <a:gd name="connsiteY15" fmla="*/ 421481 h 695341"/>
              <a:gd name="connsiteX16" fmla="*/ 57249 w 798069"/>
              <a:gd name="connsiteY16" fmla="*/ 414337 h 695341"/>
              <a:gd name="connsiteX17" fmla="*/ 62012 w 798069"/>
              <a:gd name="connsiteY17" fmla="*/ 388143 h 695341"/>
              <a:gd name="connsiteX18" fmla="*/ 69155 w 798069"/>
              <a:gd name="connsiteY18" fmla="*/ 364331 h 695341"/>
              <a:gd name="connsiteX19" fmla="*/ 73918 w 798069"/>
              <a:gd name="connsiteY19" fmla="*/ 357187 h 695341"/>
              <a:gd name="connsiteX20" fmla="*/ 76299 w 798069"/>
              <a:gd name="connsiteY20" fmla="*/ 350043 h 695341"/>
              <a:gd name="connsiteX21" fmla="*/ 88205 w 798069"/>
              <a:gd name="connsiteY21" fmla="*/ 333375 h 695341"/>
              <a:gd name="connsiteX22" fmla="*/ 100112 w 798069"/>
              <a:gd name="connsiteY22" fmla="*/ 321468 h 695341"/>
              <a:gd name="connsiteX23" fmla="*/ 112018 w 798069"/>
              <a:gd name="connsiteY23" fmla="*/ 307181 h 695341"/>
              <a:gd name="connsiteX24" fmla="*/ 121543 w 798069"/>
              <a:gd name="connsiteY24" fmla="*/ 292893 h 695341"/>
              <a:gd name="connsiteX25" fmla="*/ 133449 w 798069"/>
              <a:gd name="connsiteY25" fmla="*/ 278606 h 695341"/>
              <a:gd name="connsiteX26" fmla="*/ 138212 w 798069"/>
              <a:gd name="connsiteY26" fmla="*/ 269081 h 695341"/>
              <a:gd name="connsiteX27" fmla="*/ 147737 w 798069"/>
              <a:gd name="connsiteY27" fmla="*/ 254793 h 695341"/>
              <a:gd name="connsiteX28" fmla="*/ 159643 w 798069"/>
              <a:gd name="connsiteY28" fmla="*/ 233362 h 695341"/>
              <a:gd name="connsiteX29" fmla="*/ 164405 w 798069"/>
              <a:gd name="connsiteY29" fmla="*/ 223837 h 695341"/>
              <a:gd name="connsiteX30" fmla="*/ 169168 w 798069"/>
              <a:gd name="connsiteY30" fmla="*/ 216693 h 695341"/>
              <a:gd name="connsiteX31" fmla="*/ 176312 w 798069"/>
              <a:gd name="connsiteY31" fmla="*/ 202406 h 695341"/>
              <a:gd name="connsiteX32" fmla="*/ 185837 w 798069"/>
              <a:gd name="connsiteY32" fmla="*/ 188118 h 695341"/>
              <a:gd name="connsiteX33" fmla="*/ 183455 w 798069"/>
              <a:gd name="connsiteY33" fmla="*/ 166687 h 695341"/>
              <a:gd name="connsiteX34" fmla="*/ 173930 w 798069"/>
              <a:gd name="connsiteY34" fmla="*/ 159543 h 695341"/>
              <a:gd name="connsiteX35" fmla="*/ 169168 w 798069"/>
              <a:gd name="connsiteY35" fmla="*/ 152400 h 695341"/>
              <a:gd name="connsiteX36" fmla="*/ 171549 w 798069"/>
              <a:gd name="connsiteY36" fmla="*/ 126206 h 695341"/>
              <a:gd name="connsiteX37" fmla="*/ 176312 w 798069"/>
              <a:gd name="connsiteY37" fmla="*/ 119062 h 695341"/>
              <a:gd name="connsiteX38" fmla="*/ 178693 w 798069"/>
              <a:gd name="connsiteY38" fmla="*/ 111918 h 695341"/>
              <a:gd name="connsiteX39" fmla="*/ 185837 w 798069"/>
              <a:gd name="connsiteY39" fmla="*/ 97631 h 695341"/>
              <a:gd name="connsiteX40" fmla="*/ 183455 w 798069"/>
              <a:gd name="connsiteY40" fmla="*/ 85725 h 695341"/>
              <a:gd name="connsiteX41" fmla="*/ 178693 w 798069"/>
              <a:gd name="connsiteY41" fmla="*/ 78581 h 695341"/>
              <a:gd name="connsiteX42" fmla="*/ 190599 w 798069"/>
              <a:gd name="connsiteY42" fmla="*/ 52387 h 695341"/>
              <a:gd name="connsiteX43" fmla="*/ 197743 w 798069"/>
              <a:gd name="connsiteY43" fmla="*/ 50006 h 695341"/>
              <a:gd name="connsiteX44" fmla="*/ 219174 w 798069"/>
              <a:gd name="connsiteY44" fmla="*/ 30956 h 695341"/>
              <a:gd name="connsiteX45" fmla="*/ 231080 w 798069"/>
              <a:gd name="connsiteY45" fmla="*/ 19050 h 695341"/>
              <a:gd name="connsiteX46" fmla="*/ 235843 w 798069"/>
              <a:gd name="connsiteY46" fmla="*/ 11906 h 695341"/>
              <a:gd name="connsiteX47" fmla="*/ 242987 w 798069"/>
              <a:gd name="connsiteY47" fmla="*/ 14287 h 695341"/>
              <a:gd name="connsiteX48" fmla="*/ 247749 w 798069"/>
              <a:gd name="connsiteY48" fmla="*/ 30956 h 695341"/>
              <a:gd name="connsiteX49" fmla="*/ 250130 w 798069"/>
              <a:gd name="connsiteY49" fmla="*/ 78581 h 695341"/>
              <a:gd name="connsiteX50" fmla="*/ 257275 w 798069"/>
              <a:gd name="connsiteY50" fmla="*/ 78581 h 695341"/>
              <a:gd name="connsiteX51" fmla="*/ 273943 w 798069"/>
              <a:gd name="connsiteY51" fmla="*/ 88105 h 695341"/>
              <a:gd name="connsiteX52" fmla="*/ 281087 w 798069"/>
              <a:gd name="connsiteY52" fmla="*/ 102393 h 695341"/>
              <a:gd name="connsiteX53" fmla="*/ 288230 w 798069"/>
              <a:gd name="connsiteY53" fmla="*/ 104775 h 695341"/>
              <a:gd name="connsiteX54" fmla="*/ 307280 w 798069"/>
              <a:gd name="connsiteY54" fmla="*/ 102393 h 695341"/>
              <a:gd name="connsiteX55" fmla="*/ 319187 w 798069"/>
              <a:gd name="connsiteY55" fmla="*/ 100012 h 695341"/>
              <a:gd name="connsiteX56" fmla="*/ 352524 w 798069"/>
              <a:gd name="connsiteY56" fmla="*/ 102393 h 695341"/>
              <a:gd name="connsiteX57" fmla="*/ 354905 w 798069"/>
              <a:gd name="connsiteY57" fmla="*/ 109537 h 695341"/>
              <a:gd name="connsiteX58" fmla="*/ 359668 w 798069"/>
              <a:gd name="connsiteY58" fmla="*/ 147637 h 695341"/>
              <a:gd name="connsiteX59" fmla="*/ 364430 w 798069"/>
              <a:gd name="connsiteY59" fmla="*/ 157162 h 695341"/>
              <a:gd name="connsiteX60" fmla="*/ 371574 w 798069"/>
              <a:gd name="connsiteY60" fmla="*/ 159543 h 695341"/>
              <a:gd name="connsiteX61" fmla="*/ 414437 w 798069"/>
              <a:gd name="connsiteY61" fmla="*/ 157162 h 695341"/>
              <a:gd name="connsiteX62" fmla="*/ 428724 w 798069"/>
              <a:gd name="connsiteY62" fmla="*/ 150018 h 695341"/>
              <a:gd name="connsiteX63" fmla="*/ 435868 w 798069"/>
              <a:gd name="connsiteY63" fmla="*/ 128587 h 695341"/>
              <a:gd name="connsiteX64" fmla="*/ 450155 w 798069"/>
              <a:gd name="connsiteY64" fmla="*/ 133350 h 695341"/>
              <a:gd name="connsiteX65" fmla="*/ 450155 w 798069"/>
              <a:gd name="connsiteY65" fmla="*/ 121443 h 695341"/>
              <a:gd name="connsiteX66" fmla="*/ 464443 w 798069"/>
              <a:gd name="connsiteY66" fmla="*/ 114300 h 695341"/>
              <a:gd name="connsiteX67" fmla="*/ 478730 w 798069"/>
              <a:gd name="connsiteY67" fmla="*/ 107156 h 695341"/>
              <a:gd name="connsiteX68" fmla="*/ 490637 w 798069"/>
              <a:gd name="connsiteY68" fmla="*/ 95250 h 695341"/>
              <a:gd name="connsiteX69" fmla="*/ 493018 w 798069"/>
              <a:gd name="connsiteY69" fmla="*/ 78581 h 695341"/>
              <a:gd name="connsiteX70" fmla="*/ 495399 w 798069"/>
              <a:gd name="connsiteY70" fmla="*/ 71437 h 695341"/>
              <a:gd name="connsiteX71" fmla="*/ 502543 w 798069"/>
              <a:gd name="connsiteY71" fmla="*/ 45243 h 695341"/>
              <a:gd name="connsiteX72" fmla="*/ 512068 w 798069"/>
              <a:gd name="connsiteY72" fmla="*/ 0 h 695341"/>
              <a:gd name="connsiteX73" fmla="*/ 523974 w 798069"/>
              <a:gd name="connsiteY73" fmla="*/ 9525 h 695341"/>
              <a:gd name="connsiteX74" fmla="*/ 531118 w 798069"/>
              <a:gd name="connsiteY74" fmla="*/ 16668 h 695341"/>
              <a:gd name="connsiteX75" fmla="*/ 540643 w 798069"/>
              <a:gd name="connsiteY75" fmla="*/ 30956 h 695341"/>
              <a:gd name="connsiteX76" fmla="*/ 550168 w 798069"/>
              <a:gd name="connsiteY76" fmla="*/ 45243 h 695341"/>
              <a:gd name="connsiteX77" fmla="*/ 562074 w 798069"/>
              <a:gd name="connsiteY77" fmla="*/ 59531 h 695341"/>
              <a:gd name="connsiteX78" fmla="*/ 590649 w 798069"/>
              <a:gd name="connsiteY78" fmla="*/ 66675 h 695341"/>
              <a:gd name="connsiteX79" fmla="*/ 604937 w 798069"/>
              <a:gd name="connsiteY79" fmla="*/ 73818 h 695341"/>
              <a:gd name="connsiteX80" fmla="*/ 609699 w 798069"/>
              <a:gd name="connsiteY80" fmla="*/ 80962 h 695341"/>
              <a:gd name="connsiteX81" fmla="*/ 616843 w 798069"/>
              <a:gd name="connsiteY81" fmla="*/ 88106 h 695341"/>
              <a:gd name="connsiteX82" fmla="*/ 628749 w 798069"/>
              <a:gd name="connsiteY82" fmla="*/ 100012 h 695341"/>
              <a:gd name="connsiteX83" fmla="*/ 638274 w 798069"/>
              <a:gd name="connsiteY83" fmla="*/ 114300 h 695341"/>
              <a:gd name="connsiteX84" fmla="*/ 645418 w 798069"/>
              <a:gd name="connsiteY84" fmla="*/ 119062 h 695341"/>
              <a:gd name="connsiteX85" fmla="*/ 688280 w 798069"/>
              <a:gd name="connsiteY85" fmla="*/ 123825 h 695341"/>
              <a:gd name="connsiteX86" fmla="*/ 709712 w 798069"/>
              <a:gd name="connsiteY86" fmla="*/ 142875 h 695341"/>
              <a:gd name="connsiteX87" fmla="*/ 726380 w 798069"/>
              <a:gd name="connsiteY87" fmla="*/ 147637 h 695341"/>
              <a:gd name="connsiteX88" fmla="*/ 740668 w 798069"/>
              <a:gd name="connsiteY88" fmla="*/ 152400 h 695341"/>
              <a:gd name="connsiteX89" fmla="*/ 754955 w 798069"/>
              <a:gd name="connsiteY89" fmla="*/ 159543 h 695341"/>
              <a:gd name="connsiteX90" fmla="*/ 766862 w 798069"/>
              <a:gd name="connsiteY90" fmla="*/ 183356 h 695341"/>
              <a:gd name="connsiteX91" fmla="*/ 769243 w 798069"/>
              <a:gd name="connsiteY91" fmla="*/ 211931 h 695341"/>
              <a:gd name="connsiteX92" fmla="*/ 771624 w 798069"/>
              <a:gd name="connsiteY92" fmla="*/ 219075 h 695341"/>
              <a:gd name="connsiteX93" fmla="*/ 774005 w 798069"/>
              <a:gd name="connsiteY93" fmla="*/ 309562 h 695341"/>
              <a:gd name="connsiteX94" fmla="*/ 776387 w 798069"/>
              <a:gd name="connsiteY94" fmla="*/ 316706 h 695341"/>
              <a:gd name="connsiteX95" fmla="*/ 790674 w 798069"/>
              <a:gd name="connsiteY95" fmla="*/ 326231 h 695341"/>
              <a:gd name="connsiteX96" fmla="*/ 795437 w 798069"/>
              <a:gd name="connsiteY96" fmla="*/ 333375 h 695341"/>
              <a:gd name="connsiteX97" fmla="*/ 795437 w 798069"/>
              <a:gd name="connsiteY97" fmla="*/ 357187 h 695341"/>
              <a:gd name="connsiteX98" fmla="*/ 790674 w 798069"/>
              <a:gd name="connsiteY98" fmla="*/ 364331 h 695341"/>
              <a:gd name="connsiteX99" fmla="*/ 776387 w 798069"/>
              <a:gd name="connsiteY99" fmla="*/ 373856 h 695341"/>
              <a:gd name="connsiteX100" fmla="*/ 735906 w 798069"/>
              <a:gd name="connsiteY100" fmla="*/ 378619 h 695341"/>
              <a:gd name="connsiteX101" fmla="*/ 733524 w 798069"/>
              <a:gd name="connsiteY101" fmla="*/ 376237 h 695341"/>
              <a:gd name="connsiteX102" fmla="*/ 716855 w 798069"/>
              <a:gd name="connsiteY102" fmla="*/ 364331 h 695341"/>
              <a:gd name="connsiteX103" fmla="*/ 714474 w 798069"/>
              <a:gd name="connsiteY103" fmla="*/ 369093 h 695341"/>
              <a:gd name="connsiteX104" fmla="*/ 697805 w 798069"/>
              <a:gd name="connsiteY104" fmla="*/ 378618 h 695341"/>
              <a:gd name="connsiteX105" fmla="*/ 690662 w 798069"/>
              <a:gd name="connsiteY105" fmla="*/ 392906 h 695341"/>
              <a:gd name="connsiteX106" fmla="*/ 697805 w 798069"/>
              <a:gd name="connsiteY106" fmla="*/ 395287 h 695341"/>
              <a:gd name="connsiteX107" fmla="*/ 709712 w 798069"/>
              <a:gd name="connsiteY107" fmla="*/ 397668 h 695341"/>
              <a:gd name="connsiteX108" fmla="*/ 716855 w 798069"/>
              <a:gd name="connsiteY108" fmla="*/ 404812 h 695341"/>
              <a:gd name="connsiteX109" fmla="*/ 728762 w 798069"/>
              <a:gd name="connsiteY109" fmla="*/ 423862 h 695341"/>
              <a:gd name="connsiteX110" fmla="*/ 745430 w 798069"/>
              <a:gd name="connsiteY110" fmla="*/ 426243 h 695341"/>
              <a:gd name="connsiteX111" fmla="*/ 750193 w 798069"/>
              <a:gd name="connsiteY111" fmla="*/ 433387 h 695341"/>
              <a:gd name="connsiteX112" fmla="*/ 747812 w 798069"/>
              <a:gd name="connsiteY112" fmla="*/ 454818 h 695341"/>
              <a:gd name="connsiteX113" fmla="*/ 745430 w 798069"/>
              <a:gd name="connsiteY113" fmla="*/ 464343 h 695341"/>
              <a:gd name="connsiteX114" fmla="*/ 735905 w 798069"/>
              <a:gd name="connsiteY114" fmla="*/ 485775 h 695341"/>
              <a:gd name="connsiteX115" fmla="*/ 728762 w 798069"/>
              <a:gd name="connsiteY115" fmla="*/ 488156 h 695341"/>
              <a:gd name="connsiteX116" fmla="*/ 721618 w 798069"/>
              <a:gd name="connsiteY116" fmla="*/ 492918 h 695341"/>
              <a:gd name="connsiteX117" fmla="*/ 716855 w 798069"/>
              <a:gd name="connsiteY117" fmla="*/ 509587 h 695341"/>
              <a:gd name="connsiteX118" fmla="*/ 712093 w 798069"/>
              <a:gd name="connsiteY118" fmla="*/ 516731 h 695341"/>
              <a:gd name="connsiteX119" fmla="*/ 704949 w 798069"/>
              <a:gd name="connsiteY119" fmla="*/ 519112 h 695341"/>
              <a:gd name="connsiteX120" fmla="*/ 697805 w 798069"/>
              <a:gd name="connsiteY120" fmla="*/ 523875 h 695341"/>
              <a:gd name="connsiteX121" fmla="*/ 669230 w 798069"/>
              <a:gd name="connsiteY121" fmla="*/ 528637 h 695341"/>
              <a:gd name="connsiteX122" fmla="*/ 662087 w 798069"/>
              <a:gd name="connsiteY122" fmla="*/ 535781 h 695341"/>
              <a:gd name="connsiteX123" fmla="*/ 650180 w 798069"/>
              <a:gd name="connsiteY123" fmla="*/ 547687 h 695341"/>
              <a:gd name="connsiteX124" fmla="*/ 635893 w 798069"/>
              <a:gd name="connsiteY124" fmla="*/ 550068 h 695341"/>
              <a:gd name="connsiteX125" fmla="*/ 614462 w 798069"/>
              <a:gd name="connsiteY125" fmla="*/ 561975 h 695341"/>
              <a:gd name="connsiteX126" fmla="*/ 607318 w 798069"/>
              <a:gd name="connsiteY126" fmla="*/ 564356 h 695341"/>
              <a:gd name="connsiteX127" fmla="*/ 593030 w 798069"/>
              <a:gd name="connsiteY127" fmla="*/ 573881 h 695341"/>
              <a:gd name="connsiteX128" fmla="*/ 562074 w 798069"/>
              <a:gd name="connsiteY128" fmla="*/ 576262 h 695341"/>
              <a:gd name="connsiteX129" fmla="*/ 540643 w 798069"/>
              <a:gd name="connsiteY129" fmla="*/ 590550 h 695341"/>
              <a:gd name="connsiteX130" fmla="*/ 533499 w 798069"/>
              <a:gd name="connsiteY130" fmla="*/ 595312 h 695341"/>
              <a:gd name="connsiteX131" fmla="*/ 526355 w 798069"/>
              <a:gd name="connsiteY131" fmla="*/ 597693 h 695341"/>
              <a:gd name="connsiteX132" fmla="*/ 514449 w 798069"/>
              <a:gd name="connsiteY132" fmla="*/ 611981 h 695341"/>
              <a:gd name="connsiteX133" fmla="*/ 512068 w 798069"/>
              <a:gd name="connsiteY133" fmla="*/ 619125 h 695341"/>
              <a:gd name="connsiteX134" fmla="*/ 507305 w 798069"/>
              <a:gd name="connsiteY134" fmla="*/ 640556 h 695341"/>
              <a:gd name="connsiteX135" fmla="*/ 502543 w 798069"/>
              <a:gd name="connsiteY135" fmla="*/ 654843 h 695341"/>
              <a:gd name="connsiteX136" fmla="*/ 500162 w 798069"/>
              <a:gd name="connsiteY136" fmla="*/ 661987 h 695341"/>
              <a:gd name="connsiteX137" fmla="*/ 493018 w 798069"/>
              <a:gd name="connsiteY137" fmla="*/ 664368 h 695341"/>
              <a:gd name="connsiteX138" fmla="*/ 485874 w 798069"/>
              <a:gd name="connsiteY138" fmla="*/ 659606 h 695341"/>
              <a:gd name="connsiteX139" fmla="*/ 471587 w 798069"/>
              <a:gd name="connsiteY139" fmla="*/ 645318 h 695341"/>
              <a:gd name="connsiteX140" fmla="*/ 447774 w 798069"/>
              <a:gd name="connsiteY140" fmla="*/ 647700 h 695341"/>
              <a:gd name="connsiteX141" fmla="*/ 435868 w 798069"/>
              <a:gd name="connsiteY141" fmla="*/ 659606 h 695341"/>
              <a:gd name="connsiteX142" fmla="*/ 414437 w 798069"/>
              <a:gd name="connsiteY142" fmla="*/ 671512 h 695341"/>
              <a:gd name="connsiteX143" fmla="*/ 407293 w 798069"/>
              <a:gd name="connsiteY143" fmla="*/ 676275 h 695341"/>
              <a:gd name="connsiteX144" fmla="*/ 385862 w 798069"/>
              <a:gd name="connsiteY144" fmla="*/ 671512 h 695341"/>
              <a:gd name="connsiteX145" fmla="*/ 314424 w 798069"/>
              <a:gd name="connsiteY145" fmla="*/ 673893 h 695341"/>
              <a:gd name="connsiteX146" fmla="*/ 300137 w 798069"/>
              <a:gd name="connsiteY146" fmla="*/ 676275 h 695341"/>
              <a:gd name="connsiteX147" fmla="*/ 297755 w 798069"/>
              <a:gd name="connsiteY147" fmla="*/ 666750 h 695341"/>
              <a:gd name="connsiteX148" fmla="*/ 292993 w 798069"/>
              <a:gd name="connsiteY148" fmla="*/ 652462 h 695341"/>
              <a:gd name="connsiteX149" fmla="*/ 288230 w 798069"/>
              <a:gd name="connsiteY149" fmla="*/ 638175 h 695341"/>
              <a:gd name="connsiteX150" fmla="*/ 281087 w 798069"/>
              <a:gd name="connsiteY150" fmla="*/ 633412 h 695341"/>
              <a:gd name="connsiteX151" fmla="*/ 271562 w 798069"/>
              <a:gd name="connsiteY151" fmla="*/ 635793 h 695341"/>
              <a:gd name="connsiteX152" fmla="*/ 269180 w 798069"/>
              <a:gd name="connsiteY152" fmla="*/ 642937 h 695341"/>
              <a:gd name="connsiteX153" fmla="*/ 257274 w 798069"/>
              <a:gd name="connsiteY153" fmla="*/ 657225 h 695341"/>
              <a:gd name="connsiteX154" fmla="*/ 250130 w 798069"/>
              <a:gd name="connsiteY154" fmla="*/ 659606 h 695341"/>
              <a:gd name="connsiteX155" fmla="*/ 238224 w 798069"/>
              <a:gd name="connsiteY155" fmla="*/ 671512 h 695341"/>
              <a:gd name="connsiteX156" fmla="*/ 235843 w 798069"/>
              <a:gd name="connsiteY156" fmla="*/ 678656 h 695341"/>
              <a:gd name="connsiteX157" fmla="*/ 233462 w 798069"/>
              <a:gd name="connsiteY157" fmla="*/ 688181 h 695341"/>
              <a:gd name="connsiteX158" fmla="*/ 226318 w 798069"/>
              <a:gd name="connsiteY158" fmla="*/ 690562 h 695341"/>
              <a:gd name="connsiteX159" fmla="*/ 212030 w 798069"/>
              <a:gd name="connsiteY159" fmla="*/ 688181 h 695341"/>
              <a:gd name="connsiteX160" fmla="*/ 204887 w 798069"/>
              <a:gd name="connsiteY160" fmla="*/ 685800 h 695341"/>
              <a:gd name="connsiteX161" fmla="*/ 173930 w 798069"/>
              <a:gd name="connsiteY161" fmla="*/ 688181 h 695341"/>
              <a:gd name="connsiteX162" fmla="*/ 164405 w 798069"/>
              <a:gd name="connsiteY162" fmla="*/ 685800 h 695341"/>
              <a:gd name="connsiteX163" fmla="*/ 154880 w 798069"/>
              <a:gd name="connsiteY163" fmla="*/ 664368 h 695341"/>
              <a:gd name="connsiteX164" fmla="*/ 140593 w 798069"/>
              <a:gd name="connsiteY164" fmla="*/ 654843 h 695341"/>
              <a:gd name="connsiteX165" fmla="*/ 133449 w 798069"/>
              <a:gd name="connsiteY165" fmla="*/ 657225 h 695341"/>
              <a:gd name="connsiteX166" fmla="*/ 119162 w 798069"/>
              <a:gd name="connsiteY166" fmla="*/ 669131 h 695341"/>
              <a:gd name="connsiteX167" fmla="*/ 112018 w 798069"/>
              <a:gd name="connsiteY167" fmla="*/ 673893 h 695341"/>
              <a:gd name="connsiteX168" fmla="*/ 95349 w 798069"/>
              <a:gd name="connsiteY168" fmla="*/ 671512 h 695341"/>
              <a:gd name="connsiteX169" fmla="*/ 85824 w 798069"/>
              <a:gd name="connsiteY169" fmla="*/ 659606 h 695341"/>
              <a:gd name="connsiteX170" fmla="*/ 78680 w 798069"/>
              <a:gd name="connsiteY170" fmla="*/ 654843 h 695341"/>
              <a:gd name="connsiteX171" fmla="*/ 73918 w 798069"/>
              <a:gd name="connsiteY171" fmla="*/ 661987 h 695341"/>
              <a:gd name="connsiteX172" fmla="*/ 66774 w 798069"/>
              <a:gd name="connsiteY172" fmla="*/ 671512 h 695341"/>
              <a:gd name="connsiteX173" fmla="*/ 64393 w 798069"/>
              <a:gd name="connsiteY173" fmla="*/ 678656 h 695341"/>
              <a:gd name="connsiteX174" fmla="*/ 57249 w 798069"/>
              <a:gd name="connsiteY174" fmla="*/ 683418 h 695341"/>
              <a:gd name="connsiteX175" fmla="*/ 50105 w 798069"/>
              <a:gd name="connsiteY175" fmla="*/ 685800 h 695341"/>
              <a:gd name="connsiteX176" fmla="*/ 28674 w 798069"/>
              <a:gd name="connsiteY176" fmla="*/ 695325 h 695341"/>
              <a:gd name="connsiteX0" fmla="*/ 28674 w 798069"/>
              <a:gd name="connsiteY0" fmla="*/ 695325 h 695341"/>
              <a:gd name="connsiteX1" fmla="*/ 31055 w 798069"/>
              <a:gd name="connsiteY1" fmla="*/ 683418 h 695341"/>
              <a:gd name="connsiteX2" fmla="*/ 23912 w 798069"/>
              <a:gd name="connsiteY2" fmla="*/ 654843 h 695341"/>
              <a:gd name="connsiteX3" fmla="*/ 19149 w 798069"/>
              <a:gd name="connsiteY3" fmla="*/ 647700 h 695341"/>
              <a:gd name="connsiteX4" fmla="*/ 12005 w 798069"/>
              <a:gd name="connsiteY4" fmla="*/ 626268 h 695341"/>
              <a:gd name="connsiteX5" fmla="*/ 9624 w 798069"/>
              <a:gd name="connsiteY5" fmla="*/ 619125 h 695341"/>
              <a:gd name="connsiteX6" fmla="*/ 12005 w 798069"/>
              <a:gd name="connsiteY6" fmla="*/ 533400 h 695341"/>
              <a:gd name="connsiteX7" fmla="*/ 16768 w 798069"/>
              <a:gd name="connsiteY7" fmla="*/ 519112 h 695341"/>
              <a:gd name="connsiteX8" fmla="*/ 21530 w 798069"/>
              <a:gd name="connsiteY8" fmla="*/ 511968 h 695341"/>
              <a:gd name="connsiteX9" fmla="*/ 19149 w 798069"/>
              <a:gd name="connsiteY9" fmla="*/ 492918 h 695341"/>
              <a:gd name="connsiteX10" fmla="*/ 4862 w 798069"/>
              <a:gd name="connsiteY10" fmla="*/ 481012 h 695341"/>
              <a:gd name="connsiteX11" fmla="*/ 99 w 798069"/>
              <a:gd name="connsiteY11" fmla="*/ 473868 h 695341"/>
              <a:gd name="connsiteX12" fmla="*/ 2480 w 798069"/>
              <a:gd name="connsiteY12" fmla="*/ 464343 h 695341"/>
              <a:gd name="connsiteX13" fmla="*/ 23912 w 798069"/>
              <a:gd name="connsiteY13" fmla="*/ 447675 h 695341"/>
              <a:gd name="connsiteX14" fmla="*/ 38199 w 798069"/>
              <a:gd name="connsiteY14" fmla="*/ 433387 h 695341"/>
              <a:gd name="connsiteX15" fmla="*/ 52487 w 798069"/>
              <a:gd name="connsiteY15" fmla="*/ 421481 h 695341"/>
              <a:gd name="connsiteX16" fmla="*/ 57249 w 798069"/>
              <a:gd name="connsiteY16" fmla="*/ 414337 h 695341"/>
              <a:gd name="connsiteX17" fmla="*/ 62012 w 798069"/>
              <a:gd name="connsiteY17" fmla="*/ 388143 h 695341"/>
              <a:gd name="connsiteX18" fmla="*/ 69155 w 798069"/>
              <a:gd name="connsiteY18" fmla="*/ 364331 h 695341"/>
              <a:gd name="connsiteX19" fmla="*/ 73918 w 798069"/>
              <a:gd name="connsiteY19" fmla="*/ 357187 h 695341"/>
              <a:gd name="connsiteX20" fmla="*/ 76299 w 798069"/>
              <a:gd name="connsiteY20" fmla="*/ 350043 h 695341"/>
              <a:gd name="connsiteX21" fmla="*/ 88205 w 798069"/>
              <a:gd name="connsiteY21" fmla="*/ 333375 h 695341"/>
              <a:gd name="connsiteX22" fmla="*/ 100112 w 798069"/>
              <a:gd name="connsiteY22" fmla="*/ 321468 h 695341"/>
              <a:gd name="connsiteX23" fmla="*/ 112018 w 798069"/>
              <a:gd name="connsiteY23" fmla="*/ 307181 h 695341"/>
              <a:gd name="connsiteX24" fmla="*/ 121543 w 798069"/>
              <a:gd name="connsiteY24" fmla="*/ 292893 h 695341"/>
              <a:gd name="connsiteX25" fmla="*/ 133449 w 798069"/>
              <a:gd name="connsiteY25" fmla="*/ 278606 h 695341"/>
              <a:gd name="connsiteX26" fmla="*/ 138212 w 798069"/>
              <a:gd name="connsiteY26" fmla="*/ 269081 h 695341"/>
              <a:gd name="connsiteX27" fmla="*/ 147737 w 798069"/>
              <a:gd name="connsiteY27" fmla="*/ 254793 h 695341"/>
              <a:gd name="connsiteX28" fmla="*/ 159643 w 798069"/>
              <a:gd name="connsiteY28" fmla="*/ 233362 h 695341"/>
              <a:gd name="connsiteX29" fmla="*/ 164405 w 798069"/>
              <a:gd name="connsiteY29" fmla="*/ 223837 h 695341"/>
              <a:gd name="connsiteX30" fmla="*/ 169168 w 798069"/>
              <a:gd name="connsiteY30" fmla="*/ 216693 h 695341"/>
              <a:gd name="connsiteX31" fmla="*/ 176312 w 798069"/>
              <a:gd name="connsiteY31" fmla="*/ 202406 h 695341"/>
              <a:gd name="connsiteX32" fmla="*/ 185837 w 798069"/>
              <a:gd name="connsiteY32" fmla="*/ 188118 h 695341"/>
              <a:gd name="connsiteX33" fmla="*/ 183455 w 798069"/>
              <a:gd name="connsiteY33" fmla="*/ 166687 h 695341"/>
              <a:gd name="connsiteX34" fmla="*/ 173930 w 798069"/>
              <a:gd name="connsiteY34" fmla="*/ 159543 h 695341"/>
              <a:gd name="connsiteX35" fmla="*/ 169168 w 798069"/>
              <a:gd name="connsiteY35" fmla="*/ 152400 h 695341"/>
              <a:gd name="connsiteX36" fmla="*/ 171549 w 798069"/>
              <a:gd name="connsiteY36" fmla="*/ 126206 h 695341"/>
              <a:gd name="connsiteX37" fmla="*/ 176312 w 798069"/>
              <a:gd name="connsiteY37" fmla="*/ 119062 h 695341"/>
              <a:gd name="connsiteX38" fmla="*/ 178693 w 798069"/>
              <a:gd name="connsiteY38" fmla="*/ 111918 h 695341"/>
              <a:gd name="connsiteX39" fmla="*/ 185837 w 798069"/>
              <a:gd name="connsiteY39" fmla="*/ 97631 h 695341"/>
              <a:gd name="connsiteX40" fmla="*/ 183455 w 798069"/>
              <a:gd name="connsiteY40" fmla="*/ 85725 h 695341"/>
              <a:gd name="connsiteX41" fmla="*/ 178693 w 798069"/>
              <a:gd name="connsiteY41" fmla="*/ 78581 h 695341"/>
              <a:gd name="connsiteX42" fmla="*/ 190599 w 798069"/>
              <a:gd name="connsiteY42" fmla="*/ 52387 h 695341"/>
              <a:gd name="connsiteX43" fmla="*/ 197743 w 798069"/>
              <a:gd name="connsiteY43" fmla="*/ 50006 h 695341"/>
              <a:gd name="connsiteX44" fmla="*/ 219174 w 798069"/>
              <a:gd name="connsiteY44" fmla="*/ 30956 h 695341"/>
              <a:gd name="connsiteX45" fmla="*/ 231080 w 798069"/>
              <a:gd name="connsiteY45" fmla="*/ 19050 h 695341"/>
              <a:gd name="connsiteX46" fmla="*/ 235843 w 798069"/>
              <a:gd name="connsiteY46" fmla="*/ 11906 h 695341"/>
              <a:gd name="connsiteX47" fmla="*/ 242987 w 798069"/>
              <a:gd name="connsiteY47" fmla="*/ 14287 h 695341"/>
              <a:gd name="connsiteX48" fmla="*/ 247749 w 798069"/>
              <a:gd name="connsiteY48" fmla="*/ 30956 h 695341"/>
              <a:gd name="connsiteX49" fmla="*/ 250130 w 798069"/>
              <a:gd name="connsiteY49" fmla="*/ 78581 h 695341"/>
              <a:gd name="connsiteX50" fmla="*/ 257275 w 798069"/>
              <a:gd name="connsiteY50" fmla="*/ 78581 h 695341"/>
              <a:gd name="connsiteX51" fmla="*/ 273943 w 798069"/>
              <a:gd name="connsiteY51" fmla="*/ 88105 h 695341"/>
              <a:gd name="connsiteX52" fmla="*/ 281087 w 798069"/>
              <a:gd name="connsiteY52" fmla="*/ 102393 h 695341"/>
              <a:gd name="connsiteX53" fmla="*/ 288230 w 798069"/>
              <a:gd name="connsiteY53" fmla="*/ 104775 h 695341"/>
              <a:gd name="connsiteX54" fmla="*/ 307280 w 798069"/>
              <a:gd name="connsiteY54" fmla="*/ 102393 h 695341"/>
              <a:gd name="connsiteX55" fmla="*/ 319187 w 798069"/>
              <a:gd name="connsiteY55" fmla="*/ 100012 h 695341"/>
              <a:gd name="connsiteX56" fmla="*/ 352524 w 798069"/>
              <a:gd name="connsiteY56" fmla="*/ 102393 h 695341"/>
              <a:gd name="connsiteX57" fmla="*/ 354905 w 798069"/>
              <a:gd name="connsiteY57" fmla="*/ 109537 h 695341"/>
              <a:gd name="connsiteX58" fmla="*/ 359668 w 798069"/>
              <a:gd name="connsiteY58" fmla="*/ 147637 h 695341"/>
              <a:gd name="connsiteX59" fmla="*/ 364430 w 798069"/>
              <a:gd name="connsiteY59" fmla="*/ 157162 h 695341"/>
              <a:gd name="connsiteX60" fmla="*/ 371574 w 798069"/>
              <a:gd name="connsiteY60" fmla="*/ 159543 h 695341"/>
              <a:gd name="connsiteX61" fmla="*/ 414437 w 798069"/>
              <a:gd name="connsiteY61" fmla="*/ 157162 h 695341"/>
              <a:gd name="connsiteX62" fmla="*/ 428724 w 798069"/>
              <a:gd name="connsiteY62" fmla="*/ 150018 h 695341"/>
              <a:gd name="connsiteX63" fmla="*/ 435868 w 798069"/>
              <a:gd name="connsiteY63" fmla="*/ 128587 h 695341"/>
              <a:gd name="connsiteX64" fmla="*/ 440630 w 798069"/>
              <a:gd name="connsiteY64" fmla="*/ 119062 h 695341"/>
              <a:gd name="connsiteX65" fmla="*/ 450155 w 798069"/>
              <a:gd name="connsiteY65" fmla="*/ 121443 h 695341"/>
              <a:gd name="connsiteX66" fmla="*/ 464443 w 798069"/>
              <a:gd name="connsiteY66" fmla="*/ 114300 h 695341"/>
              <a:gd name="connsiteX67" fmla="*/ 478730 w 798069"/>
              <a:gd name="connsiteY67" fmla="*/ 107156 h 695341"/>
              <a:gd name="connsiteX68" fmla="*/ 490637 w 798069"/>
              <a:gd name="connsiteY68" fmla="*/ 95250 h 695341"/>
              <a:gd name="connsiteX69" fmla="*/ 493018 w 798069"/>
              <a:gd name="connsiteY69" fmla="*/ 78581 h 695341"/>
              <a:gd name="connsiteX70" fmla="*/ 495399 w 798069"/>
              <a:gd name="connsiteY70" fmla="*/ 71437 h 695341"/>
              <a:gd name="connsiteX71" fmla="*/ 502543 w 798069"/>
              <a:gd name="connsiteY71" fmla="*/ 45243 h 695341"/>
              <a:gd name="connsiteX72" fmla="*/ 512068 w 798069"/>
              <a:gd name="connsiteY72" fmla="*/ 0 h 695341"/>
              <a:gd name="connsiteX73" fmla="*/ 523974 w 798069"/>
              <a:gd name="connsiteY73" fmla="*/ 9525 h 695341"/>
              <a:gd name="connsiteX74" fmla="*/ 531118 w 798069"/>
              <a:gd name="connsiteY74" fmla="*/ 16668 h 695341"/>
              <a:gd name="connsiteX75" fmla="*/ 540643 w 798069"/>
              <a:gd name="connsiteY75" fmla="*/ 30956 h 695341"/>
              <a:gd name="connsiteX76" fmla="*/ 550168 w 798069"/>
              <a:gd name="connsiteY76" fmla="*/ 45243 h 695341"/>
              <a:gd name="connsiteX77" fmla="*/ 562074 w 798069"/>
              <a:gd name="connsiteY77" fmla="*/ 59531 h 695341"/>
              <a:gd name="connsiteX78" fmla="*/ 590649 w 798069"/>
              <a:gd name="connsiteY78" fmla="*/ 66675 h 695341"/>
              <a:gd name="connsiteX79" fmla="*/ 604937 w 798069"/>
              <a:gd name="connsiteY79" fmla="*/ 73818 h 695341"/>
              <a:gd name="connsiteX80" fmla="*/ 609699 w 798069"/>
              <a:gd name="connsiteY80" fmla="*/ 80962 h 695341"/>
              <a:gd name="connsiteX81" fmla="*/ 616843 w 798069"/>
              <a:gd name="connsiteY81" fmla="*/ 88106 h 695341"/>
              <a:gd name="connsiteX82" fmla="*/ 628749 w 798069"/>
              <a:gd name="connsiteY82" fmla="*/ 100012 h 695341"/>
              <a:gd name="connsiteX83" fmla="*/ 638274 w 798069"/>
              <a:gd name="connsiteY83" fmla="*/ 114300 h 695341"/>
              <a:gd name="connsiteX84" fmla="*/ 645418 w 798069"/>
              <a:gd name="connsiteY84" fmla="*/ 119062 h 695341"/>
              <a:gd name="connsiteX85" fmla="*/ 688280 w 798069"/>
              <a:gd name="connsiteY85" fmla="*/ 123825 h 695341"/>
              <a:gd name="connsiteX86" fmla="*/ 709712 w 798069"/>
              <a:gd name="connsiteY86" fmla="*/ 142875 h 695341"/>
              <a:gd name="connsiteX87" fmla="*/ 726380 w 798069"/>
              <a:gd name="connsiteY87" fmla="*/ 147637 h 695341"/>
              <a:gd name="connsiteX88" fmla="*/ 740668 w 798069"/>
              <a:gd name="connsiteY88" fmla="*/ 152400 h 695341"/>
              <a:gd name="connsiteX89" fmla="*/ 754955 w 798069"/>
              <a:gd name="connsiteY89" fmla="*/ 159543 h 695341"/>
              <a:gd name="connsiteX90" fmla="*/ 766862 w 798069"/>
              <a:gd name="connsiteY90" fmla="*/ 183356 h 695341"/>
              <a:gd name="connsiteX91" fmla="*/ 769243 w 798069"/>
              <a:gd name="connsiteY91" fmla="*/ 211931 h 695341"/>
              <a:gd name="connsiteX92" fmla="*/ 771624 w 798069"/>
              <a:gd name="connsiteY92" fmla="*/ 219075 h 695341"/>
              <a:gd name="connsiteX93" fmla="*/ 774005 w 798069"/>
              <a:gd name="connsiteY93" fmla="*/ 309562 h 695341"/>
              <a:gd name="connsiteX94" fmla="*/ 776387 w 798069"/>
              <a:gd name="connsiteY94" fmla="*/ 316706 h 695341"/>
              <a:gd name="connsiteX95" fmla="*/ 790674 w 798069"/>
              <a:gd name="connsiteY95" fmla="*/ 326231 h 695341"/>
              <a:gd name="connsiteX96" fmla="*/ 795437 w 798069"/>
              <a:gd name="connsiteY96" fmla="*/ 333375 h 695341"/>
              <a:gd name="connsiteX97" fmla="*/ 795437 w 798069"/>
              <a:gd name="connsiteY97" fmla="*/ 357187 h 695341"/>
              <a:gd name="connsiteX98" fmla="*/ 790674 w 798069"/>
              <a:gd name="connsiteY98" fmla="*/ 364331 h 695341"/>
              <a:gd name="connsiteX99" fmla="*/ 776387 w 798069"/>
              <a:gd name="connsiteY99" fmla="*/ 373856 h 695341"/>
              <a:gd name="connsiteX100" fmla="*/ 735906 w 798069"/>
              <a:gd name="connsiteY100" fmla="*/ 378619 h 695341"/>
              <a:gd name="connsiteX101" fmla="*/ 733524 w 798069"/>
              <a:gd name="connsiteY101" fmla="*/ 376237 h 695341"/>
              <a:gd name="connsiteX102" fmla="*/ 716855 w 798069"/>
              <a:gd name="connsiteY102" fmla="*/ 364331 h 695341"/>
              <a:gd name="connsiteX103" fmla="*/ 714474 w 798069"/>
              <a:gd name="connsiteY103" fmla="*/ 369093 h 695341"/>
              <a:gd name="connsiteX104" fmla="*/ 697805 w 798069"/>
              <a:gd name="connsiteY104" fmla="*/ 378618 h 695341"/>
              <a:gd name="connsiteX105" fmla="*/ 690662 w 798069"/>
              <a:gd name="connsiteY105" fmla="*/ 392906 h 695341"/>
              <a:gd name="connsiteX106" fmla="*/ 697805 w 798069"/>
              <a:gd name="connsiteY106" fmla="*/ 395287 h 695341"/>
              <a:gd name="connsiteX107" fmla="*/ 709712 w 798069"/>
              <a:gd name="connsiteY107" fmla="*/ 397668 h 695341"/>
              <a:gd name="connsiteX108" fmla="*/ 716855 w 798069"/>
              <a:gd name="connsiteY108" fmla="*/ 404812 h 695341"/>
              <a:gd name="connsiteX109" fmla="*/ 728762 w 798069"/>
              <a:gd name="connsiteY109" fmla="*/ 423862 h 695341"/>
              <a:gd name="connsiteX110" fmla="*/ 745430 w 798069"/>
              <a:gd name="connsiteY110" fmla="*/ 426243 h 695341"/>
              <a:gd name="connsiteX111" fmla="*/ 750193 w 798069"/>
              <a:gd name="connsiteY111" fmla="*/ 433387 h 695341"/>
              <a:gd name="connsiteX112" fmla="*/ 747812 w 798069"/>
              <a:gd name="connsiteY112" fmla="*/ 454818 h 695341"/>
              <a:gd name="connsiteX113" fmla="*/ 745430 w 798069"/>
              <a:gd name="connsiteY113" fmla="*/ 464343 h 695341"/>
              <a:gd name="connsiteX114" fmla="*/ 735905 w 798069"/>
              <a:gd name="connsiteY114" fmla="*/ 485775 h 695341"/>
              <a:gd name="connsiteX115" fmla="*/ 728762 w 798069"/>
              <a:gd name="connsiteY115" fmla="*/ 488156 h 695341"/>
              <a:gd name="connsiteX116" fmla="*/ 721618 w 798069"/>
              <a:gd name="connsiteY116" fmla="*/ 492918 h 695341"/>
              <a:gd name="connsiteX117" fmla="*/ 716855 w 798069"/>
              <a:gd name="connsiteY117" fmla="*/ 509587 h 695341"/>
              <a:gd name="connsiteX118" fmla="*/ 712093 w 798069"/>
              <a:gd name="connsiteY118" fmla="*/ 516731 h 695341"/>
              <a:gd name="connsiteX119" fmla="*/ 704949 w 798069"/>
              <a:gd name="connsiteY119" fmla="*/ 519112 h 695341"/>
              <a:gd name="connsiteX120" fmla="*/ 697805 w 798069"/>
              <a:gd name="connsiteY120" fmla="*/ 523875 h 695341"/>
              <a:gd name="connsiteX121" fmla="*/ 669230 w 798069"/>
              <a:gd name="connsiteY121" fmla="*/ 528637 h 695341"/>
              <a:gd name="connsiteX122" fmla="*/ 662087 w 798069"/>
              <a:gd name="connsiteY122" fmla="*/ 535781 h 695341"/>
              <a:gd name="connsiteX123" fmla="*/ 650180 w 798069"/>
              <a:gd name="connsiteY123" fmla="*/ 547687 h 695341"/>
              <a:gd name="connsiteX124" fmla="*/ 635893 w 798069"/>
              <a:gd name="connsiteY124" fmla="*/ 550068 h 695341"/>
              <a:gd name="connsiteX125" fmla="*/ 614462 w 798069"/>
              <a:gd name="connsiteY125" fmla="*/ 561975 h 695341"/>
              <a:gd name="connsiteX126" fmla="*/ 607318 w 798069"/>
              <a:gd name="connsiteY126" fmla="*/ 564356 h 695341"/>
              <a:gd name="connsiteX127" fmla="*/ 593030 w 798069"/>
              <a:gd name="connsiteY127" fmla="*/ 573881 h 695341"/>
              <a:gd name="connsiteX128" fmla="*/ 562074 w 798069"/>
              <a:gd name="connsiteY128" fmla="*/ 576262 h 695341"/>
              <a:gd name="connsiteX129" fmla="*/ 540643 w 798069"/>
              <a:gd name="connsiteY129" fmla="*/ 590550 h 695341"/>
              <a:gd name="connsiteX130" fmla="*/ 533499 w 798069"/>
              <a:gd name="connsiteY130" fmla="*/ 595312 h 695341"/>
              <a:gd name="connsiteX131" fmla="*/ 526355 w 798069"/>
              <a:gd name="connsiteY131" fmla="*/ 597693 h 695341"/>
              <a:gd name="connsiteX132" fmla="*/ 514449 w 798069"/>
              <a:gd name="connsiteY132" fmla="*/ 611981 h 695341"/>
              <a:gd name="connsiteX133" fmla="*/ 512068 w 798069"/>
              <a:gd name="connsiteY133" fmla="*/ 619125 h 695341"/>
              <a:gd name="connsiteX134" fmla="*/ 507305 w 798069"/>
              <a:gd name="connsiteY134" fmla="*/ 640556 h 695341"/>
              <a:gd name="connsiteX135" fmla="*/ 502543 w 798069"/>
              <a:gd name="connsiteY135" fmla="*/ 654843 h 695341"/>
              <a:gd name="connsiteX136" fmla="*/ 500162 w 798069"/>
              <a:gd name="connsiteY136" fmla="*/ 661987 h 695341"/>
              <a:gd name="connsiteX137" fmla="*/ 493018 w 798069"/>
              <a:gd name="connsiteY137" fmla="*/ 664368 h 695341"/>
              <a:gd name="connsiteX138" fmla="*/ 485874 w 798069"/>
              <a:gd name="connsiteY138" fmla="*/ 659606 h 695341"/>
              <a:gd name="connsiteX139" fmla="*/ 471587 w 798069"/>
              <a:gd name="connsiteY139" fmla="*/ 645318 h 695341"/>
              <a:gd name="connsiteX140" fmla="*/ 447774 w 798069"/>
              <a:gd name="connsiteY140" fmla="*/ 647700 h 695341"/>
              <a:gd name="connsiteX141" fmla="*/ 435868 w 798069"/>
              <a:gd name="connsiteY141" fmla="*/ 659606 h 695341"/>
              <a:gd name="connsiteX142" fmla="*/ 414437 w 798069"/>
              <a:gd name="connsiteY142" fmla="*/ 671512 h 695341"/>
              <a:gd name="connsiteX143" fmla="*/ 407293 w 798069"/>
              <a:gd name="connsiteY143" fmla="*/ 676275 h 695341"/>
              <a:gd name="connsiteX144" fmla="*/ 385862 w 798069"/>
              <a:gd name="connsiteY144" fmla="*/ 671512 h 695341"/>
              <a:gd name="connsiteX145" fmla="*/ 314424 w 798069"/>
              <a:gd name="connsiteY145" fmla="*/ 673893 h 695341"/>
              <a:gd name="connsiteX146" fmla="*/ 300137 w 798069"/>
              <a:gd name="connsiteY146" fmla="*/ 676275 h 695341"/>
              <a:gd name="connsiteX147" fmla="*/ 297755 w 798069"/>
              <a:gd name="connsiteY147" fmla="*/ 666750 h 695341"/>
              <a:gd name="connsiteX148" fmla="*/ 292993 w 798069"/>
              <a:gd name="connsiteY148" fmla="*/ 652462 h 695341"/>
              <a:gd name="connsiteX149" fmla="*/ 288230 w 798069"/>
              <a:gd name="connsiteY149" fmla="*/ 638175 h 695341"/>
              <a:gd name="connsiteX150" fmla="*/ 281087 w 798069"/>
              <a:gd name="connsiteY150" fmla="*/ 633412 h 695341"/>
              <a:gd name="connsiteX151" fmla="*/ 271562 w 798069"/>
              <a:gd name="connsiteY151" fmla="*/ 635793 h 695341"/>
              <a:gd name="connsiteX152" fmla="*/ 269180 w 798069"/>
              <a:gd name="connsiteY152" fmla="*/ 642937 h 695341"/>
              <a:gd name="connsiteX153" fmla="*/ 257274 w 798069"/>
              <a:gd name="connsiteY153" fmla="*/ 657225 h 695341"/>
              <a:gd name="connsiteX154" fmla="*/ 250130 w 798069"/>
              <a:gd name="connsiteY154" fmla="*/ 659606 h 695341"/>
              <a:gd name="connsiteX155" fmla="*/ 238224 w 798069"/>
              <a:gd name="connsiteY155" fmla="*/ 671512 h 695341"/>
              <a:gd name="connsiteX156" fmla="*/ 235843 w 798069"/>
              <a:gd name="connsiteY156" fmla="*/ 678656 h 695341"/>
              <a:gd name="connsiteX157" fmla="*/ 233462 w 798069"/>
              <a:gd name="connsiteY157" fmla="*/ 688181 h 695341"/>
              <a:gd name="connsiteX158" fmla="*/ 226318 w 798069"/>
              <a:gd name="connsiteY158" fmla="*/ 690562 h 695341"/>
              <a:gd name="connsiteX159" fmla="*/ 212030 w 798069"/>
              <a:gd name="connsiteY159" fmla="*/ 688181 h 695341"/>
              <a:gd name="connsiteX160" fmla="*/ 204887 w 798069"/>
              <a:gd name="connsiteY160" fmla="*/ 685800 h 695341"/>
              <a:gd name="connsiteX161" fmla="*/ 173930 w 798069"/>
              <a:gd name="connsiteY161" fmla="*/ 688181 h 695341"/>
              <a:gd name="connsiteX162" fmla="*/ 164405 w 798069"/>
              <a:gd name="connsiteY162" fmla="*/ 685800 h 695341"/>
              <a:gd name="connsiteX163" fmla="*/ 154880 w 798069"/>
              <a:gd name="connsiteY163" fmla="*/ 664368 h 695341"/>
              <a:gd name="connsiteX164" fmla="*/ 140593 w 798069"/>
              <a:gd name="connsiteY164" fmla="*/ 654843 h 695341"/>
              <a:gd name="connsiteX165" fmla="*/ 133449 w 798069"/>
              <a:gd name="connsiteY165" fmla="*/ 657225 h 695341"/>
              <a:gd name="connsiteX166" fmla="*/ 119162 w 798069"/>
              <a:gd name="connsiteY166" fmla="*/ 669131 h 695341"/>
              <a:gd name="connsiteX167" fmla="*/ 112018 w 798069"/>
              <a:gd name="connsiteY167" fmla="*/ 673893 h 695341"/>
              <a:gd name="connsiteX168" fmla="*/ 95349 w 798069"/>
              <a:gd name="connsiteY168" fmla="*/ 671512 h 695341"/>
              <a:gd name="connsiteX169" fmla="*/ 85824 w 798069"/>
              <a:gd name="connsiteY169" fmla="*/ 659606 h 695341"/>
              <a:gd name="connsiteX170" fmla="*/ 78680 w 798069"/>
              <a:gd name="connsiteY170" fmla="*/ 654843 h 695341"/>
              <a:gd name="connsiteX171" fmla="*/ 73918 w 798069"/>
              <a:gd name="connsiteY171" fmla="*/ 661987 h 695341"/>
              <a:gd name="connsiteX172" fmla="*/ 66774 w 798069"/>
              <a:gd name="connsiteY172" fmla="*/ 671512 h 695341"/>
              <a:gd name="connsiteX173" fmla="*/ 64393 w 798069"/>
              <a:gd name="connsiteY173" fmla="*/ 678656 h 695341"/>
              <a:gd name="connsiteX174" fmla="*/ 57249 w 798069"/>
              <a:gd name="connsiteY174" fmla="*/ 683418 h 695341"/>
              <a:gd name="connsiteX175" fmla="*/ 50105 w 798069"/>
              <a:gd name="connsiteY175" fmla="*/ 685800 h 695341"/>
              <a:gd name="connsiteX176" fmla="*/ 28674 w 798069"/>
              <a:gd name="connsiteY176" fmla="*/ 695325 h 695341"/>
              <a:gd name="connsiteX0" fmla="*/ 28674 w 798069"/>
              <a:gd name="connsiteY0" fmla="*/ 695325 h 695341"/>
              <a:gd name="connsiteX1" fmla="*/ 31055 w 798069"/>
              <a:gd name="connsiteY1" fmla="*/ 683418 h 695341"/>
              <a:gd name="connsiteX2" fmla="*/ 23912 w 798069"/>
              <a:gd name="connsiteY2" fmla="*/ 654843 h 695341"/>
              <a:gd name="connsiteX3" fmla="*/ 19149 w 798069"/>
              <a:gd name="connsiteY3" fmla="*/ 647700 h 695341"/>
              <a:gd name="connsiteX4" fmla="*/ 12005 w 798069"/>
              <a:gd name="connsiteY4" fmla="*/ 626268 h 695341"/>
              <a:gd name="connsiteX5" fmla="*/ 9624 w 798069"/>
              <a:gd name="connsiteY5" fmla="*/ 619125 h 695341"/>
              <a:gd name="connsiteX6" fmla="*/ 12005 w 798069"/>
              <a:gd name="connsiteY6" fmla="*/ 533400 h 695341"/>
              <a:gd name="connsiteX7" fmla="*/ 16768 w 798069"/>
              <a:gd name="connsiteY7" fmla="*/ 519112 h 695341"/>
              <a:gd name="connsiteX8" fmla="*/ 21530 w 798069"/>
              <a:gd name="connsiteY8" fmla="*/ 511968 h 695341"/>
              <a:gd name="connsiteX9" fmla="*/ 19149 w 798069"/>
              <a:gd name="connsiteY9" fmla="*/ 492918 h 695341"/>
              <a:gd name="connsiteX10" fmla="*/ 4862 w 798069"/>
              <a:gd name="connsiteY10" fmla="*/ 481012 h 695341"/>
              <a:gd name="connsiteX11" fmla="*/ 99 w 798069"/>
              <a:gd name="connsiteY11" fmla="*/ 473868 h 695341"/>
              <a:gd name="connsiteX12" fmla="*/ 2480 w 798069"/>
              <a:gd name="connsiteY12" fmla="*/ 464343 h 695341"/>
              <a:gd name="connsiteX13" fmla="*/ 23912 w 798069"/>
              <a:gd name="connsiteY13" fmla="*/ 447675 h 695341"/>
              <a:gd name="connsiteX14" fmla="*/ 38199 w 798069"/>
              <a:gd name="connsiteY14" fmla="*/ 433387 h 695341"/>
              <a:gd name="connsiteX15" fmla="*/ 52487 w 798069"/>
              <a:gd name="connsiteY15" fmla="*/ 421481 h 695341"/>
              <a:gd name="connsiteX16" fmla="*/ 57249 w 798069"/>
              <a:gd name="connsiteY16" fmla="*/ 414337 h 695341"/>
              <a:gd name="connsiteX17" fmla="*/ 62012 w 798069"/>
              <a:gd name="connsiteY17" fmla="*/ 388143 h 695341"/>
              <a:gd name="connsiteX18" fmla="*/ 69155 w 798069"/>
              <a:gd name="connsiteY18" fmla="*/ 364331 h 695341"/>
              <a:gd name="connsiteX19" fmla="*/ 73918 w 798069"/>
              <a:gd name="connsiteY19" fmla="*/ 357187 h 695341"/>
              <a:gd name="connsiteX20" fmla="*/ 76299 w 798069"/>
              <a:gd name="connsiteY20" fmla="*/ 350043 h 695341"/>
              <a:gd name="connsiteX21" fmla="*/ 88205 w 798069"/>
              <a:gd name="connsiteY21" fmla="*/ 333375 h 695341"/>
              <a:gd name="connsiteX22" fmla="*/ 100112 w 798069"/>
              <a:gd name="connsiteY22" fmla="*/ 321468 h 695341"/>
              <a:gd name="connsiteX23" fmla="*/ 112018 w 798069"/>
              <a:gd name="connsiteY23" fmla="*/ 307181 h 695341"/>
              <a:gd name="connsiteX24" fmla="*/ 121543 w 798069"/>
              <a:gd name="connsiteY24" fmla="*/ 292893 h 695341"/>
              <a:gd name="connsiteX25" fmla="*/ 133449 w 798069"/>
              <a:gd name="connsiteY25" fmla="*/ 278606 h 695341"/>
              <a:gd name="connsiteX26" fmla="*/ 138212 w 798069"/>
              <a:gd name="connsiteY26" fmla="*/ 269081 h 695341"/>
              <a:gd name="connsiteX27" fmla="*/ 147737 w 798069"/>
              <a:gd name="connsiteY27" fmla="*/ 254793 h 695341"/>
              <a:gd name="connsiteX28" fmla="*/ 159643 w 798069"/>
              <a:gd name="connsiteY28" fmla="*/ 233362 h 695341"/>
              <a:gd name="connsiteX29" fmla="*/ 164405 w 798069"/>
              <a:gd name="connsiteY29" fmla="*/ 223837 h 695341"/>
              <a:gd name="connsiteX30" fmla="*/ 169168 w 798069"/>
              <a:gd name="connsiteY30" fmla="*/ 216693 h 695341"/>
              <a:gd name="connsiteX31" fmla="*/ 176312 w 798069"/>
              <a:gd name="connsiteY31" fmla="*/ 202406 h 695341"/>
              <a:gd name="connsiteX32" fmla="*/ 185837 w 798069"/>
              <a:gd name="connsiteY32" fmla="*/ 188118 h 695341"/>
              <a:gd name="connsiteX33" fmla="*/ 183455 w 798069"/>
              <a:gd name="connsiteY33" fmla="*/ 166687 h 695341"/>
              <a:gd name="connsiteX34" fmla="*/ 173930 w 798069"/>
              <a:gd name="connsiteY34" fmla="*/ 159543 h 695341"/>
              <a:gd name="connsiteX35" fmla="*/ 169168 w 798069"/>
              <a:gd name="connsiteY35" fmla="*/ 152400 h 695341"/>
              <a:gd name="connsiteX36" fmla="*/ 171549 w 798069"/>
              <a:gd name="connsiteY36" fmla="*/ 126206 h 695341"/>
              <a:gd name="connsiteX37" fmla="*/ 176312 w 798069"/>
              <a:gd name="connsiteY37" fmla="*/ 119062 h 695341"/>
              <a:gd name="connsiteX38" fmla="*/ 178693 w 798069"/>
              <a:gd name="connsiteY38" fmla="*/ 111918 h 695341"/>
              <a:gd name="connsiteX39" fmla="*/ 185837 w 798069"/>
              <a:gd name="connsiteY39" fmla="*/ 97631 h 695341"/>
              <a:gd name="connsiteX40" fmla="*/ 183455 w 798069"/>
              <a:gd name="connsiteY40" fmla="*/ 85725 h 695341"/>
              <a:gd name="connsiteX41" fmla="*/ 178693 w 798069"/>
              <a:gd name="connsiteY41" fmla="*/ 78581 h 695341"/>
              <a:gd name="connsiteX42" fmla="*/ 190599 w 798069"/>
              <a:gd name="connsiteY42" fmla="*/ 52387 h 695341"/>
              <a:gd name="connsiteX43" fmla="*/ 197743 w 798069"/>
              <a:gd name="connsiteY43" fmla="*/ 50006 h 695341"/>
              <a:gd name="connsiteX44" fmla="*/ 219174 w 798069"/>
              <a:gd name="connsiteY44" fmla="*/ 30956 h 695341"/>
              <a:gd name="connsiteX45" fmla="*/ 231080 w 798069"/>
              <a:gd name="connsiteY45" fmla="*/ 19050 h 695341"/>
              <a:gd name="connsiteX46" fmla="*/ 235843 w 798069"/>
              <a:gd name="connsiteY46" fmla="*/ 11906 h 695341"/>
              <a:gd name="connsiteX47" fmla="*/ 242987 w 798069"/>
              <a:gd name="connsiteY47" fmla="*/ 14287 h 695341"/>
              <a:gd name="connsiteX48" fmla="*/ 247749 w 798069"/>
              <a:gd name="connsiteY48" fmla="*/ 30956 h 695341"/>
              <a:gd name="connsiteX49" fmla="*/ 250130 w 798069"/>
              <a:gd name="connsiteY49" fmla="*/ 78581 h 695341"/>
              <a:gd name="connsiteX50" fmla="*/ 257275 w 798069"/>
              <a:gd name="connsiteY50" fmla="*/ 78581 h 695341"/>
              <a:gd name="connsiteX51" fmla="*/ 273943 w 798069"/>
              <a:gd name="connsiteY51" fmla="*/ 88105 h 695341"/>
              <a:gd name="connsiteX52" fmla="*/ 281087 w 798069"/>
              <a:gd name="connsiteY52" fmla="*/ 102393 h 695341"/>
              <a:gd name="connsiteX53" fmla="*/ 288230 w 798069"/>
              <a:gd name="connsiteY53" fmla="*/ 104775 h 695341"/>
              <a:gd name="connsiteX54" fmla="*/ 307280 w 798069"/>
              <a:gd name="connsiteY54" fmla="*/ 102393 h 695341"/>
              <a:gd name="connsiteX55" fmla="*/ 319187 w 798069"/>
              <a:gd name="connsiteY55" fmla="*/ 100012 h 695341"/>
              <a:gd name="connsiteX56" fmla="*/ 326330 w 798069"/>
              <a:gd name="connsiteY56" fmla="*/ 95250 h 695341"/>
              <a:gd name="connsiteX57" fmla="*/ 352524 w 798069"/>
              <a:gd name="connsiteY57" fmla="*/ 102393 h 695341"/>
              <a:gd name="connsiteX58" fmla="*/ 354905 w 798069"/>
              <a:gd name="connsiteY58" fmla="*/ 109537 h 695341"/>
              <a:gd name="connsiteX59" fmla="*/ 359668 w 798069"/>
              <a:gd name="connsiteY59" fmla="*/ 147637 h 695341"/>
              <a:gd name="connsiteX60" fmla="*/ 364430 w 798069"/>
              <a:gd name="connsiteY60" fmla="*/ 157162 h 695341"/>
              <a:gd name="connsiteX61" fmla="*/ 371574 w 798069"/>
              <a:gd name="connsiteY61" fmla="*/ 159543 h 695341"/>
              <a:gd name="connsiteX62" fmla="*/ 414437 w 798069"/>
              <a:gd name="connsiteY62" fmla="*/ 157162 h 695341"/>
              <a:gd name="connsiteX63" fmla="*/ 428724 w 798069"/>
              <a:gd name="connsiteY63" fmla="*/ 150018 h 695341"/>
              <a:gd name="connsiteX64" fmla="*/ 435868 w 798069"/>
              <a:gd name="connsiteY64" fmla="*/ 128587 h 695341"/>
              <a:gd name="connsiteX65" fmla="*/ 440630 w 798069"/>
              <a:gd name="connsiteY65" fmla="*/ 119062 h 695341"/>
              <a:gd name="connsiteX66" fmla="*/ 450155 w 798069"/>
              <a:gd name="connsiteY66" fmla="*/ 121443 h 695341"/>
              <a:gd name="connsiteX67" fmla="*/ 464443 w 798069"/>
              <a:gd name="connsiteY67" fmla="*/ 114300 h 695341"/>
              <a:gd name="connsiteX68" fmla="*/ 478730 w 798069"/>
              <a:gd name="connsiteY68" fmla="*/ 107156 h 695341"/>
              <a:gd name="connsiteX69" fmla="*/ 490637 w 798069"/>
              <a:gd name="connsiteY69" fmla="*/ 95250 h 695341"/>
              <a:gd name="connsiteX70" fmla="*/ 493018 w 798069"/>
              <a:gd name="connsiteY70" fmla="*/ 78581 h 695341"/>
              <a:gd name="connsiteX71" fmla="*/ 495399 w 798069"/>
              <a:gd name="connsiteY71" fmla="*/ 71437 h 695341"/>
              <a:gd name="connsiteX72" fmla="*/ 502543 w 798069"/>
              <a:gd name="connsiteY72" fmla="*/ 45243 h 695341"/>
              <a:gd name="connsiteX73" fmla="*/ 512068 w 798069"/>
              <a:gd name="connsiteY73" fmla="*/ 0 h 695341"/>
              <a:gd name="connsiteX74" fmla="*/ 523974 w 798069"/>
              <a:gd name="connsiteY74" fmla="*/ 9525 h 695341"/>
              <a:gd name="connsiteX75" fmla="*/ 531118 w 798069"/>
              <a:gd name="connsiteY75" fmla="*/ 16668 h 695341"/>
              <a:gd name="connsiteX76" fmla="*/ 540643 w 798069"/>
              <a:gd name="connsiteY76" fmla="*/ 30956 h 695341"/>
              <a:gd name="connsiteX77" fmla="*/ 550168 w 798069"/>
              <a:gd name="connsiteY77" fmla="*/ 45243 h 695341"/>
              <a:gd name="connsiteX78" fmla="*/ 562074 w 798069"/>
              <a:gd name="connsiteY78" fmla="*/ 59531 h 695341"/>
              <a:gd name="connsiteX79" fmla="*/ 590649 w 798069"/>
              <a:gd name="connsiteY79" fmla="*/ 66675 h 695341"/>
              <a:gd name="connsiteX80" fmla="*/ 604937 w 798069"/>
              <a:gd name="connsiteY80" fmla="*/ 73818 h 695341"/>
              <a:gd name="connsiteX81" fmla="*/ 609699 w 798069"/>
              <a:gd name="connsiteY81" fmla="*/ 80962 h 695341"/>
              <a:gd name="connsiteX82" fmla="*/ 616843 w 798069"/>
              <a:gd name="connsiteY82" fmla="*/ 88106 h 695341"/>
              <a:gd name="connsiteX83" fmla="*/ 628749 w 798069"/>
              <a:gd name="connsiteY83" fmla="*/ 100012 h 695341"/>
              <a:gd name="connsiteX84" fmla="*/ 638274 w 798069"/>
              <a:gd name="connsiteY84" fmla="*/ 114300 h 695341"/>
              <a:gd name="connsiteX85" fmla="*/ 645418 w 798069"/>
              <a:gd name="connsiteY85" fmla="*/ 119062 h 695341"/>
              <a:gd name="connsiteX86" fmla="*/ 688280 w 798069"/>
              <a:gd name="connsiteY86" fmla="*/ 123825 h 695341"/>
              <a:gd name="connsiteX87" fmla="*/ 709712 w 798069"/>
              <a:gd name="connsiteY87" fmla="*/ 142875 h 695341"/>
              <a:gd name="connsiteX88" fmla="*/ 726380 w 798069"/>
              <a:gd name="connsiteY88" fmla="*/ 147637 h 695341"/>
              <a:gd name="connsiteX89" fmla="*/ 740668 w 798069"/>
              <a:gd name="connsiteY89" fmla="*/ 152400 h 695341"/>
              <a:gd name="connsiteX90" fmla="*/ 754955 w 798069"/>
              <a:gd name="connsiteY90" fmla="*/ 159543 h 695341"/>
              <a:gd name="connsiteX91" fmla="*/ 766862 w 798069"/>
              <a:gd name="connsiteY91" fmla="*/ 183356 h 695341"/>
              <a:gd name="connsiteX92" fmla="*/ 769243 w 798069"/>
              <a:gd name="connsiteY92" fmla="*/ 211931 h 695341"/>
              <a:gd name="connsiteX93" fmla="*/ 771624 w 798069"/>
              <a:gd name="connsiteY93" fmla="*/ 219075 h 695341"/>
              <a:gd name="connsiteX94" fmla="*/ 774005 w 798069"/>
              <a:gd name="connsiteY94" fmla="*/ 309562 h 695341"/>
              <a:gd name="connsiteX95" fmla="*/ 776387 w 798069"/>
              <a:gd name="connsiteY95" fmla="*/ 316706 h 695341"/>
              <a:gd name="connsiteX96" fmla="*/ 790674 w 798069"/>
              <a:gd name="connsiteY96" fmla="*/ 326231 h 695341"/>
              <a:gd name="connsiteX97" fmla="*/ 795437 w 798069"/>
              <a:gd name="connsiteY97" fmla="*/ 333375 h 695341"/>
              <a:gd name="connsiteX98" fmla="*/ 795437 w 798069"/>
              <a:gd name="connsiteY98" fmla="*/ 357187 h 695341"/>
              <a:gd name="connsiteX99" fmla="*/ 790674 w 798069"/>
              <a:gd name="connsiteY99" fmla="*/ 364331 h 695341"/>
              <a:gd name="connsiteX100" fmla="*/ 776387 w 798069"/>
              <a:gd name="connsiteY100" fmla="*/ 373856 h 695341"/>
              <a:gd name="connsiteX101" fmla="*/ 735906 w 798069"/>
              <a:gd name="connsiteY101" fmla="*/ 378619 h 695341"/>
              <a:gd name="connsiteX102" fmla="*/ 733524 w 798069"/>
              <a:gd name="connsiteY102" fmla="*/ 376237 h 695341"/>
              <a:gd name="connsiteX103" fmla="*/ 716855 w 798069"/>
              <a:gd name="connsiteY103" fmla="*/ 364331 h 695341"/>
              <a:gd name="connsiteX104" fmla="*/ 714474 w 798069"/>
              <a:gd name="connsiteY104" fmla="*/ 369093 h 695341"/>
              <a:gd name="connsiteX105" fmla="*/ 697805 w 798069"/>
              <a:gd name="connsiteY105" fmla="*/ 378618 h 695341"/>
              <a:gd name="connsiteX106" fmla="*/ 690662 w 798069"/>
              <a:gd name="connsiteY106" fmla="*/ 392906 h 695341"/>
              <a:gd name="connsiteX107" fmla="*/ 697805 w 798069"/>
              <a:gd name="connsiteY107" fmla="*/ 395287 h 695341"/>
              <a:gd name="connsiteX108" fmla="*/ 709712 w 798069"/>
              <a:gd name="connsiteY108" fmla="*/ 397668 h 695341"/>
              <a:gd name="connsiteX109" fmla="*/ 716855 w 798069"/>
              <a:gd name="connsiteY109" fmla="*/ 404812 h 695341"/>
              <a:gd name="connsiteX110" fmla="*/ 728762 w 798069"/>
              <a:gd name="connsiteY110" fmla="*/ 423862 h 695341"/>
              <a:gd name="connsiteX111" fmla="*/ 745430 w 798069"/>
              <a:gd name="connsiteY111" fmla="*/ 426243 h 695341"/>
              <a:gd name="connsiteX112" fmla="*/ 750193 w 798069"/>
              <a:gd name="connsiteY112" fmla="*/ 433387 h 695341"/>
              <a:gd name="connsiteX113" fmla="*/ 747812 w 798069"/>
              <a:gd name="connsiteY113" fmla="*/ 454818 h 695341"/>
              <a:gd name="connsiteX114" fmla="*/ 745430 w 798069"/>
              <a:gd name="connsiteY114" fmla="*/ 464343 h 695341"/>
              <a:gd name="connsiteX115" fmla="*/ 735905 w 798069"/>
              <a:gd name="connsiteY115" fmla="*/ 485775 h 695341"/>
              <a:gd name="connsiteX116" fmla="*/ 728762 w 798069"/>
              <a:gd name="connsiteY116" fmla="*/ 488156 h 695341"/>
              <a:gd name="connsiteX117" fmla="*/ 721618 w 798069"/>
              <a:gd name="connsiteY117" fmla="*/ 492918 h 695341"/>
              <a:gd name="connsiteX118" fmla="*/ 716855 w 798069"/>
              <a:gd name="connsiteY118" fmla="*/ 509587 h 695341"/>
              <a:gd name="connsiteX119" fmla="*/ 712093 w 798069"/>
              <a:gd name="connsiteY119" fmla="*/ 516731 h 695341"/>
              <a:gd name="connsiteX120" fmla="*/ 704949 w 798069"/>
              <a:gd name="connsiteY120" fmla="*/ 519112 h 695341"/>
              <a:gd name="connsiteX121" fmla="*/ 697805 w 798069"/>
              <a:gd name="connsiteY121" fmla="*/ 523875 h 695341"/>
              <a:gd name="connsiteX122" fmla="*/ 669230 w 798069"/>
              <a:gd name="connsiteY122" fmla="*/ 528637 h 695341"/>
              <a:gd name="connsiteX123" fmla="*/ 662087 w 798069"/>
              <a:gd name="connsiteY123" fmla="*/ 535781 h 695341"/>
              <a:gd name="connsiteX124" fmla="*/ 650180 w 798069"/>
              <a:gd name="connsiteY124" fmla="*/ 547687 h 695341"/>
              <a:gd name="connsiteX125" fmla="*/ 635893 w 798069"/>
              <a:gd name="connsiteY125" fmla="*/ 550068 h 695341"/>
              <a:gd name="connsiteX126" fmla="*/ 614462 w 798069"/>
              <a:gd name="connsiteY126" fmla="*/ 561975 h 695341"/>
              <a:gd name="connsiteX127" fmla="*/ 607318 w 798069"/>
              <a:gd name="connsiteY127" fmla="*/ 564356 h 695341"/>
              <a:gd name="connsiteX128" fmla="*/ 593030 w 798069"/>
              <a:gd name="connsiteY128" fmla="*/ 573881 h 695341"/>
              <a:gd name="connsiteX129" fmla="*/ 562074 w 798069"/>
              <a:gd name="connsiteY129" fmla="*/ 576262 h 695341"/>
              <a:gd name="connsiteX130" fmla="*/ 540643 w 798069"/>
              <a:gd name="connsiteY130" fmla="*/ 590550 h 695341"/>
              <a:gd name="connsiteX131" fmla="*/ 533499 w 798069"/>
              <a:gd name="connsiteY131" fmla="*/ 595312 h 695341"/>
              <a:gd name="connsiteX132" fmla="*/ 526355 w 798069"/>
              <a:gd name="connsiteY132" fmla="*/ 597693 h 695341"/>
              <a:gd name="connsiteX133" fmla="*/ 514449 w 798069"/>
              <a:gd name="connsiteY133" fmla="*/ 611981 h 695341"/>
              <a:gd name="connsiteX134" fmla="*/ 512068 w 798069"/>
              <a:gd name="connsiteY134" fmla="*/ 619125 h 695341"/>
              <a:gd name="connsiteX135" fmla="*/ 507305 w 798069"/>
              <a:gd name="connsiteY135" fmla="*/ 640556 h 695341"/>
              <a:gd name="connsiteX136" fmla="*/ 502543 w 798069"/>
              <a:gd name="connsiteY136" fmla="*/ 654843 h 695341"/>
              <a:gd name="connsiteX137" fmla="*/ 500162 w 798069"/>
              <a:gd name="connsiteY137" fmla="*/ 661987 h 695341"/>
              <a:gd name="connsiteX138" fmla="*/ 493018 w 798069"/>
              <a:gd name="connsiteY138" fmla="*/ 664368 h 695341"/>
              <a:gd name="connsiteX139" fmla="*/ 485874 w 798069"/>
              <a:gd name="connsiteY139" fmla="*/ 659606 h 695341"/>
              <a:gd name="connsiteX140" fmla="*/ 471587 w 798069"/>
              <a:gd name="connsiteY140" fmla="*/ 645318 h 695341"/>
              <a:gd name="connsiteX141" fmla="*/ 447774 w 798069"/>
              <a:gd name="connsiteY141" fmla="*/ 647700 h 695341"/>
              <a:gd name="connsiteX142" fmla="*/ 435868 w 798069"/>
              <a:gd name="connsiteY142" fmla="*/ 659606 h 695341"/>
              <a:gd name="connsiteX143" fmla="*/ 414437 w 798069"/>
              <a:gd name="connsiteY143" fmla="*/ 671512 h 695341"/>
              <a:gd name="connsiteX144" fmla="*/ 407293 w 798069"/>
              <a:gd name="connsiteY144" fmla="*/ 676275 h 695341"/>
              <a:gd name="connsiteX145" fmla="*/ 385862 w 798069"/>
              <a:gd name="connsiteY145" fmla="*/ 671512 h 695341"/>
              <a:gd name="connsiteX146" fmla="*/ 314424 w 798069"/>
              <a:gd name="connsiteY146" fmla="*/ 673893 h 695341"/>
              <a:gd name="connsiteX147" fmla="*/ 300137 w 798069"/>
              <a:gd name="connsiteY147" fmla="*/ 676275 h 695341"/>
              <a:gd name="connsiteX148" fmla="*/ 297755 w 798069"/>
              <a:gd name="connsiteY148" fmla="*/ 666750 h 695341"/>
              <a:gd name="connsiteX149" fmla="*/ 292993 w 798069"/>
              <a:gd name="connsiteY149" fmla="*/ 652462 h 695341"/>
              <a:gd name="connsiteX150" fmla="*/ 288230 w 798069"/>
              <a:gd name="connsiteY150" fmla="*/ 638175 h 695341"/>
              <a:gd name="connsiteX151" fmla="*/ 281087 w 798069"/>
              <a:gd name="connsiteY151" fmla="*/ 633412 h 695341"/>
              <a:gd name="connsiteX152" fmla="*/ 271562 w 798069"/>
              <a:gd name="connsiteY152" fmla="*/ 635793 h 695341"/>
              <a:gd name="connsiteX153" fmla="*/ 269180 w 798069"/>
              <a:gd name="connsiteY153" fmla="*/ 642937 h 695341"/>
              <a:gd name="connsiteX154" fmla="*/ 257274 w 798069"/>
              <a:gd name="connsiteY154" fmla="*/ 657225 h 695341"/>
              <a:gd name="connsiteX155" fmla="*/ 250130 w 798069"/>
              <a:gd name="connsiteY155" fmla="*/ 659606 h 695341"/>
              <a:gd name="connsiteX156" fmla="*/ 238224 w 798069"/>
              <a:gd name="connsiteY156" fmla="*/ 671512 h 695341"/>
              <a:gd name="connsiteX157" fmla="*/ 235843 w 798069"/>
              <a:gd name="connsiteY157" fmla="*/ 678656 h 695341"/>
              <a:gd name="connsiteX158" fmla="*/ 233462 w 798069"/>
              <a:gd name="connsiteY158" fmla="*/ 688181 h 695341"/>
              <a:gd name="connsiteX159" fmla="*/ 226318 w 798069"/>
              <a:gd name="connsiteY159" fmla="*/ 690562 h 695341"/>
              <a:gd name="connsiteX160" fmla="*/ 212030 w 798069"/>
              <a:gd name="connsiteY160" fmla="*/ 688181 h 695341"/>
              <a:gd name="connsiteX161" fmla="*/ 204887 w 798069"/>
              <a:gd name="connsiteY161" fmla="*/ 685800 h 695341"/>
              <a:gd name="connsiteX162" fmla="*/ 173930 w 798069"/>
              <a:gd name="connsiteY162" fmla="*/ 688181 h 695341"/>
              <a:gd name="connsiteX163" fmla="*/ 164405 w 798069"/>
              <a:gd name="connsiteY163" fmla="*/ 685800 h 695341"/>
              <a:gd name="connsiteX164" fmla="*/ 154880 w 798069"/>
              <a:gd name="connsiteY164" fmla="*/ 664368 h 695341"/>
              <a:gd name="connsiteX165" fmla="*/ 140593 w 798069"/>
              <a:gd name="connsiteY165" fmla="*/ 654843 h 695341"/>
              <a:gd name="connsiteX166" fmla="*/ 133449 w 798069"/>
              <a:gd name="connsiteY166" fmla="*/ 657225 h 695341"/>
              <a:gd name="connsiteX167" fmla="*/ 119162 w 798069"/>
              <a:gd name="connsiteY167" fmla="*/ 669131 h 695341"/>
              <a:gd name="connsiteX168" fmla="*/ 112018 w 798069"/>
              <a:gd name="connsiteY168" fmla="*/ 673893 h 695341"/>
              <a:gd name="connsiteX169" fmla="*/ 95349 w 798069"/>
              <a:gd name="connsiteY169" fmla="*/ 671512 h 695341"/>
              <a:gd name="connsiteX170" fmla="*/ 85824 w 798069"/>
              <a:gd name="connsiteY170" fmla="*/ 659606 h 695341"/>
              <a:gd name="connsiteX171" fmla="*/ 78680 w 798069"/>
              <a:gd name="connsiteY171" fmla="*/ 654843 h 695341"/>
              <a:gd name="connsiteX172" fmla="*/ 73918 w 798069"/>
              <a:gd name="connsiteY172" fmla="*/ 661987 h 695341"/>
              <a:gd name="connsiteX173" fmla="*/ 66774 w 798069"/>
              <a:gd name="connsiteY173" fmla="*/ 671512 h 695341"/>
              <a:gd name="connsiteX174" fmla="*/ 64393 w 798069"/>
              <a:gd name="connsiteY174" fmla="*/ 678656 h 695341"/>
              <a:gd name="connsiteX175" fmla="*/ 57249 w 798069"/>
              <a:gd name="connsiteY175" fmla="*/ 683418 h 695341"/>
              <a:gd name="connsiteX176" fmla="*/ 50105 w 798069"/>
              <a:gd name="connsiteY176" fmla="*/ 685800 h 695341"/>
              <a:gd name="connsiteX177" fmla="*/ 28674 w 798069"/>
              <a:gd name="connsiteY177" fmla="*/ 695325 h 695341"/>
              <a:gd name="connsiteX0" fmla="*/ 28674 w 798069"/>
              <a:gd name="connsiteY0" fmla="*/ 695325 h 695341"/>
              <a:gd name="connsiteX1" fmla="*/ 31055 w 798069"/>
              <a:gd name="connsiteY1" fmla="*/ 683418 h 695341"/>
              <a:gd name="connsiteX2" fmla="*/ 23912 w 798069"/>
              <a:gd name="connsiteY2" fmla="*/ 654843 h 695341"/>
              <a:gd name="connsiteX3" fmla="*/ 19149 w 798069"/>
              <a:gd name="connsiteY3" fmla="*/ 647700 h 695341"/>
              <a:gd name="connsiteX4" fmla="*/ 12005 w 798069"/>
              <a:gd name="connsiteY4" fmla="*/ 626268 h 695341"/>
              <a:gd name="connsiteX5" fmla="*/ 9624 w 798069"/>
              <a:gd name="connsiteY5" fmla="*/ 619125 h 695341"/>
              <a:gd name="connsiteX6" fmla="*/ 12005 w 798069"/>
              <a:gd name="connsiteY6" fmla="*/ 533400 h 695341"/>
              <a:gd name="connsiteX7" fmla="*/ 16768 w 798069"/>
              <a:gd name="connsiteY7" fmla="*/ 519112 h 695341"/>
              <a:gd name="connsiteX8" fmla="*/ 21530 w 798069"/>
              <a:gd name="connsiteY8" fmla="*/ 511968 h 695341"/>
              <a:gd name="connsiteX9" fmla="*/ 19149 w 798069"/>
              <a:gd name="connsiteY9" fmla="*/ 492918 h 695341"/>
              <a:gd name="connsiteX10" fmla="*/ 4862 w 798069"/>
              <a:gd name="connsiteY10" fmla="*/ 481012 h 695341"/>
              <a:gd name="connsiteX11" fmla="*/ 99 w 798069"/>
              <a:gd name="connsiteY11" fmla="*/ 473868 h 695341"/>
              <a:gd name="connsiteX12" fmla="*/ 2480 w 798069"/>
              <a:gd name="connsiteY12" fmla="*/ 464343 h 695341"/>
              <a:gd name="connsiteX13" fmla="*/ 23912 w 798069"/>
              <a:gd name="connsiteY13" fmla="*/ 447675 h 695341"/>
              <a:gd name="connsiteX14" fmla="*/ 38199 w 798069"/>
              <a:gd name="connsiteY14" fmla="*/ 433387 h 695341"/>
              <a:gd name="connsiteX15" fmla="*/ 52487 w 798069"/>
              <a:gd name="connsiteY15" fmla="*/ 421481 h 695341"/>
              <a:gd name="connsiteX16" fmla="*/ 57249 w 798069"/>
              <a:gd name="connsiteY16" fmla="*/ 414337 h 695341"/>
              <a:gd name="connsiteX17" fmla="*/ 62012 w 798069"/>
              <a:gd name="connsiteY17" fmla="*/ 388143 h 695341"/>
              <a:gd name="connsiteX18" fmla="*/ 69155 w 798069"/>
              <a:gd name="connsiteY18" fmla="*/ 364331 h 695341"/>
              <a:gd name="connsiteX19" fmla="*/ 73918 w 798069"/>
              <a:gd name="connsiteY19" fmla="*/ 357187 h 695341"/>
              <a:gd name="connsiteX20" fmla="*/ 76299 w 798069"/>
              <a:gd name="connsiteY20" fmla="*/ 350043 h 695341"/>
              <a:gd name="connsiteX21" fmla="*/ 88205 w 798069"/>
              <a:gd name="connsiteY21" fmla="*/ 333375 h 695341"/>
              <a:gd name="connsiteX22" fmla="*/ 100112 w 798069"/>
              <a:gd name="connsiteY22" fmla="*/ 321468 h 695341"/>
              <a:gd name="connsiteX23" fmla="*/ 112018 w 798069"/>
              <a:gd name="connsiteY23" fmla="*/ 307181 h 695341"/>
              <a:gd name="connsiteX24" fmla="*/ 121543 w 798069"/>
              <a:gd name="connsiteY24" fmla="*/ 292893 h 695341"/>
              <a:gd name="connsiteX25" fmla="*/ 133449 w 798069"/>
              <a:gd name="connsiteY25" fmla="*/ 278606 h 695341"/>
              <a:gd name="connsiteX26" fmla="*/ 138212 w 798069"/>
              <a:gd name="connsiteY26" fmla="*/ 269081 h 695341"/>
              <a:gd name="connsiteX27" fmla="*/ 147737 w 798069"/>
              <a:gd name="connsiteY27" fmla="*/ 254793 h 695341"/>
              <a:gd name="connsiteX28" fmla="*/ 159643 w 798069"/>
              <a:gd name="connsiteY28" fmla="*/ 233362 h 695341"/>
              <a:gd name="connsiteX29" fmla="*/ 164405 w 798069"/>
              <a:gd name="connsiteY29" fmla="*/ 223837 h 695341"/>
              <a:gd name="connsiteX30" fmla="*/ 169168 w 798069"/>
              <a:gd name="connsiteY30" fmla="*/ 216693 h 695341"/>
              <a:gd name="connsiteX31" fmla="*/ 176312 w 798069"/>
              <a:gd name="connsiteY31" fmla="*/ 202406 h 695341"/>
              <a:gd name="connsiteX32" fmla="*/ 185837 w 798069"/>
              <a:gd name="connsiteY32" fmla="*/ 188118 h 695341"/>
              <a:gd name="connsiteX33" fmla="*/ 183455 w 798069"/>
              <a:gd name="connsiteY33" fmla="*/ 166687 h 695341"/>
              <a:gd name="connsiteX34" fmla="*/ 173930 w 798069"/>
              <a:gd name="connsiteY34" fmla="*/ 159543 h 695341"/>
              <a:gd name="connsiteX35" fmla="*/ 169168 w 798069"/>
              <a:gd name="connsiteY35" fmla="*/ 152400 h 695341"/>
              <a:gd name="connsiteX36" fmla="*/ 171549 w 798069"/>
              <a:gd name="connsiteY36" fmla="*/ 126206 h 695341"/>
              <a:gd name="connsiteX37" fmla="*/ 176312 w 798069"/>
              <a:gd name="connsiteY37" fmla="*/ 119062 h 695341"/>
              <a:gd name="connsiteX38" fmla="*/ 178693 w 798069"/>
              <a:gd name="connsiteY38" fmla="*/ 111918 h 695341"/>
              <a:gd name="connsiteX39" fmla="*/ 185837 w 798069"/>
              <a:gd name="connsiteY39" fmla="*/ 97631 h 695341"/>
              <a:gd name="connsiteX40" fmla="*/ 183455 w 798069"/>
              <a:gd name="connsiteY40" fmla="*/ 85725 h 695341"/>
              <a:gd name="connsiteX41" fmla="*/ 178693 w 798069"/>
              <a:gd name="connsiteY41" fmla="*/ 78581 h 695341"/>
              <a:gd name="connsiteX42" fmla="*/ 190599 w 798069"/>
              <a:gd name="connsiteY42" fmla="*/ 52387 h 695341"/>
              <a:gd name="connsiteX43" fmla="*/ 197743 w 798069"/>
              <a:gd name="connsiteY43" fmla="*/ 50006 h 695341"/>
              <a:gd name="connsiteX44" fmla="*/ 219174 w 798069"/>
              <a:gd name="connsiteY44" fmla="*/ 30956 h 695341"/>
              <a:gd name="connsiteX45" fmla="*/ 231080 w 798069"/>
              <a:gd name="connsiteY45" fmla="*/ 19050 h 695341"/>
              <a:gd name="connsiteX46" fmla="*/ 235843 w 798069"/>
              <a:gd name="connsiteY46" fmla="*/ 11906 h 695341"/>
              <a:gd name="connsiteX47" fmla="*/ 242987 w 798069"/>
              <a:gd name="connsiteY47" fmla="*/ 14287 h 695341"/>
              <a:gd name="connsiteX48" fmla="*/ 247749 w 798069"/>
              <a:gd name="connsiteY48" fmla="*/ 30956 h 695341"/>
              <a:gd name="connsiteX49" fmla="*/ 250130 w 798069"/>
              <a:gd name="connsiteY49" fmla="*/ 78581 h 695341"/>
              <a:gd name="connsiteX50" fmla="*/ 257275 w 798069"/>
              <a:gd name="connsiteY50" fmla="*/ 78581 h 695341"/>
              <a:gd name="connsiteX51" fmla="*/ 273943 w 798069"/>
              <a:gd name="connsiteY51" fmla="*/ 88105 h 695341"/>
              <a:gd name="connsiteX52" fmla="*/ 281087 w 798069"/>
              <a:gd name="connsiteY52" fmla="*/ 102393 h 695341"/>
              <a:gd name="connsiteX53" fmla="*/ 288230 w 798069"/>
              <a:gd name="connsiteY53" fmla="*/ 104775 h 695341"/>
              <a:gd name="connsiteX54" fmla="*/ 307280 w 798069"/>
              <a:gd name="connsiteY54" fmla="*/ 102393 h 695341"/>
              <a:gd name="connsiteX55" fmla="*/ 319187 w 798069"/>
              <a:gd name="connsiteY55" fmla="*/ 100012 h 695341"/>
              <a:gd name="connsiteX56" fmla="*/ 326330 w 798069"/>
              <a:gd name="connsiteY56" fmla="*/ 95250 h 695341"/>
              <a:gd name="connsiteX57" fmla="*/ 352524 w 798069"/>
              <a:gd name="connsiteY57" fmla="*/ 102393 h 695341"/>
              <a:gd name="connsiteX58" fmla="*/ 354905 w 798069"/>
              <a:gd name="connsiteY58" fmla="*/ 109537 h 695341"/>
              <a:gd name="connsiteX59" fmla="*/ 359668 w 798069"/>
              <a:gd name="connsiteY59" fmla="*/ 147637 h 695341"/>
              <a:gd name="connsiteX60" fmla="*/ 364430 w 798069"/>
              <a:gd name="connsiteY60" fmla="*/ 157162 h 695341"/>
              <a:gd name="connsiteX61" fmla="*/ 371574 w 798069"/>
              <a:gd name="connsiteY61" fmla="*/ 159543 h 695341"/>
              <a:gd name="connsiteX62" fmla="*/ 414437 w 798069"/>
              <a:gd name="connsiteY62" fmla="*/ 157162 h 695341"/>
              <a:gd name="connsiteX63" fmla="*/ 428724 w 798069"/>
              <a:gd name="connsiteY63" fmla="*/ 150018 h 695341"/>
              <a:gd name="connsiteX64" fmla="*/ 435868 w 798069"/>
              <a:gd name="connsiteY64" fmla="*/ 128587 h 695341"/>
              <a:gd name="connsiteX65" fmla="*/ 440630 w 798069"/>
              <a:gd name="connsiteY65" fmla="*/ 119062 h 695341"/>
              <a:gd name="connsiteX66" fmla="*/ 450155 w 798069"/>
              <a:gd name="connsiteY66" fmla="*/ 121443 h 695341"/>
              <a:gd name="connsiteX67" fmla="*/ 464443 w 798069"/>
              <a:gd name="connsiteY67" fmla="*/ 114300 h 695341"/>
              <a:gd name="connsiteX68" fmla="*/ 478730 w 798069"/>
              <a:gd name="connsiteY68" fmla="*/ 107156 h 695341"/>
              <a:gd name="connsiteX69" fmla="*/ 490637 w 798069"/>
              <a:gd name="connsiteY69" fmla="*/ 95250 h 695341"/>
              <a:gd name="connsiteX70" fmla="*/ 493018 w 798069"/>
              <a:gd name="connsiteY70" fmla="*/ 78581 h 695341"/>
              <a:gd name="connsiteX71" fmla="*/ 495399 w 798069"/>
              <a:gd name="connsiteY71" fmla="*/ 71437 h 695341"/>
              <a:gd name="connsiteX72" fmla="*/ 502543 w 798069"/>
              <a:gd name="connsiteY72" fmla="*/ 45243 h 695341"/>
              <a:gd name="connsiteX73" fmla="*/ 512068 w 798069"/>
              <a:gd name="connsiteY73" fmla="*/ 0 h 695341"/>
              <a:gd name="connsiteX74" fmla="*/ 523974 w 798069"/>
              <a:gd name="connsiteY74" fmla="*/ 9525 h 695341"/>
              <a:gd name="connsiteX75" fmla="*/ 531118 w 798069"/>
              <a:gd name="connsiteY75" fmla="*/ 16668 h 695341"/>
              <a:gd name="connsiteX76" fmla="*/ 540643 w 798069"/>
              <a:gd name="connsiteY76" fmla="*/ 30956 h 695341"/>
              <a:gd name="connsiteX77" fmla="*/ 550168 w 798069"/>
              <a:gd name="connsiteY77" fmla="*/ 45243 h 695341"/>
              <a:gd name="connsiteX78" fmla="*/ 562074 w 798069"/>
              <a:gd name="connsiteY78" fmla="*/ 59531 h 695341"/>
              <a:gd name="connsiteX79" fmla="*/ 590649 w 798069"/>
              <a:gd name="connsiteY79" fmla="*/ 66675 h 695341"/>
              <a:gd name="connsiteX80" fmla="*/ 604937 w 798069"/>
              <a:gd name="connsiteY80" fmla="*/ 73818 h 695341"/>
              <a:gd name="connsiteX81" fmla="*/ 609699 w 798069"/>
              <a:gd name="connsiteY81" fmla="*/ 80962 h 695341"/>
              <a:gd name="connsiteX82" fmla="*/ 616843 w 798069"/>
              <a:gd name="connsiteY82" fmla="*/ 88106 h 695341"/>
              <a:gd name="connsiteX83" fmla="*/ 628749 w 798069"/>
              <a:gd name="connsiteY83" fmla="*/ 100012 h 695341"/>
              <a:gd name="connsiteX84" fmla="*/ 638274 w 798069"/>
              <a:gd name="connsiteY84" fmla="*/ 114300 h 695341"/>
              <a:gd name="connsiteX85" fmla="*/ 645418 w 798069"/>
              <a:gd name="connsiteY85" fmla="*/ 119062 h 695341"/>
              <a:gd name="connsiteX86" fmla="*/ 688280 w 798069"/>
              <a:gd name="connsiteY86" fmla="*/ 123825 h 695341"/>
              <a:gd name="connsiteX87" fmla="*/ 709712 w 798069"/>
              <a:gd name="connsiteY87" fmla="*/ 142875 h 695341"/>
              <a:gd name="connsiteX88" fmla="*/ 726380 w 798069"/>
              <a:gd name="connsiteY88" fmla="*/ 147637 h 695341"/>
              <a:gd name="connsiteX89" fmla="*/ 740668 w 798069"/>
              <a:gd name="connsiteY89" fmla="*/ 152400 h 695341"/>
              <a:gd name="connsiteX90" fmla="*/ 754955 w 798069"/>
              <a:gd name="connsiteY90" fmla="*/ 159543 h 695341"/>
              <a:gd name="connsiteX91" fmla="*/ 766862 w 798069"/>
              <a:gd name="connsiteY91" fmla="*/ 183356 h 695341"/>
              <a:gd name="connsiteX92" fmla="*/ 769243 w 798069"/>
              <a:gd name="connsiteY92" fmla="*/ 211931 h 695341"/>
              <a:gd name="connsiteX93" fmla="*/ 771624 w 798069"/>
              <a:gd name="connsiteY93" fmla="*/ 219075 h 695341"/>
              <a:gd name="connsiteX94" fmla="*/ 774005 w 798069"/>
              <a:gd name="connsiteY94" fmla="*/ 309562 h 695341"/>
              <a:gd name="connsiteX95" fmla="*/ 776387 w 798069"/>
              <a:gd name="connsiteY95" fmla="*/ 316706 h 695341"/>
              <a:gd name="connsiteX96" fmla="*/ 790674 w 798069"/>
              <a:gd name="connsiteY96" fmla="*/ 326231 h 695341"/>
              <a:gd name="connsiteX97" fmla="*/ 795437 w 798069"/>
              <a:gd name="connsiteY97" fmla="*/ 333375 h 695341"/>
              <a:gd name="connsiteX98" fmla="*/ 795437 w 798069"/>
              <a:gd name="connsiteY98" fmla="*/ 357187 h 695341"/>
              <a:gd name="connsiteX99" fmla="*/ 790674 w 798069"/>
              <a:gd name="connsiteY99" fmla="*/ 364331 h 695341"/>
              <a:gd name="connsiteX100" fmla="*/ 776387 w 798069"/>
              <a:gd name="connsiteY100" fmla="*/ 373856 h 695341"/>
              <a:gd name="connsiteX101" fmla="*/ 735906 w 798069"/>
              <a:gd name="connsiteY101" fmla="*/ 378619 h 695341"/>
              <a:gd name="connsiteX102" fmla="*/ 733524 w 798069"/>
              <a:gd name="connsiteY102" fmla="*/ 376237 h 695341"/>
              <a:gd name="connsiteX103" fmla="*/ 716855 w 798069"/>
              <a:gd name="connsiteY103" fmla="*/ 364331 h 695341"/>
              <a:gd name="connsiteX104" fmla="*/ 714474 w 798069"/>
              <a:gd name="connsiteY104" fmla="*/ 369093 h 695341"/>
              <a:gd name="connsiteX105" fmla="*/ 697805 w 798069"/>
              <a:gd name="connsiteY105" fmla="*/ 378618 h 695341"/>
              <a:gd name="connsiteX106" fmla="*/ 690662 w 798069"/>
              <a:gd name="connsiteY106" fmla="*/ 392906 h 695341"/>
              <a:gd name="connsiteX107" fmla="*/ 697805 w 798069"/>
              <a:gd name="connsiteY107" fmla="*/ 395287 h 695341"/>
              <a:gd name="connsiteX108" fmla="*/ 709712 w 798069"/>
              <a:gd name="connsiteY108" fmla="*/ 397668 h 695341"/>
              <a:gd name="connsiteX109" fmla="*/ 716855 w 798069"/>
              <a:gd name="connsiteY109" fmla="*/ 404812 h 695341"/>
              <a:gd name="connsiteX110" fmla="*/ 728762 w 798069"/>
              <a:gd name="connsiteY110" fmla="*/ 423862 h 695341"/>
              <a:gd name="connsiteX111" fmla="*/ 745430 w 798069"/>
              <a:gd name="connsiteY111" fmla="*/ 426243 h 695341"/>
              <a:gd name="connsiteX112" fmla="*/ 750193 w 798069"/>
              <a:gd name="connsiteY112" fmla="*/ 433387 h 695341"/>
              <a:gd name="connsiteX113" fmla="*/ 747812 w 798069"/>
              <a:gd name="connsiteY113" fmla="*/ 454818 h 695341"/>
              <a:gd name="connsiteX114" fmla="*/ 745430 w 798069"/>
              <a:gd name="connsiteY114" fmla="*/ 464343 h 695341"/>
              <a:gd name="connsiteX115" fmla="*/ 735905 w 798069"/>
              <a:gd name="connsiteY115" fmla="*/ 485775 h 695341"/>
              <a:gd name="connsiteX116" fmla="*/ 728762 w 798069"/>
              <a:gd name="connsiteY116" fmla="*/ 488156 h 695341"/>
              <a:gd name="connsiteX117" fmla="*/ 721618 w 798069"/>
              <a:gd name="connsiteY117" fmla="*/ 492918 h 695341"/>
              <a:gd name="connsiteX118" fmla="*/ 716855 w 798069"/>
              <a:gd name="connsiteY118" fmla="*/ 509587 h 695341"/>
              <a:gd name="connsiteX119" fmla="*/ 712093 w 798069"/>
              <a:gd name="connsiteY119" fmla="*/ 516731 h 695341"/>
              <a:gd name="connsiteX120" fmla="*/ 704949 w 798069"/>
              <a:gd name="connsiteY120" fmla="*/ 519112 h 695341"/>
              <a:gd name="connsiteX121" fmla="*/ 697805 w 798069"/>
              <a:gd name="connsiteY121" fmla="*/ 523875 h 695341"/>
              <a:gd name="connsiteX122" fmla="*/ 669230 w 798069"/>
              <a:gd name="connsiteY122" fmla="*/ 528637 h 695341"/>
              <a:gd name="connsiteX123" fmla="*/ 662087 w 798069"/>
              <a:gd name="connsiteY123" fmla="*/ 535781 h 695341"/>
              <a:gd name="connsiteX124" fmla="*/ 650180 w 798069"/>
              <a:gd name="connsiteY124" fmla="*/ 547687 h 695341"/>
              <a:gd name="connsiteX125" fmla="*/ 635893 w 798069"/>
              <a:gd name="connsiteY125" fmla="*/ 550068 h 695341"/>
              <a:gd name="connsiteX126" fmla="*/ 614462 w 798069"/>
              <a:gd name="connsiteY126" fmla="*/ 561975 h 695341"/>
              <a:gd name="connsiteX127" fmla="*/ 607318 w 798069"/>
              <a:gd name="connsiteY127" fmla="*/ 564356 h 695341"/>
              <a:gd name="connsiteX128" fmla="*/ 593030 w 798069"/>
              <a:gd name="connsiteY128" fmla="*/ 573881 h 695341"/>
              <a:gd name="connsiteX129" fmla="*/ 562074 w 798069"/>
              <a:gd name="connsiteY129" fmla="*/ 576262 h 695341"/>
              <a:gd name="connsiteX130" fmla="*/ 540643 w 798069"/>
              <a:gd name="connsiteY130" fmla="*/ 590550 h 695341"/>
              <a:gd name="connsiteX131" fmla="*/ 533499 w 798069"/>
              <a:gd name="connsiteY131" fmla="*/ 595312 h 695341"/>
              <a:gd name="connsiteX132" fmla="*/ 526355 w 798069"/>
              <a:gd name="connsiteY132" fmla="*/ 597693 h 695341"/>
              <a:gd name="connsiteX133" fmla="*/ 514449 w 798069"/>
              <a:gd name="connsiteY133" fmla="*/ 611981 h 695341"/>
              <a:gd name="connsiteX134" fmla="*/ 512068 w 798069"/>
              <a:gd name="connsiteY134" fmla="*/ 619125 h 695341"/>
              <a:gd name="connsiteX135" fmla="*/ 507305 w 798069"/>
              <a:gd name="connsiteY135" fmla="*/ 640556 h 695341"/>
              <a:gd name="connsiteX136" fmla="*/ 502543 w 798069"/>
              <a:gd name="connsiteY136" fmla="*/ 654843 h 695341"/>
              <a:gd name="connsiteX137" fmla="*/ 500162 w 798069"/>
              <a:gd name="connsiteY137" fmla="*/ 661987 h 695341"/>
              <a:gd name="connsiteX138" fmla="*/ 493018 w 798069"/>
              <a:gd name="connsiteY138" fmla="*/ 664368 h 695341"/>
              <a:gd name="connsiteX139" fmla="*/ 485874 w 798069"/>
              <a:gd name="connsiteY139" fmla="*/ 659606 h 695341"/>
              <a:gd name="connsiteX140" fmla="*/ 471587 w 798069"/>
              <a:gd name="connsiteY140" fmla="*/ 645318 h 695341"/>
              <a:gd name="connsiteX141" fmla="*/ 447774 w 798069"/>
              <a:gd name="connsiteY141" fmla="*/ 647700 h 695341"/>
              <a:gd name="connsiteX142" fmla="*/ 435868 w 798069"/>
              <a:gd name="connsiteY142" fmla="*/ 659606 h 695341"/>
              <a:gd name="connsiteX143" fmla="*/ 414437 w 798069"/>
              <a:gd name="connsiteY143" fmla="*/ 671512 h 695341"/>
              <a:gd name="connsiteX144" fmla="*/ 407293 w 798069"/>
              <a:gd name="connsiteY144" fmla="*/ 676275 h 695341"/>
              <a:gd name="connsiteX145" fmla="*/ 385862 w 798069"/>
              <a:gd name="connsiteY145" fmla="*/ 671512 h 695341"/>
              <a:gd name="connsiteX146" fmla="*/ 314424 w 798069"/>
              <a:gd name="connsiteY146" fmla="*/ 673893 h 695341"/>
              <a:gd name="connsiteX147" fmla="*/ 300137 w 798069"/>
              <a:gd name="connsiteY147" fmla="*/ 676275 h 695341"/>
              <a:gd name="connsiteX148" fmla="*/ 297755 w 798069"/>
              <a:gd name="connsiteY148" fmla="*/ 666750 h 695341"/>
              <a:gd name="connsiteX149" fmla="*/ 292993 w 798069"/>
              <a:gd name="connsiteY149" fmla="*/ 652462 h 695341"/>
              <a:gd name="connsiteX150" fmla="*/ 288230 w 798069"/>
              <a:gd name="connsiteY150" fmla="*/ 638175 h 695341"/>
              <a:gd name="connsiteX151" fmla="*/ 281087 w 798069"/>
              <a:gd name="connsiteY151" fmla="*/ 633412 h 695341"/>
              <a:gd name="connsiteX152" fmla="*/ 271562 w 798069"/>
              <a:gd name="connsiteY152" fmla="*/ 635793 h 695341"/>
              <a:gd name="connsiteX153" fmla="*/ 269180 w 798069"/>
              <a:gd name="connsiteY153" fmla="*/ 642937 h 695341"/>
              <a:gd name="connsiteX154" fmla="*/ 257274 w 798069"/>
              <a:gd name="connsiteY154" fmla="*/ 657225 h 695341"/>
              <a:gd name="connsiteX155" fmla="*/ 250130 w 798069"/>
              <a:gd name="connsiteY155" fmla="*/ 659606 h 695341"/>
              <a:gd name="connsiteX156" fmla="*/ 238224 w 798069"/>
              <a:gd name="connsiteY156" fmla="*/ 671512 h 695341"/>
              <a:gd name="connsiteX157" fmla="*/ 235843 w 798069"/>
              <a:gd name="connsiteY157" fmla="*/ 678656 h 695341"/>
              <a:gd name="connsiteX158" fmla="*/ 233462 w 798069"/>
              <a:gd name="connsiteY158" fmla="*/ 688181 h 695341"/>
              <a:gd name="connsiteX159" fmla="*/ 226318 w 798069"/>
              <a:gd name="connsiteY159" fmla="*/ 690562 h 695341"/>
              <a:gd name="connsiteX160" fmla="*/ 212030 w 798069"/>
              <a:gd name="connsiteY160" fmla="*/ 688181 h 695341"/>
              <a:gd name="connsiteX161" fmla="*/ 204887 w 798069"/>
              <a:gd name="connsiteY161" fmla="*/ 685800 h 695341"/>
              <a:gd name="connsiteX162" fmla="*/ 173930 w 798069"/>
              <a:gd name="connsiteY162" fmla="*/ 688181 h 695341"/>
              <a:gd name="connsiteX163" fmla="*/ 164405 w 798069"/>
              <a:gd name="connsiteY163" fmla="*/ 685800 h 695341"/>
              <a:gd name="connsiteX164" fmla="*/ 154880 w 798069"/>
              <a:gd name="connsiteY164" fmla="*/ 664368 h 695341"/>
              <a:gd name="connsiteX165" fmla="*/ 140593 w 798069"/>
              <a:gd name="connsiteY165" fmla="*/ 654843 h 695341"/>
              <a:gd name="connsiteX166" fmla="*/ 133449 w 798069"/>
              <a:gd name="connsiteY166" fmla="*/ 657225 h 695341"/>
              <a:gd name="connsiteX167" fmla="*/ 119162 w 798069"/>
              <a:gd name="connsiteY167" fmla="*/ 669131 h 695341"/>
              <a:gd name="connsiteX168" fmla="*/ 112018 w 798069"/>
              <a:gd name="connsiteY168" fmla="*/ 673893 h 695341"/>
              <a:gd name="connsiteX169" fmla="*/ 95349 w 798069"/>
              <a:gd name="connsiteY169" fmla="*/ 671512 h 695341"/>
              <a:gd name="connsiteX170" fmla="*/ 85824 w 798069"/>
              <a:gd name="connsiteY170" fmla="*/ 659606 h 695341"/>
              <a:gd name="connsiteX171" fmla="*/ 78680 w 798069"/>
              <a:gd name="connsiteY171" fmla="*/ 654843 h 695341"/>
              <a:gd name="connsiteX172" fmla="*/ 73918 w 798069"/>
              <a:gd name="connsiteY172" fmla="*/ 661987 h 695341"/>
              <a:gd name="connsiteX173" fmla="*/ 66774 w 798069"/>
              <a:gd name="connsiteY173" fmla="*/ 671512 h 695341"/>
              <a:gd name="connsiteX174" fmla="*/ 64393 w 798069"/>
              <a:gd name="connsiteY174" fmla="*/ 678656 h 695341"/>
              <a:gd name="connsiteX175" fmla="*/ 57249 w 798069"/>
              <a:gd name="connsiteY175" fmla="*/ 683418 h 695341"/>
              <a:gd name="connsiteX176" fmla="*/ 50105 w 798069"/>
              <a:gd name="connsiteY176" fmla="*/ 685800 h 695341"/>
              <a:gd name="connsiteX177" fmla="*/ 28674 w 798069"/>
              <a:gd name="connsiteY177" fmla="*/ 695325 h 695341"/>
              <a:gd name="connsiteX0" fmla="*/ 28674 w 798069"/>
              <a:gd name="connsiteY0" fmla="*/ 695325 h 695341"/>
              <a:gd name="connsiteX1" fmla="*/ 31055 w 798069"/>
              <a:gd name="connsiteY1" fmla="*/ 683418 h 695341"/>
              <a:gd name="connsiteX2" fmla="*/ 23912 w 798069"/>
              <a:gd name="connsiteY2" fmla="*/ 654843 h 695341"/>
              <a:gd name="connsiteX3" fmla="*/ 19149 w 798069"/>
              <a:gd name="connsiteY3" fmla="*/ 647700 h 695341"/>
              <a:gd name="connsiteX4" fmla="*/ 12005 w 798069"/>
              <a:gd name="connsiteY4" fmla="*/ 626268 h 695341"/>
              <a:gd name="connsiteX5" fmla="*/ 9624 w 798069"/>
              <a:gd name="connsiteY5" fmla="*/ 619125 h 695341"/>
              <a:gd name="connsiteX6" fmla="*/ 12005 w 798069"/>
              <a:gd name="connsiteY6" fmla="*/ 533400 h 695341"/>
              <a:gd name="connsiteX7" fmla="*/ 16768 w 798069"/>
              <a:gd name="connsiteY7" fmla="*/ 519112 h 695341"/>
              <a:gd name="connsiteX8" fmla="*/ 21530 w 798069"/>
              <a:gd name="connsiteY8" fmla="*/ 511968 h 695341"/>
              <a:gd name="connsiteX9" fmla="*/ 19149 w 798069"/>
              <a:gd name="connsiteY9" fmla="*/ 492918 h 695341"/>
              <a:gd name="connsiteX10" fmla="*/ 4862 w 798069"/>
              <a:gd name="connsiteY10" fmla="*/ 481012 h 695341"/>
              <a:gd name="connsiteX11" fmla="*/ 99 w 798069"/>
              <a:gd name="connsiteY11" fmla="*/ 473868 h 695341"/>
              <a:gd name="connsiteX12" fmla="*/ 2480 w 798069"/>
              <a:gd name="connsiteY12" fmla="*/ 464343 h 695341"/>
              <a:gd name="connsiteX13" fmla="*/ 23912 w 798069"/>
              <a:gd name="connsiteY13" fmla="*/ 447675 h 695341"/>
              <a:gd name="connsiteX14" fmla="*/ 38199 w 798069"/>
              <a:gd name="connsiteY14" fmla="*/ 433387 h 695341"/>
              <a:gd name="connsiteX15" fmla="*/ 52487 w 798069"/>
              <a:gd name="connsiteY15" fmla="*/ 421481 h 695341"/>
              <a:gd name="connsiteX16" fmla="*/ 57249 w 798069"/>
              <a:gd name="connsiteY16" fmla="*/ 414337 h 695341"/>
              <a:gd name="connsiteX17" fmla="*/ 62012 w 798069"/>
              <a:gd name="connsiteY17" fmla="*/ 388143 h 695341"/>
              <a:gd name="connsiteX18" fmla="*/ 69155 w 798069"/>
              <a:gd name="connsiteY18" fmla="*/ 364331 h 695341"/>
              <a:gd name="connsiteX19" fmla="*/ 73918 w 798069"/>
              <a:gd name="connsiteY19" fmla="*/ 357187 h 695341"/>
              <a:gd name="connsiteX20" fmla="*/ 76299 w 798069"/>
              <a:gd name="connsiteY20" fmla="*/ 350043 h 695341"/>
              <a:gd name="connsiteX21" fmla="*/ 88205 w 798069"/>
              <a:gd name="connsiteY21" fmla="*/ 333375 h 695341"/>
              <a:gd name="connsiteX22" fmla="*/ 100112 w 798069"/>
              <a:gd name="connsiteY22" fmla="*/ 321468 h 695341"/>
              <a:gd name="connsiteX23" fmla="*/ 112018 w 798069"/>
              <a:gd name="connsiteY23" fmla="*/ 307181 h 695341"/>
              <a:gd name="connsiteX24" fmla="*/ 121543 w 798069"/>
              <a:gd name="connsiteY24" fmla="*/ 292893 h 695341"/>
              <a:gd name="connsiteX25" fmla="*/ 133449 w 798069"/>
              <a:gd name="connsiteY25" fmla="*/ 278606 h 695341"/>
              <a:gd name="connsiteX26" fmla="*/ 138212 w 798069"/>
              <a:gd name="connsiteY26" fmla="*/ 269081 h 695341"/>
              <a:gd name="connsiteX27" fmla="*/ 147737 w 798069"/>
              <a:gd name="connsiteY27" fmla="*/ 254793 h 695341"/>
              <a:gd name="connsiteX28" fmla="*/ 159643 w 798069"/>
              <a:gd name="connsiteY28" fmla="*/ 233362 h 695341"/>
              <a:gd name="connsiteX29" fmla="*/ 164405 w 798069"/>
              <a:gd name="connsiteY29" fmla="*/ 223837 h 695341"/>
              <a:gd name="connsiteX30" fmla="*/ 169168 w 798069"/>
              <a:gd name="connsiteY30" fmla="*/ 216693 h 695341"/>
              <a:gd name="connsiteX31" fmla="*/ 176312 w 798069"/>
              <a:gd name="connsiteY31" fmla="*/ 202406 h 695341"/>
              <a:gd name="connsiteX32" fmla="*/ 185837 w 798069"/>
              <a:gd name="connsiteY32" fmla="*/ 188118 h 695341"/>
              <a:gd name="connsiteX33" fmla="*/ 183455 w 798069"/>
              <a:gd name="connsiteY33" fmla="*/ 166687 h 695341"/>
              <a:gd name="connsiteX34" fmla="*/ 173930 w 798069"/>
              <a:gd name="connsiteY34" fmla="*/ 159543 h 695341"/>
              <a:gd name="connsiteX35" fmla="*/ 169168 w 798069"/>
              <a:gd name="connsiteY35" fmla="*/ 152400 h 695341"/>
              <a:gd name="connsiteX36" fmla="*/ 171549 w 798069"/>
              <a:gd name="connsiteY36" fmla="*/ 126206 h 695341"/>
              <a:gd name="connsiteX37" fmla="*/ 176312 w 798069"/>
              <a:gd name="connsiteY37" fmla="*/ 119062 h 695341"/>
              <a:gd name="connsiteX38" fmla="*/ 178693 w 798069"/>
              <a:gd name="connsiteY38" fmla="*/ 111918 h 695341"/>
              <a:gd name="connsiteX39" fmla="*/ 185837 w 798069"/>
              <a:gd name="connsiteY39" fmla="*/ 97631 h 695341"/>
              <a:gd name="connsiteX40" fmla="*/ 183455 w 798069"/>
              <a:gd name="connsiteY40" fmla="*/ 85725 h 695341"/>
              <a:gd name="connsiteX41" fmla="*/ 178693 w 798069"/>
              <a:gd name="connsiteY41" fmla="*/ 78581 h 695341"/>
              <a:gd name="connsiteX42" fmla="*/ 190599 w 798069"/>
              <a:gd name="connsiteY42" fmla="*/ 52387 h 695341"/>
              <a:gd name="connsiteX43" fmla="*/ 197743 w 798069"/>
              <a:gd name="connsiteY43" fmla="*/ 50006 h 695341"/>
              <a:gd name="connsiteX44" fmla="*/ 219174 w 798069"/>
              <a:gd name="connsiteY44" fmla="*/ 30956 h 695341"/>
              <a:gd name="connsiteX45" fmla="*/ 231080 w 798069"/>
              <a:gd name="connsiteY45" fmla="*/ 19050 h 695341"/>
              <a:gd name="connsiteX46" fmla="*/ 235843 w 798069"/>
              <a:gd name="connsiteY46" fmla="*/ 11906 h 695341"/>
              <a:gd name="connsiteX47" fmla="*/ 242987 w 798069"/>
              <a:gd name="connsiteY47" fmla="*/ 14287 h 695341"/>
              <a:gd name="connsiteX48" fmla="*/ 247749 w 798069"/>
              <a:gd name="connsiteY48" fmla="*/ 30956 h 695341"/>
              <a:gd name="connsiteX49" fmla="*/ 250130 w 798069"/>
              <a:gd name="connsiteY49" fmla="*/ 78581 h 695341"/>
              <a:gd name="connsiteX50" fmla="*/ 257275 w 798069"/>
              <a:gd name="connsiteY50" fmla="*/ 78581 h 695341"/>
              <a:gd name="connsiteX51" fmla="*/ 273943 w 798069"/>
              <a:gd name="connsiteY51" fmla="*/ 88105 h 695341"/>
              <a:gd name="connsiteX52" fmla="*/ 281087 w 798069"/>
              <a:gd name="connsiteY52" fmla="*/ 102393 h 695341"/>
              <a:gd name="connsiteX53" fmla="*/ 288230 w 798069"/>
              <a:gd name="connsiteY53" fmla="*/ 104775 h 695341"/>
              <a:gd name="connsiteX54" fmla="*/ 307280 w 798069"/>
              <a:gd name="connsiteY54" fmla="*/ 102393 h 695341"/>
              <a:gd name="connsiteX55" fmla="*/ 319187 w 798069"/>
              <a:gd name="connsiteY55" fmla="*/ 100012 h 695341"/>
              <a:gd name="connsiteX56" fmla="*/ 326330 w 798069"/>
              <a:gd name="connsiteY56" fmla="*/ 95250 h 695341"/>
              <a:gd name="connsiteX57" fmla="*/ 352524 w 798069"/>
              <a:gd name="connsiteY57" fmla="*/ 102393 h 695341"/>
              <a:gd name="connsiteX58" fmla="*/ 354905 w 798069"/>
              <a:gd name="connsiteY58" fmla="*/ 109537 h 695341"/>
              <a:gd name="connsiteX59" fmla="*/ 359668 w 798069"/>
              <a:gd name="connsiteY59" fmla="*/ 147637 h 695341"/>
              <a:gd name="connsiteX60" fmla="*/ 364430 w 798069"/>
              <a:gd name="connsiteY60" fmla="*/ 157162 h 695341"/>
              <a:gd name="connsiteX61" fmla="*/ 371574 w 798069"/>
              <a:gd name="connsiteY61" fmla="*/ 159543 h 695341"/>
              <a:gd name="connsiteX62" fmla="*/ 414437 w 798069"/>
              <a:gd name="connsiteY62" fmla="*/ 157162 h 695341"/>
              <a:gd name="connsiteX63" fmla="*/ 428724 w 798069"/>
              <a:gd name="connsiteY63" fmla="*/ 150018 h 695341"/>
              <a:gd name="connsiteX64" fmla="*/ 435868 w 798069"/>
              <a:gd name="connsiteY64" fmla="*/ 128587 h 695341"/>
              <a:gd name="connsiteX65" fmla="*/ 440630 w 798069"/>
              <a:gd name="connsiteY65" fmla="*/ 119062 h 695341"/>
              <a:gd name="connsiteX66" fmla="*/ 450155 w 798069"/>
              <a:gd name="connsiteY66" fmla="*/ 121443 h 695341"/>
              <a:gd name="connsiteX67" fmla="*/ 464443 w 798069"/>
              <a:gd name="connsiteY67" fmla="*/ 114300 h 695341"/>
              <a:gd name="connsiteX68" fmla="*/ 478730 w 798069"/>
              <a:gd name="connsiteY68" fmla="*/ 107156 h 695341"/>
              <a:gd name="connsiteX69" fmla="*/ 490637 w 798069"/>
              <a:gd name="connsiteY69" fmla="*/ 95250 h 695341"/>
              <a:gd name="connsiteX70" fmla="*/ 493018 w 798069"/>
              <a:gd name="connsiteY70" fmla="*/ 78581 h 695341"/>
              <a:gd name="connsiteX71" fmla="*/ 495399 w 798069"/>
              <a:gd name="connsiteY71" fmla="*/ 71437 h 695341"/>
              <a:gd name="connsiteX72" fmla="*/ 502543 w 798069"/>
              <a:gd name="connsiteY72" fmla="*/ 45243 h 695341"/>
              <a:gd name="connsiteX73" fmla="*/ 512068 w 798069"/>
              <a:gd name="connsiteY73" fmla="*/ 0 h 695341"/>
              <a:gd name="connsiteX74" fmla="*/ 523974 w 798069"/>
              <a:gd name="connsiteY74" fmla="*/ 9525 h 695341"/>
              <a:gd name="connsiteX75" fmla="*/ 531118 w 798069"/>
              <a:gd name="connsiteY75" fmla="*/ 16668 h 695341"/>
              <a:gd name="connsiteX76" fmla="*/ 540643 w 798069"/>
              <a:gd name="connsiteY76" fmla="*/ 30956 h 695341"/>
              <a:gd name="connsiteX77" fmla="*/ 550168 w 798069"/>
              <a:gd name="connsiteY77" fmla="*/ 45243 h 695341"/>
              <a:gd name="connsiteX78" fmla="*/ 562074 w 798069"/>
              <a:gd name="connsiteY78" fmla="*/ 59531 h 695341"/>
              <a:gd name="connsiteX79" fmla="*/ 590649 w 798069"/>
              <a:gd name="connsiteY79" fmla="*/ 66675 h 695341"/>
              <a:gd name="connsiteX80" fmla="*/ 604937 w 798069"/>
              <a:gd name="connsiteY80" fmla="*/ 73818 h 695341"/>
              <a:gd name="connsiteX81" fmla="*/ 609699 w 798069"/>
              <a:gd name="connsiteY81" fmla="*/ 80962 h 695341"/>
              <a:gd name="connsiteX82" fmla="*/ 616843 w 798069"/>
              <a:gd name="connsiteY82" fmla="*/ 88106 h 695341"/>
              <a:gd name="connsiteX83" fmla="*/ 628749 w 798069"/>
              <a:gd name="connsiteY83" fmla="*/ 100012 h 695341"/>
              <a:gd name="connsiteX84" fmla="*/ 638274 w 798069"/>
              <a:gd name="connsiteY84" fmla="*/ 114300 h 695341"/>
              <a:gd name="connsiteX85" fmla="*/ 645418 w 798069"/>
              <a:gd name="connsiteY85" fmla="*/ 119062 h 695341"/>
              <a:gd name="connsiteX86" fmla="*/ 688280 w 798069"/>
              <a:gd name="connsiteY86" fmla="*/ 123825 h 695341"/>
              <a:gd name="connsiteX87" fmla="*/ 709712 w 798069"/>
              <a:gd name="connsiteY87" fmla="*/ 142875 h 695341"/>
              <a:gd name="connsiteX88" fmla="*/ 726380 w 798069"/>
              <a:gd name="connsiteY88" fmla="*/ 147637 h 695341"/>
              <a:gd name="connsiteX89" fmla="*/ 740668 w 798069"/>
              <a:gd name="connsiteY89" fmla="*/ 152400 h 695341"/>
              <a:gd name="connsiteX90" fmla="*/ 754955 w 798069"/>
              <a:gd name="connsiteY90" fmla="*/ 159543 h 695341"/>
              <a:gd name="connsiteX91" fmla="*/ 766862 w 798069"/>
              <a:gd name="connsiteY91" fmla="*/ 183356 h 695341"/>
              <a:gd name="connsiteX92" fmla="*/ 769243 w 798069"/>
              <a:gd name="connsiteY92" fmla="*/ 211931 h 695341"/>
              <a:gd name="connsiteX93" fmla="*/ 771624 w 798069"/>
              <a:gd name="connsiteY93" fmla="*/ 219075 h 695341"/>
              <a:gd name="connsiteX94" fmla="*/ 774005 w 798069"/>
              <a:gd name="connsiteY94" fmla="*/ 309562 h 695341"/>
              <a:gd name="connsiteX95" fmla="*/ 776387 w 798069"/>
              <a:gd name="connsiteY95" fmla="*/ 316706 h 695341"/>
              <a:gd name="connsiteX96" fmla="*/ 790674 w 798069"/>
              <a:gd name="connsiteY96" fmla="*/ 326231 h 695341"/>
              <a:gd name="connsiteX97" fmla="*/ 795437 w 798069"/>
              <a:gd name="connsiteY97" fmla="*/ 333375 h 695341"/>
              <a:gd name="connsiteX98" fmla="*/ 795437 w 798069"/>
              <a:gd name="connsiteY98" fmla="*/ 357187 h 695341"/>
              <a:gd name="connsiteX99" fmla="*/ 790674 w 798069"/>
              <a:gd name="connsiteY99" fmla="*/ 364331 h 695341"/>
              <a:gd name="connsiteX100" fmla="*/ 776387 w 798069"/>
              <a:gd name="connsiteY100" fmla="*/ 373856 h 695341"/>
              <a:gd name="connsiteX101" fmla="*/ 735906 w 798069"/>
              <a:gd name="connsiteY101" fmla="*/ 378619 h 695341"/>
              <a:gd name="connsiteX102" fmla="*/ 733524 w 798069"/>
              <a:gd name="connsiteY102" fmla="*/ 376237 h 695341"/>
              <a:gd name="connsiteX103" fmla="*/ 716855 w 798069"/>
              <a:gd name="connsiteY103" fmla="*/ 364331 h 695341"/>
              <a:gd name="connsiteX104" fmla="*/ 714474 w 798069"/>
              <a:gd name="connsiteY104" fmla="*/ 369093 h 695341"/>
              <a:gd name="connsiteX105" fmla="*/ 697805 w 798069"/>
              <a:gd name="connsiteY105" fmla="*/ 378618 h 695341"/>
              <a:gd name="connsiteX106" fmla="*/ 690662 w 798069"/>
              <a:gd name="connsiteY106" fmla="*/ 392906 h 695341"/>
              <a:gd name="connsiteX107" fmla="*/ 697805 w 798069"/>
              <a:gd name="connsiteY107" fmla="*/ 395287 h 695341"/>
              <a:gd name="connsiteX108" fmla="*/ 709712 w 798069"/>
              <a:gd name="connsiteY108" fmla="*/ 397668 h 695341"/>
              <a:gd name="connsiteX109" fmla="*/ 716855 w 798069"/>
              <a:gd name="connsiteY109" fmla="*/ 404812 h 695341"/>
              <a:gd name="connsiteX110" fmla="*/ 728762 w 798069"/>
              <a:gd name="connsiteY110" fmla="*/ 423862 h 695341"/>
              <a:gd name="connsiteX111" fmla="*/ 745430 w 798069"/>
              <a:gd name="connsiteY111" fmla="*/ 426243 h 695341"/>
              <a:gd name="connsiteX112" fmla="*/ 750193 w 798069"/>
              <a:gd name="connsiteY112" fmla="*/ 433387 h 695341"/>
              <a:gd name="connsiteX113" fmla="*/ 747812 w 798069"/>
              <a:gd name="connsiteY113" fmla="*/ 454818 h 695341"/>
              <a:gd name="connsiteX114" fmla="*/ 745430 w 798069"/>
              <a:gd name="connsiteY114" fmla="*/ 464343 h 695341"/>
              <a:gd name="connsiteX115" fmla="*/ 735905 w 798069"/>
              <a:gd name="connsiteY115" fmla="*/ 485775 h 695341"/>
              <a:gd name="connsiteX116" fmla="*/ 728762 w 798069"/>
              <a:gd name="connsiteY116" fmla="*/ 488156 h 695341"/>
              <a:gd name="connsiteX117" fmla="*/ 721618 w 798069"/>
              <a:gd name="connsiteY117" fmla="*/ 492918 h 695341"/>
              <a:gd name="connsiteX118" fmla="*/ 716855 w 798069"/>
              <a:gd name="connsiteY118" fmla="*/ 509587 h 695341"/>
              <a:gd name="connsiteX119" fmla="*/ 712093 w 798069"/>
              <a:gd name="connsiteY119" fmla="*/ 516731 h 695341"/>
              <a:gd name="connsiteX120" fmla="*/ 704949 w 798069"/>
              <a:gd name="connsiteY120" fmla="*/ 519112 h 695341"/>
              <a:gd name="connsiteX121" fmla="*/ 697805 w 798069"/>
              <a:gd name="connsiteY121" fmla="*/ 523875 h 695341"/>
              <a:gd name="connsiteX122" fmla="*/ 669230 w 798069"/>
              <a:gd name="connsiteY122" fmla="*/ 528637 h 695341"/>
              <a:gd name="connsiteX123" fmla="*/ 662087 w 798069"/>
              <a:gd name="connsiteY123" fmla="*/ 535781 h 695341"/>
              <a:gd name="connsiteX124" fmla="*/ 650180 w 798069"/>
              <a:gd name="connsiteY124" fmla="*/ 547687 h 695341"/>
              <a:gd name="connsiteX125" fmla="*/ 635893 w 798069"/>
              <a:gd name="connsiteY125" fmla="*/ 550068 h 695341"/>
              <a:gd name="connsiteX126" fmla="*/ 614462 w 798069"/>
              <a:gd name="connsiteY126" fmla="*/ 561975 h 695341"/>
              <a:gd name="connsiteX127" fmla="*/ 607318 w 798069"/>
              <a:gd name="connsiteY127" fmla="*/ 564356 h 695341"/>
              <a:gd name="connsiteX128" fmla="*/ 593030 w 798069"/>
              <a:gd name="connsiteY128" fmla="*/ 573881 h 695341"/>
              <a:gd name="connsiteX129" fmla="*/ 562074 w 798069"/>
              <a:gd name="connsiteY129" fmla="*/ 576262 h 695341"/>
              <a:gd name="connsiteX130" fmla="*/ 540643 w 798069"/>
              <a:gd name="connsiteY130" fmla="*/ 590550 h 695341"/>
              <a:gd name="connsiteX131" fmla="*/ 533499 w 798069"/>
              <a:gd name="connsiteY131" fmla="*/ 595312 h 695341"/>
              <a:gd name="connsiteX132" fmla="*/ 526355 w 798069"/>
              <a:gd name="connsiteY132" fmla="*/ 597693 h 695341"/>
              <a:gd name="connsiteX133" fmla="*/ 514449 w 798069"/>
              <a:gd name="connsiteY133" fmla="*/ 611981 h 695341"/>
              <a:gd name="connsiteX134" fmla="*/ 512068 w 798069"/>
              <a:gd name="connsiteY134" fmla="*/ 619125 h 695341"/>
              <a:gd name="connsiteX135" fmla="*/ 507305 w 798069"/>
              <a:gd name="connsiteY135" fmla="*/ 640556 h 695341"/>
              <a:gd name="connsiteX136" fmla="*/ 502543 w 798069"/>
              <a:gd name="connsiteY136" fmla="*/ 654843 h 695341"/>
              <a:gd name="connsiteX137" fmla="*/ 500162 w 798069"/>
              <a:gd name="connsiteY137" fmla="*/ 661987 h 695341"/>
              <a:gd name="connsiteX138" fmla="*/ 493018 w 798069"/>
              <a:gd name="connsiteY138" fmla="*/ 664368 h 695341"/>
              <a:gd name="connsiteX139" fmla="*/ 485874 w 798069"/>
              <a:gd name="connsiteY139" fmla="*/ 659606 h 695341"/>
              <a:gd name="connsiteX140" fmla="*/ 471587 w 798069"/>
              <a:gd name="connsiteY140" fmla="*/ 645318 h 695341"/>
              <a:gd name="connsiteX141" fmla="*/ 447774 w 798069"/>
              <a:gd name="connsiteY141" fmla="*/ 647700 h 695341"/>
              <a:gd name="connsiteX142" fmla="*/ 435868 w 798069"/>
              <a:gd name="connsiteY142" fmla="*/ 659606 h 695341"/>
              <a:gd name="connsiteX143" fmla="*/ 414437 w 798069"/>
              <a:gd name="connsiteY143" fmla="*/ 671512 h 695341"/>
              <a:gd name="connsiteX144" fmla="*/ 407293 w 798069"/>
              <a:gd name="connsiteY144" fmla="*/ 676275 h 695341"/>
              <a:gd name="connsiteX145" fmla="*/ 385862 w 798069"/>
              <a:gd name="connsiteY145" fmla="*/ 671512 h 695341"/>
              <a:gd name="connsiteX146" fmla="*/ 314424 w 798069"/>
              <a:gd name="connsiteY146" fmla="*/ 673893 h 695341"/>
              <a:gd name="connsiteX147" fmla="*/ 300137 w 798069"/>
              <a:gd name="connsiteY147" fmla="*/ 676275 h 695341"/>
              <a:gd name="connsiteX148" fmla="*/ 297755 w 798069"/>
              <a:gd name="connsiteY148" fmla="*/ 666750 h 695341"/>
              <a:gd name="connsiteX149" fmla="*/ 292993 w 798069"/>
              <a:gd name="connsiteY149" fmla="*/ 652462 h 695341"/>
              <a:gd name="connsiteX150" fmla="*/ 288230 w 798069"/>
              <a:gd name="connsiteY150" fmla="*/ 638175 h 695341"/>
              <a:gd name="connsiteX151" fmla="*/ 281087 w 798069"/>
              <a:gd name="connsiteY151" fmla="*/ 633412 h 695341"/>
              <a:gd name="connsiteX152" fmla="*/ 271562 w 798069"/>
              <a:gd name="connsiteY152" fmla="*/ 635793 h 695341"/>
              <a:gd name="connsiteX153" fmla="*/ 269180 w 798069"/>
              <a:gd name="connsiteY153" fmla="*/ 642937 h 695341"/>
              <a:gd name="connsiteX154" fmla="*/ 257274 w 798069"/>
              <a:gd name="connsiteY154" fmla="*/ 657225 h 695341"/>
              <a:gd name="connsiteX155" fmla="*/ 250130 w 798069"/>
              <a:gd name="connsiteY155" fmla="*/ 659606 h 695341"/>
              <a:gd name="connsiteX156" fmla="*/ 238224 w 798069"/>
              <a:gd name="connsiteY156" fmla="*/ 671512 h 695341"/>
              <a:gd name="connsiteX157" fmla="*/ 235843 w 798069"/>
              <a:gd name="connsiteY157" fmla="*/ 678656 h 695341"/>
              <a:gd name="connsiteX158" fmla="*/ 233462 w 798069"/>
              <a:gd name="connsiteY158" fmla="*/ 688181 h 695341"/>
              <a:gd name="connsiteX159" fmla="*/ 226318 w 798069"/>
              <a:gd name="connsiteY159" fmla="*/ 690562 h 695341"/>
              <a:gd name="connsiteX160" fmla="*/ 212030 w 798069"/>
              <a:gd name="connsiteY160" fmla="*/ 688181 h 695341"/>
              <a:gd name="connsiteX161" fmla="*/ 204887 w 798069"/>
              <a:gd name="connsiteY161" fmla="*/ 685800 h 695341"/>
              <a:gd name="connsiteX162" fmla="*/ 173930 w 798069"/>
              <a:gd name="connsiteY162" fmla="*/ 688181 h 695341"/>
              <a:gd name="connsiteX163" fmla="*/ 164405 w 798069"/>
              <a:gd name="connsiteY163" fmla="*/ 685800 h 695341"/>
              <a:gd name="connsiteX164" fmla="*/ 154880 w 798069"/>
              <a:gd name="connsiteY164" fmla="*/ 664368 h 695341"/>
              <a:gd name="connsiteX165" fmla="*/ 140593 w 798069"/>
              <a:gd name="connsiteY165" fmla="*/ 654843 h 695341"/>
              <a:gd name="connsiteX166" fmla="*/ 133449 w 798069"/>
              <a:gd name="connsiteY166" fmla="*/ 657225 h 695341"/>
              <a:gd name="connsiteX167" fmla="*/ 119162 w 798069"/>
              <a:gd name="connsiteY167" fmla="*/ 669131 h 695341"/>
              <a:gd name="connsiteX168" fmla="*/ 112018 w 798069"/>
              <a:gd name="connsiteY168" fmla="*/ 673893 h 695341"/>
              <a:gd name="connsiteX169" fmla="*/ 95349 w 798069"/>
              <a:gd name="connsiteY169" fmla="*/ 671512 h 695341"/>
              <a:gd name="connsiteX170" fmla="*/ 85824 w 798069"/>
              <a:gd name="connsiteY170" fmla="*/ 659606 h 695341"/>
              <a:gd name="connsiteX171" fmla="*/ 78680 w 798069"/>
              <a:gd name="connsiteY171" fmla="*/ 654843 h 695341"/>
              <a:gd name="connsiteX172" fmla="*/ 73918 w 798069"/>
              <a:gd name="connsiteY172" fmla="*/ 661987 h 695341"/>
              <a:gd name="connsiteX173" fmla="*/ 66774 w 798069"/>
              <a:gd name="connsiteY173" fmla="*/ 671512 h 695341"/>
              <a:gd name="connsiteX174" fmla="*/ 64393 w 798069"/>
              <a:gd name="connsiteY174" fmla="*/ 678656 h 695341"/>
              <a:gd name="connsiteX175" fmla="*/ 57249 w 798069"/>
              <a:gd name="connsiteY175" fmla="*/ 683418 h 695341"/>
              <a:gd name="connsiteX176" fmla="*/ 50105 w 798069"/>
              <a:gd name="connsiteY176" fmla="*/ 685800 h 695341"/>
              <a:gd name="connsiteX177" fmla="*/ 28674 w 798069"/>
              <a:gd name="connsiteY177" fmla="*/ 695325 h 695341"/>
              <a:gd name="connsiteX0" fmla="*/ 28674 w 798069"/>
              <a:gd name="connsiteY0" fmla="*/ 695325 h 695341"/>
              <a:gd name="connsiteX1" fmla="*/ 31055 w 798069"/>
              <a:gd name="connsiteY1" fmla="*/ 683418 h 695341"/>
              <a:gd name="connsiteX2" fmla="*/ 23912 w 798069"/>
              <a:gd name="connsiteY2" fmla="*/ 654843 h 695341"/>
              <a:gd name="connsiteX3" fmla="*/ 19149 w 798069"/>
              <a:gd name="connsiteY3" fmla="*/ 647700 h 695341"/>
              <a:gd name="connsiteX4" fmla="*/ 12005 w 798069"/>
              <a:gd name="connsiteY4" fmla="*/ 626268 h 695341"/>
              <a:gd name="connsiteX5" fmla="*/ 9624 w 798069"/>
              <a:gd name="connsiteY5" fmla="*/ 619125 h 695341"/>
              <a:gd name="connsiteX6" fmla="*/ 12005 w 798069"/>
              <a:gd name="connsiteY6" fmla="*/ 533400 h 695341"/>
              <a:gd name="connsiteX7" fmla="*/ 16768 w 798069"/>
              <a:gd name="connsiteY7" fmla="*/ 519112 h 695341"/>
              <a:gd name="connsiteX8" fmla="*/ 21530 w 798069"/>
              <a:gd name="connsiteY8" fmla="*/ 511968 h 695341"/>
              <a:gd name="connsiteX9" fmla="*/ 19149 w 798069"/>
              <a:gd name="connsiteY9" fmla="*/ 492918 h 695341"/>
              <a:gd name="connsiteX10" fmla="*/ 4862 w 798069"/>
              <a:gd name="connsiteY10" fmla="*/ 481012 h 695341"/>
              <a:gd name="connsiteX11" fmla="*/ 99 w 798069"/>
              <a:gd name="connsiteY11" fmla="*/ 473868 h 695341"/>
              <a:gd name="connsiteX12" fmla="*/ 2480 w 798069"/>
              <a:gd name="connsiteY12" fmla="*/ 464343 h 695341"/>
              <a:gd name="connsiteX13" fmla="*/ 23912 w 798069"/>
              <a:gd name="connsiteY13" fmla="*/ 447675 h 695341"/>
              <a:gd name="connsiteX14" fmla="*/ 38199 w 798069"/>
              <a:gd name="connsiteY14" fmla="*/ 433387 h 695341"/>
              <a:gd name="connsiteX15" fmla="*/ 52487 w 798069"/>
              <a:gd name="connsiteY15" fmla="*/ 421481 h 695341"/>
              <a:gd name="connsiteX16" fmla="*/ 57249 w 798069"/>
              <a:gd name="connsiteY16" fmla="*/ 414337 h 695341"/>
              <a:gd name="connsiteX17" fmla="*/ 62012 w 798069"/>
              <a:gd name="connsiteY17" fmla="*/ 388143 h 695341"/>
              <a:gd name="connsiteX18" fmla="*/ 69155 w 798069"/>
              <a:gd name="connsiteY18" fmla="*/ 364331 h 695341"/>
              <a:gd name="connsiteX19" fmla="*/ 73918 w 798069"/>
              <a:gd name="connsiteY19" fmla="*/ 357187 h 695341"/>
              <a:gd name="connsiteX20" fmla="*/ 76299 w 798069"/>
              <a:gd name="connsiteY20" fmla="*/ 350043 h 695341"/>
              <a:gd name="connsiteX21" fmla="*/ 88205 w 798069"/>
              <a:gd name="connsiteY21" fmla="*/ 333375 h 695341"/>
              <a:gd name="connsiteX22" fmla="*/ 100112 w 798069"/>
              <a:gd name="connsiteY22" fmla="*/ 321468 h 695341"/>
              <a:gd name="connsiteX23" fmla="*/ 112018 w 798069"/>
              <a:gd name="connsiteY23" fmla="*/ 307181 h 695341"/>
              <a:gd name="connsiteX24" fmla="*/ 121543 w 798069"/>
              <a:gd name="connsiteY24" fmla="*/ 292893 h 695341"/>
              <a:gd name="connsiteX25" fmla="*/ 133449 w 798069"/>
              <a:gd name="connsiteY25" fmla="*/ 278606 h 695341"/>
              <a:gd name="connsiteX26" fmla="*/ 138212 w 798069"/>
              <a:gd name="connsiteY26" fmla="*/ 269081 h 695341"/>
              <a:gd name="connsiteX27" fmla="*/ 147737 w 798069"/>
              <a:gd name="connsiteY27" fmla="*/ 254793 h 695341"/>
              <a:gd name="connsiteX28" fmla="*/ 159643 w 798069"/>
              <a:gd name="connsiteY28" fmla="*/ 233362 h 695341"/>
              <a:gd name="connsiteX29" fmla="*/ 164405 w 798069"/>
              <a:gd name="connsiteY29" fmla="*/ 223837 h 695341"/>
              <a:gd name="connsiteX30" fmla="*/ 169168 w 798069"/>
              <a:gd name="connsiteY30" fmla="*/ 216693 h 695341"/>
              <a:gd name="connsiteX31" fmla="*/ 176312 w 798069"/>
              <a:gd name="connsiteY31" fmla="*/ 202406 h 695341"/>
              <a:gd name="connsiteX32" fmla="*/ 185837 w 798069"/>
              <a:gd name="connsiteY32" fmla="*/ 188118 h 695341"/>
              <a:gd name="connsiteX33" fmla="*/ 183455 w 798069"/>
              <a:gd name="connsiteY33" fmla="*/ 166687 h 695341"/>
              <a:gd name="connsiteX34" fmla="*/ 173930 w 798069"/>
              <a:gd name="connsiteY34" fmla="*/ 159543 h 695341"/>
              <a:gd name="connsiteX35" fmla="*/ 169168 w 798069"/>
              <a:gd name="connsiteY35" fmla="*/ 152400 h 695341"/>
              <a:gd name="connsiteX36" fmla="*/ 171549 w 798069"/>
              <a:gd name="connsiteY36" fmla="*/ 126206 h 695341"/>
              <a:gd name="connsiteX37" fmla="*/ 176312 w 798069"/>
              <a:gd name="connsiteY37" fmla="*/ 119062 h 695341"/>
              <a:gd name="connsiteX38" fmla="*/ 178693 w 798069"/>
              <a:gd name="connsiteY38" fmla="*/ 111918 h 695341"/>
              <a:gd name="connsiteX39" fmla="*/ 185837 w 798069"/>
              <a:gd name="connsiteY39" fmla="*/ 97631 h 695341"/>
              <a:gd name="connsiteX40" fmla="*/ 183455 w 798069"/>
              <a:gd name="connsiteY40" fmla="*/ 85725 h 695341"/>
              <a:gd name="connsiteX41" fmla="*/ 178693 w 798069"/>
              <a:gd name="connsiteY41" fmla="*/ 78581 h 695341"/>
              <a:gd name="connsiteX42" fmla="*/ 190599 w 798069"/>
              <a:gd name="connsiteY42" fmla="*/ 52387 h 695341"/>
              <a:gd name="connsiteX43" fmla="*/ 197743 w 798069"/>
              <a:gd name="connsiteY43" fmla="*/ 50006 h 695341"/>
              <a:gd name="connsiteX44" fmla="*/ 219174 w 798069"/>
              <a:gd name="connsiteY44" fmla="*/ 30956 h 695341"/>
              <a:gd name="connsiteX45" fmla="*/ 231080 w 798069"/>
              <a:gd name="connsiteY45" fmla="*/ 19050 h 695341"/>
              <a:gd name="connsiteX46" fmla="*/ 235843 w 798069"/>
              <a:gd name="connsiteY46" fmla="*/ 11906 h 695341"/>
              <a:gd name="connsiteX47" fmla="*/ 242987 w 798069"/>
              <a:gd name="connsiteY47" fmla="*/ 14287 h 695341"/>
              <a:gd name="connsiteX48" fmla="*/ 247749 w 798069"/>
              <a:gd name="connsiteY48" fmla="*/ 30956 h 695341"/>
              <a:gd name="connsiteX49" fmla="*/ 250130 w 798069"/>
              <a:gd name="connsiteY49" fmla="*/ 78581 h 695341"/>
              <a:gd name="connsiteX50" fmla="*/ 257275 w 798069"/>
              <a:gd name="connsiteY50" fmla="*/ 78581 h 695341"/>
              <a:gd name="connsiteX51" fmla="*/ 273943 w 798069"/>
              <a:gd name="connsiteY51" fmla="*/ 88105 h 695341"/>
              <a:gd name="connsiteX52" fmla="*/ 281087 w 798069"/>
              <a:gd name="connsiteY52" fmla="*/ 102393 h 695341"/>
              <a:gd name="connsiteX53" fmla="*/ 288230 w 798069"/>
              <a:gd name="connsiteY53" fmla="*/ 104775 h 695341"/>
              <a:gd name="connsiteX54" fmla="*/ 307280 w 798069"/>
              <a:gd name="connsiteY54" fmla="*/ 102393 h 695341"/>
              <a:gd name="connsiteX55" fmla="*/ 319187 w 798069"/>
              <a:gd name="connsiteY55" fmla="*/ 100012 h 695341"/>
              <a:gd name="connsiteX56" fmla="*/ 326330 w 798069"/>
              <a:gd name="connsiteY56" fmla="*/ 95250 h 695341"/>
              <a:gd name="connsiteX57" fmla="*/ 352524 w 798069"/>
              <a:gd name="connsiteY57" fmla="*/ 102393 h 695341"/>
              <a:gd name="connsiteX58" fmla="*/ 354905 w 798069"/>
              <a:gd name="connsiteY58" fmla="*/ 109537 h 695341"/>
              <a:gd name="connsiteX59" fmla="*/ 359668 w 798069"/>
              <a:gd name="connsiteY59" fmla="*/ 147637 h 695341"/>
              <a:gd name="connsiteX60" fmla="*/ 364430 w 798069"/>
              <a:gd name="connsiteY60" fmla="*/ 157162 h 695341"/>
              <a:gd name="connsiteX61" fmla="*/ 371574 w 798069"/>
              <a:gd name="connsiteY61" fmla="*/ 159543 h 695341"/>
              <a:gd name="connsiteX62" fmla="*/ 414437 w 798069"/>
              <a:gd name="connsiteY62" fmla="*/ 157162 h 695341"/>
              <a:gd name="connsiteX63" fmla="*/ 428724 w 798069"/>
              <a:gd name="connsiteY63" fmla="*/ 150018 h 695341"/>
              <a:gd name="connsiteX64" fmla="*/ 435868 w 798069"/>
              <a:gd name="connsiteY64" fmla="*/ 128587 h 695341"/>
              <a:gd name="connsiteX65" fmla="*/ 440630 w 798069"/>
              <a:gd name="connsiteY65" fmla="*/ 119062 h 695341"/>
              <a:gd name="connsiteX66" fmla="*/ 450155 w 798069"/>
              <a:gd name="connsiteY66" fmla="*/ 121443 h 695341"/>
              <a:gd name="connsiteX67" fmla="*/ 464443 w 798069"/>
              <a:gd name="connsiteY67" fmla="*/ 114300 h 695341"/>
              <a:gd name="connsiteX68" fmla="*/ 478730 w 798069"/>
              <a:gd name="connsiteY68" fmla="*/ 107156 h 695341"/>
              <a:gd name="connsiteX69" fmla="*/ 490637 w 798069"/>
              <a:gd name="connsiteY69" fmla="*/ 95250 h 695341"/>
              <a:gd name="connsiteX70" fmla="*/ 493018 w 798069"/>
              <a:gd name="connsiteY70" fmla="*/ 78581 h 695341"/>
              <a:gd name="connsiteX71" fmla="*/ 495399 w 798069"/>
              <a:gd name="connsiteY71" fmla="*/ 71437 h 695341"/>
              <a:gd name="connsiteX72" fmla="*/ 502543 w 798069"/>
              <a:gd name="connsiteY72" fmla="*/ 45243 h 695341"/>
              <a:gd name="connsiteX73" fmla="*/ 512068 w 798069"/>
              <a:gd name="connsiteY73" fmla="*/ 0 h 695341"/>
              <a:gd name="connsiteX74" fmla="*/ 523974 w 798069"/>
              <a:gd name="connsiteY74" fmla="*/ 9525 h 695341"/>
              <a:gd name="connsiteX75" fmla="*/ 531118 w 798069"/>
              <a:gd name="connsiteY75" fmla="*/ 16668 h 695341"/>
              <a:gd name="connsiteX76" fmla="*/ 540643 w 798069"/>
              <a:gd name="connsiteY76" fmla="*/ 30956 h 695341"/>
              <a:gd name="connsiteX77" fmla="*/ 550168 w 798069"/>
              <a:gd name="connsiteY77" fmla="*/ 45243 h 695341"/>
              <a:gd name="connsiteX78" fmla="*/ 562074 w 798069"/>
              <a:gd name="connsiteY78" fmla="*/ 59531 h 695341"/>
              <a:gd name="connsiteX79" fmla="*/ 590649 w 798069"/>
              <a:gd name="connsiteY79" fmla="*/ 66675 h 695341"/>
              <a:gd name="connsiteX80" fmla="*/ 604937 w 798069"/>
              <a:gd name="connsiteY80" fmla="*/ 73818 h 695341"/>
              <a:gd name="connsiteX81" fmla="*/ 609699 w 798069"/>
              <a:gd name="connsiteY81" fmla="*/ 80962 h 695341"/>
              <a:gd name="connsiteX82" fmla="*/ 616843 w 798069"/>
              <a:gd name="connsiteY82" fmla="*/ 88106 h 695341"/>
              <a:gd name="connsiteX83" fmla="*/ 628749 w 798069"/>
              <a:gd name="connsiteY83" fmla="*/ 100012 h 695341"/>
              <a:gd name="connsiteX84" fmla="*/ 638274 w 798069"/>
              <a:gd name="connsiteY84" fmla="*/ 114300 h 695341"/>
              <a:gd name="connsiteX85" fmla="*/ 645418 w 798069"/>
              <a:gd name="connsiteY85" fmla="*/ 119062 h 695341"/>
              <a:gd name="connsiteX86" fmla="*/ 688280 w 798069"/>
              <a:gd name="connsiteY86" fmla="*/ 123825 h 695341"/>
              <a:gd name="connsiteX87" fmla="*/ 709712 w 798069"/>
              <a:gd name="connsiteY87" fmla="*/ 142875 h 695341"/>
              <a:gd name="connsiteX88" fmla="*/ 726380 w 798069"/>
              <a:gd name="connsiteY88" fmla="*/ 147637 h 695341"/>
              <a:gd name="connsiteX89" fmla="*/ 740668 w 798069"/>
              <a:gd name="connsiteY89" fmla="*/ 152400 h 695341"/>
              <a:gd name="connsiteX90" fmla="*/ 754955 w 798069"/>
              <a:gd name="connsiteY90" fmla="*/ 159543 h 695341"/>
              <a:gd name="connsiteX91" fmla="*/ 766862 w 798069"/>
              <a:gd name="connsiteY91" fmla="*/ 183356 h 695341"/>
              <a:gd name="connsiteX92" fmla="*/ 769243 w 798069"/>
              <a:gd name="connsiteY92" fmla="*/ 211931 h 695341"/>
              <a:gd name="connsiteX93" fmla="*/ 771624 w 798069"/>
              <a:gd name="connsiteY93" fmla="*/ 219075 h 695341"/>
              <a:gd name="connsiteX94" fmla="*/ 774005 w 798069"/>
              <a:gd name="connsiteY94" fmla="*/ 309562 h 695341"/>
              <a:gd name="connsiteX95" fmla="*/ 776387 w 798069"/>
              <a:gd name="connsiteY95" fmla="*/ 316706 h 695341"/>
              <a:gd name="connsiteX96" fmla="*/ 790674 w 798069"/>
              <a:gd name="connsiteY96" fmla="*/ 326231 h 695341"/>
              <a:gd name="connsiteX97" fmla="*/ 795437 w 798069"/>
              <a:gd name="connsiteY97" fmla="*/ 333375 h 695341"/>
              <a:gd name="connsiteX98" fmla="*/ 795437 w 798069"/>
              <a:gd name="connsiteY98" fmla="*/ 357187 h 695341"/>
              <a:gd name="connsiteX99" fmla="*/ 790674 w 798069"/>
              <a:gd name="connsiteY99" fmla="*/ 364331 h 695341"/>
              <a:gd name="connsiteX100" fmla="*/ 776387 w 798069"/>
              <a:gd name="connsiteY100" fmla="*/ 373856 h 695341"/>
              <a:gd name="connsiteX101" fmla="*/ 735906 w 798069"/>
              <a:gd name="connsiteY101" fmla="*/ 378619 h 695341"/>
              <a:gd name="connsiteX102" fmla="*/ 733524 w 798069"/>
              <a:gd name="connsiteY102" fmla="*/ 376237 h 695341"/>
              <a:gd name="connsiteX103" fmla="*/ 716855 w 798069"/>
              <a:gd name="connsiteY103" fmla="*/ 364331 h 695341"/>
              <a:gd name="connsiteX104" fmla="*/ 714474 w 798069"/>
              <a:gd name="connsiteY104" fmla="*/ 369093 h 695341"/>
              <a:gd name="connsiteX105" fmla="*/ 697805 w 798069"/>
              <a:gd name="connsiteY105" fmla="*/ 378618 h 695341"/>
              <a:gd name="connsiteX106" fmla="*/ 690662 w 798069"/>
              <a:gd name="connsiteY106" fmla="*/ 392906 h 695341"/>
              <a:gd name="connsiteX107" fmla="*/ 697805 w 798069"/>
              <a:gd name="connsiteY107" fmla="*/ 395287 h 695341"/>
              <a:gd name="connsiteX108" fmla="*/ 709712 w 798069"/>
              <a:gd name="connsiteY108" fmla="*/ 397668 h 695341"/>
              <a:gd name="connsiteX109" fmla="*/ 716855 w 798069"/>
              <a:gd name="connsiteY109" fmla="*/ 404812 h 695341"/>
              <a:gd name="connsiteX110" fmla="*/ 728762 w 798069"/>
              <a:gd name="connsiteY110" fmla="*/ 423862 h 695341"/>
              <a:gd name="connsiteX111" fmla="*/ 745430 w 798069"/>
              <a:gd name="connsiteY111" fmla="*/ 426243 h 695341"/>
              <a:gd name="connsiteX112" fmla="*/ 750193 w 798069"/>
              <a:gd name="connsiteY112" fmla="*/ 433387 h 695341"/>
              <a:gd name="connsiteX113" fmla="*/ 747812 w 798069"/>
              <a:gd name="connsiteY113" fmla="*/ 454818 h 695341"/>
              <a:gd name="connsiteX114" fmla="*/ 745430 w 798069"/>
              <a:gd name="connsiteY114" fmla="*/ 464343 h 695341"/>
              <a:gd name="connsiteX115" fmla="*/ 735905 w 798069"/>
              <a:gd name="connsiteY115" fmla="*/ 485775 h 695341"/>
              <a:gd name="connsiteX116" fmla="*/ 728762 w 798069"/>
              <a:gd name="connsiteY116" fmla="*/ 488156 h 695341"/>
              <a:gd name="connsiteX117" fmla="*/ 721618 w 798069"/>
              <a:gd name="connsiteY117" fmla="*/ 492918 h 695341"/>
              <a:gd name="connsiteX118" fmla="*/ 716855 w 798069"/>
              <a:gd name="connsiteY118" fmla="*/ 509587 h 695341"/>
              <a:gd name="connsiteX119" fmla="*/ 712093 w 798069"/>
              <a:gd name="connsiteY119" fmla="*/ 516731 h 695341"/>
              <a:gd name="connsiteX120" fmla="*/ 704949 w 798069"/>
              <a:gd name="connsiteY120" fmla="*/ 519112 h 695341"/>
              <a:gd name="connsiteX121" fmla="*/ 697805 w 798069"/>
              <a:gd name="connsiteY121" fmla="*/ 523875 h 695341"/>
              <a:gd name="connsiteX122" fmla="*/ 669230 w 798069"/>
              <a:gd name="connsiteY122" fmla="*/ 528637 h 695341"/>
              <a:gd name="connsiteX123" fmla="*/ 662087 w 798069"/>
              <a:gd name="connsiteY123" fmla="*/ 535781 h 695341"/>
              <a:gd name="connsiteX124" fmla="*/ 650180 w 798069"/>
              <a:gd name="connsiteY124" fmla="*/ 547687 h 695341"/>
              <a:gd name="connsiteX125" fmla="*/ 635893 w 798069"/>
              <a:gd name="connsiteY125" fmla="*/ 550068 h 695341"/>
              <a:gd name="connsiteX126" fmla="*/ 614462 w 798069"/>
              <a:gd name="connsiteY126" fmla="*/ 561975 h 695341"/>
              <a:gd name="connsiteX127" fmla="*/ 607318 w 798069"/>
              <a:gd name="connsiteY127" fmla="*/ 564356 h 695341"/>
              <a:gd name="connsiteX128" fmla="*/ 593030 w 798069"/>
              <a:gd name="connsiteY128" fmla="*/ 573881 h 695341"/>
              <a:gd name="connsiteX129" fmla="*/ 562074 w 798069"/>
              <a:gd name="connsiteY129" fmla="*/ 576262 h 695341"/>
              <a:gd name="connsiteX130" fmla="*/ 540643 w 798069"/>
              <a:gd name="connsiteY130" fmla="*/ 590550 h 695341"/>
              <a:gd name="connsiteX131" fmla="*/ 533499 w 798069"/>
              <a:gd name="connsiteY131" fmla="*/ 595312 h 695341"/>
              <a:gd name="connsiteX132" fmla="*/ 526355 w 798069"/>
              <a:gd name="connsiteY132" fmla="*/ 597693 h 695341"/>
              <a:gd name="connsiteX133" fmla="*/ 514449 w 798069"/>
              <a:gd name="connsiteY133" fmla="*/ 611981 h 695341"/>
              <a:gd name="connsiteX134" fmla="*/ 512068 w 798069"/>
              <a:gd name="connsiteY134" fmla="*/ 619125 h 695341"/>
              <a:gd name="connsiteX135" fmla="*/ 507305 w 798069"/>
              <a:gd name="connsiteY135" fmla="*/ 640556 h 695341"/>
              <a:gd name="connsiteX136" fmla="*/ 502543 w 798069"/>
              <a:gd name="connsiteY136" fmla="*/ 654843 h 695341"/>
              <a:gd name="connsiteX137" fmla="*/ 500162 w 798069"/>
              <a:gd name="connsiteY137" fmla="*/ 661987 h 695341"/>
              <a:gd name="connsiteX138" fmla="*/ 493018 w 798069"/>
              <a:gd name="connsiteY138" fmla="*/ 664368 h 695341"/>
              <a:gd name="connsiteX139" fmla="*/ 485874 w 798069"/>
              <a:gd name="connsiteY139" fmla="*/ 659606 h 695341"/>
              <a:gd name="connsiteX140" fmla="*/ 471587 w 798069"/>
              <a:gd name="connsiteY140" fmla="*/ 645318 h 695341"/>
              <a:gd name="connsiteX141" fmla="*/ 447774 w 798069"/>
              <a:gd name="connsiteY141" fmla="*/ 647700 h 695341"/>
              <a:gd name="connsiteX142" fmla="*/ 435868 w 798069"/>
              <a:gd name="connsiteY142" fmla="*/ 659606 h 695341"/>
              <a:gd name="connsiteX143" fmla="*/ 414437 w 798069"/>
              <a:gd name="connsiteY143" fmla="*/ 671512 h 695341"/>
              <a:gd name="connsiteX144" fmla="*/ 407293 w 798069"/>
              <a:gd name="connsiteY144" fmla="*/ 676275 h 695341"/>
              <a:gd name="connsiteX145" fmla="*/ 385862 w 798069"/>
              <a:gd name="connsiteY145" fmla="*/ 671512 h 695341"/>
              <a:gd name="connsiteX146" fmla="*/ 314424 w 798069"/>
              <a:gd name="connsiteY146" fmla="*/ 673893 h 695341"/>
              <a:gd name="connsiteX147" fmla="*/ 300137 w 798069"/>
              <a:gd name="connsiteY147" fmla="*/ 676275 h 695341"/>
              <a:gd name="connsiteX148" fmla="*/ 297755 w 798069"/>
              <a:gd name="connsiteY148" fmla="*/ 666750 h 695341"/>
              <a:gd name="connsiteX149" fmla="*/ 292993 w 798069"/>
              <a:gd name="connsiteY149" fmla="*/ 652462 h 695341"/>
              <a:gd name="connsiteX150" fmla="*/ 288230 w 798069"/>
              <a:gd name="connsiteY150" fmla="*/ 638175 h 695341"/>
              <a:gd name="connsiteX151" fmla="*/ 281087 w 798069"/>
              <a:gd name="connsiteY151" fmla="*/ 633412 h 695341"/>
              <a:gd name="connsiteX152" fmla="*/ 271562 w 798069"/>
              <a:gd name="connsiteY152" fmla="*/ 635793 h 695341"/>
              <a:gd name="connsiteX153" fmla="*/ 269180 w 798069"/>
              <a:gd name="connsiteY153" fmla="*/ 642937 h 695341"/>
              <a:gd name="connsiteX154" fmla="*/ 257274 w 798069"/>
              <a:gd name="connsiteY154" fmla="*/ 657225 h 695341"/>
              <a:gd name="connsiteX155" fmla="*/ 250130 w 798069"/>
              <a:gd name="connsiteY155" fmla="*/ 659606 h 695341"/>
              <a:gd name="connsiteX156" fmla="*/ 238224 w 798069"/>
              <a:gd name="connsiteY156" fmla="*/ 671512 h 695341"/>
              <a:gd name="connsiteX157" fmla="*/ 235843 w 798069"/>
              <a:gd name="connsiteY157" fmla="*/ 678656 h 695341"/>
              <a:gd name="connsiteX158" fmla="*/ 233462 w 798069"/>
              <a:gd name="connsiteY158" fmla="*/ 688181 h 695341"/>
              <a:gd name="connsiteX159" fmla="*/ 226318 w 798069"/>
              <a:gd name="connsiteY159" fmla="*/ 690562 h 695341"/>
              <a:gd name="connsiteX160" fmla="*/ 212030 w 798069"/>
              <a:gd name="connsiteY160" fmla="*/ 688181 h 695341"/>
              <a:gd name="connsiteX161" fmla="*/ 204887 w 798069"/>
              <a:gd name="connsiteY161" fmla="*/ 685800 h 695341"/>
              <a:gd name="connsiteX162" fmla="*/ 173930 w 798069"/>
              <a:gd name="connsiteY162" fmla="*/ 688181 h 695341"/>
              <a:gd name="connsiteX163" fmla="*/ 164405 w 798069"/>
              <a:gd name="connsiteY163" fmla="*/ 685800 h 695341"/>
              <a:gd name="connsiteX164" fmla="*/ 154880 w 798069"/>
              <a:gd name="connsiteY164" fmla="*/ 664368 h 695341"/>
              <a:gd name="connsiteX165" fmla="*/ 140593 w 798069"/>
              <a:gd name="connsiteY165" fmla="*/ 654843 h 695341"/>
              <a:gd name="connsiteX166" fmla="*/ 133449 w 798069"/>
              <a:gd name="connsiteY166" fmla="*/ 657225 h 695341"/>
              <a:gd name="connsiteX167" fmla="*/ 119162 w 798069"/>
              <a:gd name="connsiteY167" fmla="*/ 669131 h 695341"/>
              <a:gd name="connsiteX168" fmla="*/ 112018 w 798069"/>
              <a:gd name="connsiteY168" fmla="*/ 673893 h 695341"/>
              <a:gd name="connsiteX169" fmla="*/ 95349 w 798069"/>
              <a:gd name="connsiteY169" fmla="*/ 671512 h 695341"/>
              <a:gd name="connsiteX170" fmla="*/ 85824 w 798069"/>
              <a:gd name="connsiteY170" fmla="*/ 659606 h 695341"/>
              <a:gd name="connsiteX171" fmla="*/ 78680 w 798069"/>
              <a:gd name="connsiteY171" fmla="*/ 654843 h 695341"/>
              <a:gd name="connsiteX172" fmla="*/ 73918 w 798069"/>
              <a:gd name="connsiteY172" fmla="*/ 661987 h 695341"/>
              <a:gd name="connsiteX173" fmla="*/ 66774 w 798069"/>
              <a:gd name="connsiteY173" fmla="*/ 671512 h 695341"/>
              <a:gd name="connsiteX174" fmla="*/ 64393 w 798069"/>
              <a:gd name="connsiteY174" fmla="*/ 678656 h 695341"/>
              <a:gd name="connsiteX175" fmla="*/ 57249 w 798069"/>
              <a:gd name="connsiteY175" fmla="*/ 683418 h 695341"/>
              <a:gd name="connsiteX176" fmla="*/ 50105 w 798069"/>
              <a:gd name="connsiteY176" fmla="*/ 685800 h 695341"/>
              <a:gd name="connsiteX177" fmla="*/ 28674 w 798069"/>
              <a:gd name="connsiteY177" fmla="*/ 695325 h 6953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</a:cxnLst>
            <a:rect l="l" t="t" r="r" b="b"/>
            <a:pathLst>
              <a:path w="798069" h="695341">
                <a:moveTo>
                  <a:pt x="28674" y="695325"/>
                </a:moveTo>
                <a:cubicBezTo>
                  <a:pt x="25499" y="694928"/>
                  <a:pt x="31055" y="687466"/>
                  <a:pt x="31055" y="683418"/>
                </a:cubicBezTo>
                <a:cubicBezTo>
                  <a:pt x="31055" y="673799"/>
                  <a:pt x="26867" y="663708"/>
                  <a:pt x="23912" y="654843"/>
                </a:cubicBezTo>
                <a:cubicBezTo>
                  <a:pt x="23007" y="652128"/>
                  <a:pt x="20737" y="650081"/>
                  <a:pt x="19149" y="647700"/>
                </a:cubicBezTo>
                <a:lnTo>
                  <a:pt x="12005" y="626268"/>
                </a:lnTo>
                <a:lnTo>
                  <a:pt x="9624" y="619125"/>
                </a:lnTo>
                <a:cubicBezTo>
                  <a:pt x="10418" y="590550"/>
                  <a:pt x="9968" y="561913"/>
                  <a:pt x="12005" y="533400"/>
                </a:cubicBezTo>
                <a:cubicBezTo>
                  <a:pt x="12363" y="528392"/>
                  <a:pt x="13983" y="523289"/>
                  <a:pt x="16768" y="519112"/>
                </a:cubicBezTo>
                <a:lnTo>
                  <a:pt x="21530" y="511968"/>
                </a:lnTo>
                <a:cubicBezTo>
                  <a:pt x="20736" y="505618"/>
                  <a:pt x="21336" y="498932"/>
                  <a:pt x="19149" y="492918"/>
                </a:cubicBezTo>
                <a:cubicBezTo>
                  <a:pt x="17683" y="488887"/>
                  <a:pt x="8261" y="483279"/>
                  <a:pt x="4862" y="481012"/>
                </a:cubicBezTo>
                <a:cubicBezTo>
                  <a:pt x="3274" y="478631"/>
                  <a:pt x="504" y="476701"/>
                  <a:pt x="99" y="473868"/>
                </a:cubicBezTo>
                <a:cubicBezTo>
                  <a:pt x="-364" y="470628"/>
                  <a:pt x="856" y="467184"/>
                  <a:pt x="2480" y="464343"/>
                </a:cubicBezTo>
                <a:cubicBezTo>
                  <a:pt x="5923" y="458319"/>
                  <a:pt x="19994" y="450287"/>
                  <a:pt x="23912" y="447675"/>
                </a:cubicBezTo>
                <a:cubicBezTo>
                  <a:pt x="29516" y="443939"/>
                  <a:pt x="33437" y="438150"/>
                  <a:pt x="38199" y="433387"/>
                </a:cubicBezTo>
                <a:cubicBezTo>
                  <a:pt x="47365" y="424220"/>
                  <a:pt x="42542" y="428110"/>
                  <a:pt x="52487" y="421481"/>
                </a:cubicBezTo>
                <a:cubicBezTo>
                  <a:pt x="54074" y="419100"/>
                  <a:pt x="55969" y="416897"/>
                  <a:pt x="57249" y="414337"/>
                </a:cubicBezTo>
                <a:cubicBezTo>
                  <a:pt x="61080" y="406674"/>
                  <a:pt x="60781" y="395528"/>
                  <a:pt x="62012" y="388143"/>
                </a:cubicBezTo>
                <a:cubicBezTo>
                  <a:pt x="63212" y="380943"/>
                  <a:pt x="67037" y="370686"/>
                  <a:pt x="69155" y="364331"/>
                </a:cubicBezTo>
                <a:cubicBezTo>
                  <a:pt x="70060" y="361616"/>
                  <a:pt x="72330" y="359568"/>
                  <a:pt x="73918" y="357187"/>
                </a:cubicBezTo>
                <a:cubicBezTo>
                  <a:pt x="74712" y="354806"/>
                  <a:pt x="75176" y="352288"/>
                  <a:pt x="76299" y="350043"/>
                </a:cubicBezTo>
                <a:cubicBezTo>
                  <a:pt x="78165" y="346311"/>
                  <a:pt x="86416" y="335880"/>
                  <a:pt x="88205" y="333375"/>
                </a:cubicBezTo>
                <a:cubicBezTo>
                  <a:pt x="95420" y="323273"/>
                  <a:pt x="89722" y="328395"/>
                  <a:pt x="100112" y="321468"/>
                </a:cubicBezTo>
                <a:cubicBezTo>
                  <a:pt x="117131" y="295940"/>
                  <a:pt x="90625" y="334687"/>
                  <a:pt x="112018" y="307181"/>
                </a:cubicBezTo>
                <a:cubicBezTo>
                  <a:pt x="115532" y="302663"/>
                  <a:pt x="117495" y="296940"/>
                  <a:pt x="121543" y="292893"/>
                </a:cubicBezTo>
                <a:cubicBezTo>
                  <a:pt x="128113" y="286324"/>
                  <a:pt x="129027" y="286345"/>
                  <a:pt x="133449" y="278606"/>
                </a:cubicBezTo>
                <a:cubicBezTo>
                  <a:pt x="135210" y="275524"/>
                  <a:pt x="136386" y="272125"/>
                  <a:pt x="138212" y="269081"/>
                </a:cubicBezTo>
                <a:cubicBezTo>
                  <a:pt x="141157" y="264173"/>
                  <a:pt x="147737" y="254793"/>
                  <a:pt x="147737" y="254793"/>
                </a:cubicBezTo>
                <a:cubicBezTo>
                  <a:pt x="151928" y="242220"/>
                  <a:pt x="148726" y="249738"/>
                  <a:pt x="159643" y="233362"/>
                </a:cubicBezTo>
                <a:cubicBezTo>
                  <a:pt x="161612" y="230408"/>
                  <a:pt x="162644" y="226919"/>
                  <a:pt x="164405" y="223837"/>
                </a:cubicBezTo>
                <a:cubicBezTo>
                  <a:pt x="165825" y="221352"/>
                  <a:pt x="167580" y="219074"/>
                  <a:pt x="169168" y="216693"/>
                </a:cubicBezTo>
                <a:cubicBezTo>
                  <a:pt x="175153" y="198737"/>
                  <a:pt x="167078" y="220873"/>
                  <a:pt x="176312" y="202406"/>
                </a:cubicBezTo>
                <a:cubicBezTo>
                  <a:pt x="183205" y="188620"/>
                  <a:pt x="172293" y="201662"/>
                  <a:pt x="185837" y="188118"/>
                </a:cubicBezTo>
                <a:cubicBezTo>
                  <a:pt x="185043" y="180974"/>
                  <a:pt x="186220" y="173322"/>
                  <a:pt x="183455" y="166687"/>
                </a:cubicBezTo>
                <a:cubicBezTo>
                  <a:pt x="181928" y="163024"/>
                  <a:pt x="176736" y="162349"/>
                  <a:pt x="173930" y="159543"/>
                </a:cubicBezTo>
                <a:cubicBezTo>
                  <a:pt x="171907" y="157520"/>
                  <a:pt x="170755" y="154781"/>
                  <a:pt x="169168" y="152400"/>
                </a:cubicBezTo>
                <a:cubicBezTo>
                  <a:pt x="169962" y="143669"/>
                  <a:pt x="169712" y="134779"/>
                  <a:pt x="171549" y="126206"/>
                </a:cubicBezTo>
                <a:cubicBezTo>
                  <a:pt x="172149" y="123407"/>
                  <a:pt x="175032" y="121622"/>
                  <a:pt x="176312" y="119062"/>
                </a:cubicBezTo>
                <a:cubicBezTo>
                  <a:pt x="177435" y="116817"/>
                  <a:pt x="177571" y="114163"/>
                  <a:pt x="178693" y="111918"/>
                </a:cubicBezTo>
                <a:cubicBezTo>
                  <a:pt x="187929" y="93446"/>
                  <a:pt x="179847" y="115596"/>
                  <a:pt x="185837" y="97631"/>
                </a:cubicBezTo>
                <a:cubicBezTo>
                  <a:pt x="185043" y="93662"/>
                  <a:pt x="184876" y="89515"/>
                  <a:pt x="183455" y="85725"/>
                </a:cubicBezTo>
                <a:cubicBezTo>
                  <a:pt x="182450" y="83045"/>
                  <a:pt x="178952" y="81431"/>
                  <a:pt x="178693" y="78581"/>
                </a:cubicBezTo>
                <a:cubicBezTo>
                  <a:pt x="177213" y="62298"/>
                  <a:pt x="178654" y="59212"/>
                  <a:pt x="190599" y="52387"/>
                </a:cubicBezTo>
                <a:cubicBezTo>
                  <a:pt x="192778" y="51142"/>
                  <a:pt x="195362" y="50800"/>
                  <a:pt x="197743" y="50006"/>
                </a:cubicBezTo>
                <a:cubicBezTo>
                  <a:pt x="210491" y="41507"/>
                  <a:pt x="202863" y="47267"/>
                  <a:pt x="219174" y="30956"/>
                </a:cubicBezTo>
                <a:cubicBezTo>
                  <a:pt x="235048" y="15082"/>
                  <a:pt x="212034" y="31748"/>
                  <a:pt x="231080" y="19050"/>
                </a:cubicBezTo>
                <a:cubicBezTo>
                  <a:pt x="232668" y="16669"/>
                  <a:pt x="233186" y="12969"/>
                  <a:pt x="235843" y="11906"/>
                </a:cubicBezTo>
                <a:cubicBezTo>
                  <a:pt x="238174" y="10974"/>
                  <a:pt x="241212" y="12512"/>
                  <a:pt x="242987" y="14287"/>
                </a:cubicBezTo>
                <a:cubicBezTo>
                  <a:pt x="244125" y="15425"/>
                  <a:pt x="247728" y="30874"/>
                  <a:pt x="247749" y="30956"/>
                </a:cubicBezTo>
                <a:cubicBezTo>
                  <a:pt x="248543" y="46831"/>
                  <a:pt x="248753" y="62746"/>
                  <a:pt x="250130" y="78581"/>
                </a:cubicBezTo>
                <a:cubicBezTo>
                  <a:pt x="250347" y="81082"/>
                  <a:pt x="253306" y="76994"/>
                  <a:pt x="257275" y="78581"/>
                </a:cubicBezTo>
                <a:cubicBezTo>
                  <a:pt x="261244" y="80168"/>
                  <a:pt x="269974" y="84136"/>
                  <a:pt x="273943" y="88105"/>
                </a:cubicBezTo>
                <a:cubicBezTo>
                  <a:pt x="277912" y="92074"/>
                  <a:pt x="278706" y="99615"/>
                  <a:pt x="281087" y="102393"/>
                </a:cubicBezTo>
                <a:cubicBezTo>
                  <a:pt x="283468" y="105171"/>
                  <a:pt x="285849" y="103981"/>
                  <a:pt x="288230" y="104775"/>
                </a:cubicBezTo>
                <a:cubicBezTo>
                  <a:pt x="294580" y="103981"/>
                  <a:pt x="300955" y="103366"/>
                  <a:pt x="307280" y="102393"/>
                </a:cubicBezTo>
                <a:cubicBezTo>
                  <a:pt x="311281" y="101777"/>
                  <a:pt x="316012" y="101202"/>
                  <a:pt x="319187" y="100012"/>
                </a:cubicBezTo>
                <a:cubicBezTo>
                  <a:pt x="322362" y="98822"/>
                  <a:pt x="320774" y="94853"/>
                  <a:pt x="326330" y="95250"/>
                </a:cubicBezTo>
                <a:cubicBezTo>
                  <a:pt x="331886" y="95647"/>
                  <a:pt x="347762" y="101202"/>
                  <a:pt x="352524" y="102393"/>
                </a:cubicBezTo>
                <a:cubicBezTo>
                  <a:pt x="353318" y="104774"/>
                  <a:pt x="354594" y="107046"/>
                  <a:pt x="354905" y="109537"/>
                </a:cubicBezTo>
                <a:cubicBezTo>
                  <a:pt x="357007" y="126350"/>
                  <a:pt x="354129" y="134712"/>
                  <a:pt x="359668" y="147637"/>
                </a:cubicBezTo>
                <a:cubicBezTo>
                  <a:pt x="361066" y="150900"/>
                  <a:pt x="361920" y="154652"/>
                  <a:pt x="364430" y="157162"/>
                </a:cubicBezTo>
                <a:cubicBezTo>
                  <a:pt x="366205" y="158937"/>
                  <a:pt x="369193" y="158749"/>
                  <a:pt x="371574" y="159543"/>
                </a:cubicBezTo>
                <a:cubicBezTo>
                  <a:pt x="385862" y="158749"/>
                  <a:pt x="400192" y="158519"/>
                  <a:pt x="414437" y="157162"/>
                </a:cubicBezTo>
                <a:cubicBezTo>
                  <a:pt x="419288" y="156700"/>
                  <a:pt x="425152" y="154780"/>
                  <a:pt x="428724" y="150018"/>
                </a:cubicBezTo>
                <a:cubicBezTo>
                  <a:pt x="432296" y="145256"/>
                  <a:pt x="433884" y="133746"/>
                  <a:pt x="435868" y="128587"/>
                </a:cubicBezTo>
                <a:cubicBezTo>
                  <a:pt x="437852" y="123428"/>
                  <a:pt x="438249" y="120253"/>
                  <a:pt x="440630" y="119062"/>
                </a:cubicBezTo>
                <a:cubicBezTo>
                  <a:pt x="443011" y="117871"/>
                  <a:pt x="446186" y="122237"/>
                  <a:pt x="450155" y="121443"/>
                </a:cubicBezTo>
                <a:cubicBezTo>
                  <a:pt x="454124" y="120649"/>
                  <a:pt x="462062" y="115094"/>
                  <a:pt x="464443" y="114300"/>
                </a:cubicBezTo>
                <a:cubicBezTo>
                  <a:pt x="469205" y="115094"/>
                  <a:pt x="474364" y="110331"/>
                  <a:pt x="478730" y="107156"/>
                </a:cubicBezTo>
                <a:cubicBezTo>
                  <a:pt x="483096" y="103981"/>
                  <a:pt x="488155" y="102693"/>
                  <a:pt x="490637" y="95250"/>
                </a:cubicBezTo>
                <a:cubicBezTo>
                  <a:pt x="491431" y="89694"/>
                  <a:pt x="491917" y="84085"/>
                  <a:pt x="493018" y="78581"/>
                </a:cubicBezTo>
                <a:cubicBezTo>
                  <a:pt x="493510" y="76120"/>
                  <a:pt x="494739" y="73859"/>
                  <a:pt x="495399" y="71437"/>
                </a:cubicBezTo>
                <a:cubicBezTo>
                  <a:pt x="503456" y="41895"/>
                  <a:pt x="497063" y="61687"/>
                  <a:pt x="502543" y="45243"/>
                </a:cubicBezTo>
                <a:cubicBezTo>
                  <a:pt x="507660" y="4303"/>
                  <a:pt x="500204" y="17792"/>
                  <a:pt x="512068" y="0"/>
                </a:cubicBezTo>
                <a:cubicBezTo>
                  <a:pt x="523797" y="3909"/>
                  <a:pt x="515688" y="-418"/>
                  <a:pt x="523974" y="9525"/>
                </a:cubicBezTo>
                <a:cubicBezTo>
                  <a:pt x="526130" y="12112"/>
                  <a:pt x="529051" y="14010"/>
                  <a:pt x="531118" y="16668"/>
                </a:cubicBezTo>
                <a:cubicBezTo>
                  <a:pt x="534632" y="21186"/>
                  <a:pt x="537468" y="26193"/>
                  <a:pt x="540643" y="30956"/>
                </a:cubicBezTo>
                <a:lnTo>
                  <a:pt x="550168" y="45243"/>
                </a:lnTo>
                <a:cubicBezTo>
                  <a:pt x="554852" y="52269"/>
                  <a:pt x="553597" y="57477"/>
                  <a:pt x="562074" y="59531"/>
                </a:cubicBezTo>
                <a:cubicBezTo>
                  <a:pt x="573644" y="62335"/>
                  <a:pt x="573983" y="64823"/>
                  <a:pt x="590649" y="66675"/>
                </a:cubicBezTo>
                <a:cubicBezTo>
                  <a:pt x="596458" y="68611"/>
                  <a:pt x="600322" y="69203"/>
                  <a:pt x="604937" y="73818"/>
                </a:cubicBezTo>
                <a:cubicBezTo>
                  <a:pt x="606961" y="75842"/>
                  <a:pt x="607867" y="78763"/>
                  <a:pt x="609699" y="80962"/>
                </a:cubicBezTo>
                <a:cubicBezTo>
                  <a:pt x="611855" y="83549"/>
                  <a:pt x="614687" y="85519"/>
                  <a:pt x="616843" y="88106"/>
                </a:cubicBezTo>
                <a:cubicBezTo>
                  <a:pt x="626764" y="100012"/>
                  <a:pt x="615652" y="91282"/>
                  <a:pt x="628749" y="100012"/>
                </a:cubicBezTo>
                <a:lnTo>
                  <a:pt x="638274" y="114300"/>
                </a:lnTo>
                <a:cubicBezTo>
                  <a:pt x="639861" y="116681"/>
                  <a:pt x="642858" y="117782"/>
                  <a:pt x="645418" y="119062"/>
                </a:cubicBezTo>
                <a:cubicBezTo>
                  <a:pt x="656780" y="124742"/>
                  <a:pt x="683819" y="123528"/>
                  <a:pt x="688280" y="123825"/>
                </a:cubicBezTo>
                <a:cubicBezTo>
                  <a:pt x="694589" y="130134"/>
                  <a:pt x="701215" y="138626"/>
                  <a:pt x="709712" y="142875"/>
                </a:cubicBezTo>
                <a:cubicBezTo>
                  <a:pt x="713713" y="144876"/>
                  <a:pt x="722565" y="146492"/>
                  <a:pt x="726380" y="147637"/>
                </a:cubicBezTo>
                <a:cubicBezTo>
                  <a:pt x="731189" y="149080"/>
                  <a:pt x="736491" y="149615"/>
                  <a:pt x="740668" y="152400"/>
                </a:cubicBezTo>
                <a:cubicBezTo>
                  <a:pt x="749900" y="158554"/>
                  <a:pt x="745097" y="156257"/>
                  <a:pt x="754955" y="159543"/>
                </a:cubicBezTo>
                <a:cubicBezTo>
                  <a:pt x="766295" y="176554"/>
                  <a:pt x="763091" y="168278"/>
                  <a:pt x="766862" y="183356"/>
                </a:cubicBezTo>
                <a:cubicBezTo>
                  <a:pt x="767656" y="192881"/>
                  <a:pt x="767980" y="202457"/>
                  <a:pt x="769243" y="211931"/>
                </a:cubicBezTo>
                <a:cubicBezTo>
                  <a:pt x="769575" y="214419"/>
                  <a:pt x="771502" y="216568"/>
                  <a:pt x="771624" y="219075"/>
                </a:cubicBezTo>
                <a:cubicBezTo>
                  <a:pt x="773094" y="249212"/>
                  <a:pt x="772535" y="279425"/>
                  <a:pt x="774005" y="309562"/>
                </a:cubicBezTo>
                <a:cubicBezTo>
                  <a:pt x="774127" y="312069"/>
                  <a:pt x="774612" y="314931"/>
                  <a:pt x="776387" y="316706"/>
                </a:cubicBezTo>
                <a:cubicBezTo>
                  <a:pt x="780434" y="320753"/>
                  <a:pt x="790674" y="326231"/>
                  <a:pt x="790674" y="326231"/>
                </a:cubicBezTo>
                <a:cubicBezTo>
                  <a:pt x="792262" y="328612"/>
                  <a:pt x="794157" y="330815"/>
                  <a:pt x="795437" y="333375"/>
                </a:cubicBezTo>
                <a:cubicBezTo>
                  <a:pt x="799531" y="341562"/>
                  <a:pt x="798311" y="347606"/>
                  <a:pt x="795437" y="357187"/>
                </a:cubicBezTo>
                <a:cubicBezTo>
                  <a:pt x="794615" y="359928"/>
                  <a:pt x="792828" y="362446"/>
                  <a:pt x="790674" y="364331"/>
                </a:cubicBezTo>
                <a:cubicBezTo>
                  <a:pt x="786367" y="368100"/>
                  <a:pt x="785515" y="371475"/>
                  <a:pt x="776387" y="373856"/>
                </a:cubicBezTo>
                <a:cubicBezTo>
                  <a:pt x="767259" y="376237"/>
                  <a:pt x="743050" y="378222"/>
                  <a:pt x="735906" y="378619"/>
                </a:cubicBezTo>
                <a:cubicBezTo>
                  <a:pt x="728762" y="379016"/>
                  <a:pt x="736699" y="378618"/>
                  <a:pt x="733524" y="376237"/>
                </a:cubicBezTo>
                <a:cubicBezTo>
                  <a:pt x="730349" y="373856"/>
                  <a:pt x="720030" y="365522"/>
                  <a:pt x="716855" y="364331"/>
                </a:cubicBezTo>
                <a:cubicBezTo>
                  <a:pt x="713680" y="363140"/>
                  <a:pt x="717649" y="366712"/>
                  <a:pt x="714474" y="369093"/>
                </a:cubicBezTo>
                <a:cubicBezTo>
                  <a:pt x="711299" y="371474"/>
                  <a:pt x="701774" y="374649"/>
                  <a:pt x="697805" y="378618"/>
                </a:cubicBezTo>
                <a:cubicBezTo>
                  <a:pt x="693836" y="382587"/>
                  <a:pt x="696643" y="374959"/>
                  <a:pt x="690662" y="392906"/>
                </a:cubicBezTo>
                <a:cubicBezTo>
                  <a:pt x="693043" y="393700"/>
                  <a:pt x="695370" y="394678"/>
                  <a:pt x="697805" y="395287"/>
                </a:cubicBezTo>
                <a:cubicBezTo>
                  <a:pt x="701732" y="396269"/>
                  <a:pt x="706092" y="395858"/>
                  <a:pt x="709712" y="397668"/>
                </a:cubicBezTo>
                <a:cubicBezTo>
                  <a:pt x="712724" y="399174"/>
                  <a:pt x="714474" y="402431"/>
                  <a:pt x="716855" y="404812"/>
                </a:cubicBezTo>
                <a:cubicBezTo>
                  <a:pt x="719826" y="413725"/>
                  <a:pt x="718978" y="420927"/>
                  <a:pt x="728762" y="423862"/>
                </a:cubicBezTo>
                <a:cubicBezTo>
                  <a:pt x="734138" y="425475"/>
                  <a:pt x="739874" y="425449"/>
                  <a:pt x="745430" y="426243"/>
                </a:cubicBezTo>
                <a:cubicBezTo>
                  <a:pt x="747018" y="428624"/>
                  <a:pt x="749955" y="430535"/>
                  <a:pt x="750193" y="433387"/>
                </a:cubicBezTo>
                <a:cubicBezTo>
                  <a:pt x="750790" y="440550"/>
                  <a:pt x="748905" y="447714"/>
                  <a:pt x="747812" y="454818"/>
                </a:cubicBezTo>
                <a:cubicBezTo>
                  <a:pt x="747314" y="458053"/>
                  <a:pt x="746370" y="461208"/>
                  <a:pt x="745430" y="464343"/>
                </a:cubicBezTo>
                <a:cubicBezTo>
                  <a:pt x="744165" y="468558"/>
                  <a:pt x="740943" y="481744"/>
                  <a:pt x="735905" y="485775"/>
                </a:cubicBezTo>
                <a:cubicBezTo>
                  <a:pt x="733945" y="487343"/>
                  <a:pt x="731007" y="487034"/>
                  <a:pt x="728762" y="488156"/>
                </a:cubicBezTo>
                <a:cubicBezTo>
                  <a:pt x="726202" y="489436"/>
                  <a:pt x="723999" y="491331"/>
                  <a:pt x="721618" y="492918"/>
                </a:cubicBezTo>
                <a:cubicBezTo>
                  <a:pt x="720853" y="495976"/>
                  <a:pt x="718565" y="506166"/>
                  <a:pt x="716855" y="509587"/>
                </a:cubicBezTo>
                <a:cubicBezTo>
                  <a:pt x="715575" y="512147"/>
                  <a:pt x="714328" y="514943"/>
                  <a:pt x="712093" y="516731"/>
                </a:cubicBezTo>
                <a:cubicBezTo>
                  <a:pt x="710133" y="518299"/>
                  <a:pt x="707330" y="518318"/>
                  <a:pt x="704949" y="519112"/>
                </a:cubicBezTo>
                <a:cubicBezTo>
                  <a:pt x="702568" y="520700"/>
                  <a:pt x="700365" y="522595"/>
                  <a:pt x="697805" y="523875"/>
                </a:cubicBezTo>
                <a:cubicBezTo>
                  <a:pt x="689827" y="527864"/>
                  <a:pt x="676018" y="527883"/>
                  <a:pt x="669230" y="528637"/>
                </a:cubicBezTo>
                <a:cubicBezTo>
                  <a:pt x="666849" y="531018"/>
                  <a:pt x="664243" y="533194"/>
                  <a:pt x="662087" y="535781"/>
                </a:cubicBezTo>
                <a:cubicBezTo>
                  <a:pt x="657202" y="541643"/>
                  <a:pt x="658240" y="545001"/>
                  <a:pt x="650180" y="547687"/>
                </a:cubicBezTo>
                <a:cubicBezTo>
                  <a:pt x="645600" y="549214"/>
                  <a:pt x="640655" y="549274"/>
                  <a:pt x="635893" y="550068"/>
                </a:cubicBezTo>
                <a:cubicBezTo>
                  <a:pt x="602464" y="561212"/>
                  <a:pt x="635851" y="547715"/>
                  <a:pt x="614462" y="561975"/>
                </a:cubicBezTo>
                <a:cubicBezTo>
                  <a:pt x="612373" y="563367"/>
                  <a:pt x="609512" y="563137"/>
                  <a:pt x="607318" y="564356"/>
                </a:cubicBezTo>
                <a:cubicBezTo>
                  <a:pt x="602314" y="567136"/>
                  <a:pt x="597793" y="570706"/>
                  <a:pt x="593030" y="573881"/>
                </a:cubicBezTo>
                <a:cubicBezTo>
                  <a:pt x="584419" y="579622"/>
                  <a:pt x="572393" y="575468"/>
                  <a:pt x="562074" y="576262"/>
                </a:cubicBezTo>
                <a:lnTo>
                  <a:pt x="540643" y="590550"/>
                </a:lnTo>
                <a:cubicBezTo>
                  <a:pt x="538262" y="592137"/>
                  <a:pt x="536214" y="594407"/>
                  <a:pt x="533499" y="595312"/>
                </a:cubicBezTo>
                <a:lnTo>
                  <a:pt x="526355" y="597693"/>
                </a:lnTo>
                <a:cubicBezTo>
                  <a:pt x="521091" y="602958"/>
                  <a:pt x="517763" y="605352"/>
                  <a:pt x="514449" y="611981"/>
                </a:cubicBezTo>
                <a:cubicBezTo>
                  <a:pt x="513326" y="614226"/>
                  <a:pt x="512677" y="616690"/>
                  <a:pt x="512068" y="619125"/>
                </a:cubicBezTo>
                <a:cubicBezTo>
                  <a:pt x="508665" y="632740"/>
                  <a:pt x="510977" y="628318"/>
                  <a:pt x="507305" y="640556"/>
                </a:cubicBezTo>
                <a:cubicBezTo>
                  <a:pt x="505862" y="645364"/>
                  <a:pt x="504130" y="650081"/>
                  <a:pt x="502543" y="654843"/>
                </a:cubicBezTo>
                <a:cubicBezTo>
                  <a:pt x="501749" y="657224"/>
                  <a:pt x="502543" y="661193"/>
                  <a:pt x="500162" y="661987"/>
                </a:cubicBezTo>
                <a:lnTo>
                  <a:pt x="493018" y="664368"/>
                </a:lnTo>
                <a:cubicBezTo>
                  <a:pt x="490637" y="662781"/>
                  <a:pt x="488013" y="661507"/>
                  <a:pt x="485874" y="659606"/>
                </a:cubicBezTo>
                <a:cubicBezTo>
                  <a:pt x="480840" y="655131"/>
                  <a:pt x="471587" y="645318"/>
                  <a:pt x="471587" y="645318"/>
                </a:cubicBezTo>
                <a:cubicBezTo>
                  <a:pt x="463649" y="646112"/>
                  <a:pt x="455547" y="645906"/>
                  <a:pt x="447774" y="647700"/>
                </a:cubicBezTo>
                <a:cubicBezTo>
                  <a:pt x="438531" y="649833"/>
                  <a:pt x="441935" y="654297"/>
                  <a:pt x="435868" y="659606"/>
                </a:cubicBezTo>
                <a:cubicBezTo>
                  <a:pt x="425791" y="668423"/>
                  <a:pt x="424248" y="668242"/>
                  <a:pt x="414437" y="671512"/>
                </a:cubicBezTo>
                <a:cubicBezTo>
                  <a:pt x="412056" y="673100"/>
                  <a:pt x="410138" y="675959"/>
                  <a:pt x="407293" y="676275"/>
                </a:cubicBezTo>
                <a:cubicBezTo>
                  <a:pt x="401008" y="676973"/>
                  <a:pt x="392139" y="673604"/>
                  <a:pt x="385862" y="671512"/>
                </a:cubicBezTo>
                <a:cubicBezTo>
                  <a:pt x="362049" y="672306"/>
                  <a:pt x="338152" y="671736"/>
                  <a:pt x="314424" y="673893"/>
                </a:cubicBezTo>
                <a:cubicBezTo>
                  <a:pt x="292661" y="675871"/>
                  <a:pt x="320983" y="683224"/>
                  <a:pt x="300137" y="676275"/>
                </a:cubicBezTo>
                <a:cubicBezTo>
                  <a:pt x="299343" y="673100"/>
                  <a:pt x="298695" y="669885"/>
                  <a:pt x="297755" y="666750"/>
                </a:cubicBezTo>
                <a:cubicBezTo>
                  <a:pt x="296312" y="661942"/>
                  <a:pt x="294580" y="657225"/>
                  <a:pt x="292993" y="652462"/>
                </a:cubicBezTo>
                <a:lnTo>
                  <a:pt x="288230" y="638175"/>
                </a:lnTo>
                <a:cubicBezTo>
                  <a:pt x="287325" y="635460"/>
                  <a:pt x="283468" y="635000"/>
                  <a:pt x="281087" y="633412"/>
                </a:cubicBezTo>
                <a:cubicBezTo>
                  <a:pt x="277912" y="634206"/>
                  <a:pt x="274118" y="633749"/>
                  <a:pt x="271562" y="635793"/>
                </a:cubicBezTo>
                <a:cubicBezTo>
                  <a:pt x="269602" y="637361"/>
                  <a:pt x="270303" y="640692"/>
                  <a:pt x="269180" y="642937"/>
                </a:cubicBezTo>
                <a:cubicBezTo>
                  <a:pt x="266983" y="647331"/>
                  <a:pt x="261225" y="654591"/>
                  <a:pt x="257274" y="657225"/>
                </a:cubicBezTo>
                <a:cubicBezTo>
                  <a:pt x="255185" y="658617"/>
                  <a:pt x="252511" y="658812"/>
                  <a:pt x="250130" y="659606"/>
                </a:cubicBezTo>
                <a:cubicBezTo>
                  <a:pt x="242987" y="664368"/>
                  <a:pt x="242193" y="663575"/>
                  <a:pt x="238224" y="671512"/>
                </a:cubicBezTo>
                <a:cubicBezTo>
                  <a:pt x="237101" y="673757"/>
                  <a:pt x="236533" y="676242"/>
                  <a:pt x="235843" y="678656"/>
                </a:cubicBezTo>
                <a:cubicBezTo>
                  <a:pt x="234944" y="681803"/>
                  <a:pt x="235506" y="685625"/>
                  <a:pt x="233462" y="688181"/>
                </a:cubicBezTo>
                <a:cubicBezTo>
                  <a:pt x="231894" y="690141"/>
                  <a:pt x="228699" y="689768"/>
                  <a:pt x="226318" y="690562"/>
                </a:cubicBezTo>
                <a:cubicBezTo>
                  <a:pt x="221555" y="689768"/>
                  <a:pt x="216743" y="689228"/>
                  <a:pt x="212030" y="688181"/>
                </a:cubicBezTo>
                <a:cubicBezTo>
                  <a:pt x="209580" y="687637"/>
                  <a:pt x="207397" y="685800"/>
                  <a:pt x="204887" y="685800"/>
                </a:cubicBezTo>
                <a:cubicBezTo>
                  <a:pt x="194538" y="685800"/>
                  <a:pt x="184249" y="687387"/>
                  <a:pt x="173930" y="688181"/>
                </a:cubicBezTo>
                <a:cubicBezTo>
                  <a:pt x="170755" y="687387"/>
                  <a:pt x="167128" y="687615"/>
                  <a:pt x="164405" y="685800"/>
                </a:cubicBezTo>
                <a:cubicBezTo>
                  <a:pt x="156344" y="680426"/>
                  <a:pt x="161450" y="670938"/>
                  <a:pt x="154880" y="664368"/>
                </a:cubicBezTo>
                <a:cubicBezTo>
                  <a:pt x="145962" y="655450"/>
                  <a:pt x="150931" y="658290"/>
                  <a:pt x="140593" y="654843"/>
                </a:cubicBezTo>
                <a:cubicBezTo>
                  <a:pt x="138212" y="655637"/>
                  <a:pt x="135694" y="656102"/>
                  <a:pt x="133449" y="657225"/>
                </a:cubicBezTo>
                <a:cubicBezTo>
                  <a:pt x="124575" y="661662"/>
                  <a:pt x="127067" y="662543"/>
                  <a:pt x="119162" y="669131"/>
                </a:cubicBezTo>
                <a:cubicBezTo>
                  <a:pt x="116963" y="670963"/>
                  <a:pt x="114399" y="672306"/>
                  <a:pt x="112018" y="673893"/>
                </a:cubicBezTo>
                <a:cubicBezTo>
                  <a:pt x="106462" y="673099"/>
                  <a:pt x="100725" y="673125"/>
                  <a:pt x="95349" y="671512"/>
                </a:cubicBezTo>
                <a:cubicBezTo>
                  <a:pt x="82777" y="667741"/>
                  <a:pt x="92039" y="667375"/>
                  <a:pt x="85824" y="659606"/>
                </a:cubicBezTo>
                <a:cubicBezTo>
                  <a:pt x="84036" y="657371"/>
                  <a:pt x="81061" y="656431"/>
                  <a:pt x="78680" y="654843"/>
                </a:cubicBezTo>
                <a:cubicBezTo>
                  <a:pt x="77093" y="657224"/>
                  <a:pt x="75581" y="659658"/>
                  <a:pt x="73918" y="661987"/>
                </a:cubicBezTo>
                <a:cubicBezTo>
                  <a:pt x="71611" y="665217"/>
                  <a:pt x="68743" y="668066"/>
                  <a:pt x="66774" y="671512"/>
                </a:cubicBezTo>
                <a:cubicBezTo>
                  <a:pt x="65529" y="673691"/>
                  <a:pt x="65961" y="676696"/>
                  <a:pt x="64393" y="678656"/>
                </a:cubicBezTo>
                <a:cubicBezTo>
                  <a:pt x="62605" y="680891"/>
                  <a:pt x="59809" y="682138"/>
                  <a:pt x="57249" y="683418"/>
                </a:cubicBezTo>
                <a:cubicBezTo>
                  <a:pt x="55004" y="684541"/>
                  <a:pt x="52519" y="685110"/>
                  <a:pt x="50105" y="685800"/>
                </a:cubicBezTo>
                <a:cubicBezTo>
                  <a:pt x="39751" y="688758"/>
                  <a:pt x="31849" y="695722"/>
                  <a:pt x="28674" y="695325"/>
                </a:cubicBezTo>
                <a:close/>
              </a:path>
            </a:pathLst>
          </a:custGeom>
          <a:solidFill>
            <a:srgbClr val="FDECDF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srgbClr val="182F41"/>
              </a:solidFill>
            </a:endParaRPr>
          </a:p>
        </p:txBody>
      </p:sp>
      <p:sp>
        <p:nvSpPr>
          <p:cNvPr id="13" name="Forme libre 118">
            <a:extLst>
              <a:ext uri="{FF2B5EF4-FFF2-40B4-BE49-F238E27FC236}">
                <a16:creationId xmlns:a16="http://schemas.microsoft.com/office/drawing/2014/main" id="{322308A1-EB3C-4EA5-964A-83C28728BA2F}"/>
              </a:ext>
            </a:extLst>
          </p:cNvPr>
          <p:cNvSpPr/>
          <p:nvPr/>
        </p:nvSpPr>
        <p:spPr>
          <a:xfrm>
            <a:off x="3013075" y="2278036"/>
            <a:ext cx="1246188" cy="1347002"/>
          </a:xfrm>
          <a:custGeom>
            <a:avLst/>
            <a:gdLst>
              <a:gd name="connsiteX0" fmla="*/ 1258866 w 1260819"/>
              <a:gd name="connsiteY0" fmla="*/ 491646 h 1283918"/>
              <a:gd name="connsiteX1" fmla="*/ 1255734 w 1260819"/>
              <a:gd name="connsiteY1" fmla="*/ 507304 h 1283918"/>
              <a:gd name="connsiteX2" fmla="*/ 1246340 w 1260819"/>
              <a:gd name="connsiteY2" fmla="*/ 510435 h 1283918"/>
              <a:gd name="connsiteX3" fmla="*/ 1205630 w 1260819"/>
              <a:gd name="connsiteY3" fmla="*/ 507304 h 1283918"/>
              <a:gd name="connsiteX4" fmla="*/ 1196236 w 1260819"/>
              <a:gd name="connsiteY4" fmla="*/ 510435 h 1283918"/>
              <a:gd name="connsiteX5" fmla="*/ 1193104 w 1260819"/>
              <a:gd name="connsiteY5" fmla="*/ 522962 h 1283918"/>
              <a:gd name="connsiteX6" fmla="*/ 1189973 w 1260819"/>
              <a:gd name="connsiteY6" fmla="*/ 532356 h 1283918"/>
              <a:gd name="connsiteX7" fmla="*/ 1180578 w 1260819"/>
              <a:gd name="connsiteY7" fmla="*/ 538619 h 1283918"/>
              <a:gd name="connsiteX8" fmla="*/ 1171184 w 1260819"/>
              <a:gd name="connsiteY8" fmla="*/ 548014 h 1283918"/>
              <a:gd name="connsiteX9" fmla="*/ 1161789 w 1260819"/>
              <a:gd name="connsiteY9" fmla="*/ 554277 h 1283918"/>
              <a:gd name="connsiteX10" fmla="*/ 1143000 w 1260819"/>
              <a:gd name="connsiteY10" fmla="*/ 560540 h 1283918"/>
              <a:gd name="connsiteX11" fmla="*/ 1117948 w 1260819"/>
              <a:gd name="connsiteY11" fmla="*/ 557408 h 1283918"/>
              <a:gd name="connsiteX12" fmla="*/ 1108553 w 1260819"/>
              <a:gd name="connsiteY12" fmla="*/ 551145 h 1283918"/>
              <a:gd name="connsiteX13" fmla="*/ 1105422 w 1260819"/>
              <a:gd name="connsiteY13" fmla="*/ 560540 h 1283918"/>
              <a:gd name="connsiteX14" fmla="*/ 1102290 w 1260819"/>
              <a:gd name="connsiteY14" fmla="*/ 594986 h 1283918"/>
              <a:gd name="connsiteX15" fmla="*/ 1092896 w 1260819"/>
              <a:gd name="connsiteY15" fmla="*/ 601249 h 1283918"/>
              <a:gd name="connsiteX16" fmla="*/ 1074107 w 1260819"/>
              <a:gd name="connsiteY16" fmla="*/ 610644 h 1283918"/>
              <a:gd name="connsiteX17" fmla="*/ 1070975 w 1260819"/>
              <a:gd name="connsiteY17" fmla="*/ 663879 h 1283918"/>
              <a:gd name="connsiteX18" fmla="*/ 1067844 w 1260819"/>
              <a:gd name="connsiteY18" fmla="*/ 673274 h 1283918"/>
              <a:gd name="connsiteX19" fmla="*/ 1092896 w 1260819"/>
              <a:gd name="connsiteY19" fmla="*/ 682668 h 1283918"/>
              <a:gd name="connsiteX20" fmla="*/ 1096027 w 1260819"/>
              <a:gd name="connsiteY20" fmla="*/ 692063 h 1283918"/>
              <a:gd name="connsiteX21" fmla="*/ 1117948 w 1260819"/>
              <a:gd name="connsiteY21" fmla="*/ 701457 h 1283918"/>
              <a:gd name="connsiteX22" fmla="*/ 1127342 w 1260819"/>
              <a:gd name="connsiteY22" fmla="*/ 720246 h 1283918"/>
              <a:gd name="connsiteX23" fmla="*/ 1139868 w 1260819"/>
              <a:gd name="connsiteY23" fmla="*/ 723378 h 1283918"/>
              <a:gd name="connsiteX24" fmla="*/ 1146131 w 1260819"/>
              <a:gd name="connsiteY24" fmla="*/ 732772 h 1283918"/>
              <a:gd name="connsiteX25" fmla="*/ 1136737 w 1260819"/>
              <a:gd name="connsiteY25" fmla="*/ 751562 h 1283918"/>
              <a:gd name="connsiteX26" fmla="*/ 1127342 w 1260819"/>
              <a:gd name="connsiteY26" fmla="*/ 770351 h 1283918"/>
              <a:gd name="connsiteX27" fmla="*/ 1117948 w 1260819"/>
              <a:gd name="connsiteY27" fmla="*/ 789140 h 1283918"/>
              <a:gd name="connsiteX28" fmla="*/ 1108553 w 1260819"/>
              <a:gd name="connsiteY28" fmla="*/ 807929 h 1283918"/>
              <a:gd name="connsiteX29" fmla="*/ 1092896 w 1260819"/>
              <a:gd name="connsiteY29" fmla="*/ 836112 h 1283918"/>
              <a:gd name="connsiteX30" fmla="*/ 1074107 w 1260819"/>
              <a:gd name="connsiteY30" fmla="*/ 851770 h 1283918"/>
              <a:gd name="connsiteX31" fmla="*/ 1070975 w 1260819"/>
              <a:gd name="connsiteY31" fmla="*/ 867427 h 1283918"/>
              <a:gd name="connsiteX32" fmla="*/ 1067844 w 1260819"/>
              <a:gd name="connsiteY32" fmla="*/ 876822 h 1283918"/>
              <a:gd name="connsiteX33" fmla="*/ 1039660 w 1260819"/>
              <a:gd name="connsiteY33" fmla="*/ 879953 h 1283918"/>
              <a:gd name="connsiteX34" fmla="*/ 1011477 w 1260819"/>
              <a:gd name="connsiteY34" fmla="*/ 886216 h 1283918"/>
              <a:gd name="connsiteX35" fmla="*/ 1002082 w 1260819"/>
              <a:gd name="connsiteY35" fmla="*/ 892479 h 1283918"/>
              <a:gd name="connsiteX36" fmla="*/ 992688 w 1260819"/>
              <a:gd name="connsiteY36" fmla="*/ 895611 h 1283918"/>
              <a:gd name="connsiteX37" fmla="*/ 980162 w 1260819"/>
              <a:gd name="connsiteY37" fmla="*/ 901874 h 1283918"/>
              <a:gd name="connsiteX38" fmla="*/ 970767 w 1260819"/>
              <a:gd name="connsiteY38" fmla="*/ 908137 h 1283918"/>
              <a:gd name="connsiteX39" fmla="*/ 958241 w 1260819"/>
              <a:gd name="connsiteY39" fmla="*/ 911268 h 1283918"/>
              <a:gd name="connsiteX40" fmla="*/ 948847 w 1260819"/>
              <a:gd name="connsiteY40" fmla="*/ 914400 h 1283918"/>
              <a:gd name="connsiteX41" fmla="*/ 936321 w 1260819"/>
              <a:gd name="connsiteY41" fmla="*/ 917531 h 1283918"/>
              <a:gd name="connsiteX42" fmla="*/ 905005 w 1260819"/>
              <a:gd name="connsiteY42" fmla="*/ 930057 h 1283918"/>
              <a:gd name="connsiteX43" fmla="*/ 886216 w 1260819"/>
              <a:gd name="connsiteY43" fmla="*/ 936320 h 1283918"/>
              <a:gd name="connsiteX44" fmla="*/ 867427 w 1260819"/>
              <a:gd name="connsiteY44" fmla="*/ 955109 h 1283918"/>
              <a:gd name="connsiteX45" fmla="*/ 851770 w 1260819"/>
              <a:gd name="connsiteY45" fmla="*/ 973899 h 1283918"/>
              <a:gd name="connsiteX46" fmla="*/ 842375 w 1260819"/>
              <a:gd name="connsiteY46" fmla="*/ 980162 h 1283918"/>
              <a:gd name="connsiteX47" fmla="*/ 823586 w 1260819"/>
              <a:gd name="connsiteY47" fmla="*/ 992688 h 1283918"/>
              <a:gd name="connsiteX48" fmla="*/ 804797 w 1260819"/>
              <a:gd name="connsiteY48" fmla="*/ 1011477 h 1283918"/>
              <a:gd name="connsiteX49" fmla="*/ 795403 w 1260819"/>
              <a:gd name="connsiteY49" fmla="*/ 1017740 h 1283918"/>
              <a:gd name="connsiteX50" fmla="*/ 776614 w 1260819"/>
              <a:gd name="connsiteY50" fmla="*/ 1036529 h 1283918"/>
              <a:gd name="connsiteX51" fmla="*/ 767219 w 1260819"/>
              <a:gd name="connsiteY51" fmla="*/ 1045923 h 1283918"/>
              <a:gd name="connsiteX52" fmla="*/ 739036 w 1260819"/>
              <a:gd name="connsiteY52" fmla="*/ 1064712 h 1283918"/>
              <a:gd name="connsiteX53" fmla="*/ 720247 w 1260819"/>
              <a:gd name="connsiteY53" fmla="*/ 1083501 h 1283918"/>
              <a:gd name="connsiteX54" fmla="*/ 701458 w 1260819"/>
              <a:gd name="connsiteY54" fmla="*/ 1096027 h 1283918"/>
              <a:gd name="connsiteX55" fmla="*/ 695195 w 1260819"/>
              <a:gd name="connsiteY55" fmla="*/ 1105422 h 1283918"/>
              <a:gd name="connsiteX56" fmla="*/ 688931 w 1260819"/>
              <a:gd name="connsiteY56" fmla="*/ 1111685 h 1283918"/>
              <a:gd name="connsiteX57" fmla="*/ 679537 w 1260819"/>
              <a:gd name="connsiteY57" fmla="*/ 1130474 h 1283918"/>
              <a:gd name="connsiteX58" fmla="*/ 657616 w 1260819"/>
              <a:gd name="connsiteY58" fmla="*/ 1139868 h 1283918"/>
              <a:gd name="connsiteX59" fmla="*/ 645090 w 1260819"/>
              <a:gd name="connsiteY59" fmla="*/ 1158657 h 1283918"/>
              <a:gd name="connsiteX60" fmla="*/ 638827 w 1260819"/>
              <a:gd name="connsiteY60" fmla="*/ 1168052 h 1283918"/>
              <a:gd name="connsiteX61" fmla="*/ 632564 w 1260819"/>
              <a:gd name="connsiteY61" fmla="*/ 1186841 h 1283918"/>
              <a:gd name="connsiteX62" fmla="*/ 629433 w 1260819"/>
              <a:gd name="connsiteY62" fmla="*/ 1202499 h 1283918"/>
              <a:gd name="connsiteX63" fmla="*/ 623170 w 1260819"/>
              <a:gd name="connsiteY63" fmla="*/ 1221288 h 1283918"/>
              <a:gd name="connsiteX64" fmla="*/ 610644 w 1260819"/>
              <a:gd name="connsiteY64" fmla="*/ 1240077 h 1283918"/>
              <a:gd name="connsiteX65" fmla="*/ 601249 w 1260819"/>
              <a:gd name="connsiteY65" fmla="*/ 1258866 h 1283918"/>
              <a:gd name="connsiteX66" fmla="*/ 585592 w 1260819"/>
              <a:gd name="connsiteY66" fmla="*/ 1283918 h 1283918"/>
              <a:gd name="connsiteX67" fmla="*/ 563671 w 1260819"/>
              <a:gd name="connsiteY67" fmla="*/ 1280786 h 1283918"/>
              <a:gd name="connsiteX68" fmla="*/ 557408 w 1260819"/>
              <a:gd name="connsiteY68" fmla="*/ 1271392 h 1283918"/>
              <a:gd name="connsiteX69" fmla="*/ 548014 w 1260819"/>
              <a:gd name="connsiteY69" fmla="*/ 1265129 h 1283918"/>
              <a:gd name="connsiteX70" fmla="*/ 541751 w 1260819"/>
              <a:gd name="connsiteY70" fmla="*/ 1255734 h 1283918"/>
              <a:gd name="connsiteX71" fmla="*/ 529225 w 1260819"/>
              <a:gd name="connsiteY71" fmla="*/ 1246340 h 1283918"/>
              <a:gd name="connsiteX72" fmla="*/ 522962 w 1260819"/>
              <a:gd name="connsiteY72" fmla="*/ 1255734 h 1283918"/>
              <a:gd name="connsiteX73" fmla="*/ 507304 w 1260819"/>
              <a:gd name="connsiteY73" fmla="*/ 1258866 h 1283918"/>
              <a:gd name="connsiteX74" fmla="*/ 469726 w 1260819"/>
              <a:gd name="connsiteY74" fmla="*/ 1265129 h 1283918"/>
              <a:gd name="connsiteX75" fmla="*/ 403964 w 1260819"/>
              <a:gd name="connsiteY75" fmla="*/ 1261997 h 1283918"/>
              <a:gd name="connsiteX76" fmla="*/ 385175 w 1260819"/>
              <a:gd name="connsiteY76" fmla="*/ 1255734 h 1283918"/>
              <a:gd name="connsiteX77" fmla="*/ 375781 w 1260819"/>
              <a:gd name="connsiteY77" fmla="*/ 1252603 h 1283918"/>
              <a:gd name="connsiteX78" fmla="*/ 366386 w 1260819"/>
              <a:gd name="connsiteY78" fmla="*/ 1249471 h 1283918"/>
              <a:gd name="connsiteX79" fmla="*/ 356992 w 1260819"/>
              <a:gd name="connsiteY79" fmla="*/ 1246340 h 1283918"/>
              <a:gd name="connsiteX80" fmla="*/ 347597 w 1260819"/>
              <a:gd name="connsiteY80" fmla="*/ 1240077 h 1283918"/>
              <a:gd name="connsiteX81" fmla="*/ 347597 w 1260819"/>
              <a:gd name="connsiteY81" fmla="*/ 1149263 h 1283918"/>
              <a:gd name="connsiteX82" fmla="*/ 350729 w 1260819"/>
              <a:gd name="connsiteY82" fmla="*/ 1139868 h 1283918"/>
              <a:gd name="connsiteX83" fmla="*/ 350729 w 1260819"/>
              <a:gd name="connsiteY83" fmla="*/ 1102290 h 1283918"/>
              <a:gd name="connsiteX84" fmla="*/ 360123 w 1260819"/>
              <a:gd name="connsiteY84" fmla="*/ 1092896 h 1283918"/>
              <a:gd name="connsiteX85" fmla="*/ 369518 w 1260819"/>
              <a:gd name="connsiteY85" fmla="*/ 1086633 h 1283918"/>
              <a:gd name="connsiteX86" fmla="*/ 372649 w 1260819"/>
              <a:gd name="connsiteY86" fmla="*/ 1061581 h 1283918"/>
              <a:gd name="connsiteX87" fmla="*/ 363255 w 1260819"/>
              <a:gd name="connsiteY87" fmla="*/ 1058449 h 1283918"/>
              <a:gd name="connsiteX88" fmla="*/ 353860 w 1260819"/>
              <a:gd name="connsiteY88" fmla="*/ 1061581 h 1283918"/>
              <a:gd name="connsiteX89" fmla="*/ 344466 w 1260819"/>
              <a:gd name="connsiteY89" fmla="*/ 1070975 h 1283918"/>
              <a:gd name="connsiteX90" fmla="*/ 335071 w 1260819"/>
              <a:gd name="connsiteY90" fmla="*/ 1064712 h 1283918"/>
              <a:gd name="connsiteX91" fmla="*/ 331940 w 1260819"/>
              <a:gd name="connsiteY91" fmla="*/ 1055318 h 1283918"/>
              <a:gd name="connsiteX92" fmla="*/ 341334 w 1260819"/>
              <a:gd name="connsiteY92" fmla="*/ 1036529 h 1283918"/>
              <a:gd name="connsiteX93" fmla="*/ 344466 w 1260819"/>
              <a:gd name="connsiteY93" fmla="*/ 1027134 h 1283918"/>
              <a:gd name="connsiteX94" fmla="*/ 328808 w 1260819"/>
              <a:gd name="connsiteY94" fmla="*/ 1008345 h 1283918"/>
              <a:gd name="connsiteX95" fmla="*/ 319414 w 1260819"/>
              <a:gd name="connsiteY95" fmla="*/ 1005214 h 1283918"/>
              <a:gd name="connsiteX96" fmla="*/ 322545 w 1260819"/>
              <a:gd name="connsiteY96" fmla="*/ 986425 h 1283918"/>
              <a:gd name="connsiteX97" fmla="*/ 338203 w 1260819"/>
              <a:gd name="connsiteY97" fmla="*/ 967635 h 1283918"/>
              <a:gd name="connsiteX98" fmla="*/ 344466 w 1260819"/>
              <a:gd name="connsiteY98" fmla="*/ 958241 h 1283918"/>
              <a:gd name="connsiteX99" fmla="*/ 347597 w 1260819"/>
              <a:gd name="connsiteY99" fmla="*/ 948846 h 1283918"/>
              <a:gd name="connsiteX100" fmla="*/ 325677 w 1260819"/>
              <a:gd name="connsiteY100" fmla="*/ 936320 h 1283918"/>
              <a:gd name="connsiteX101" fmla="*/ 313151 w 1260819"/>
              <a:gd name="connsiteY101" fmla="*/ 933189 h 1283918"/>
              <a:gd name="connsiteX102" fmla="*/ 306888 w 1260819"/>
              <a:gd name="connsiteY102" fmla="*/ 923794 h 1283918"/>
              <a:gd name="connsiteX103" fmla="*/ 297493 w 1260819"/>
              <a:gd name="connsiteY103" fmla="*/ 905005 h 1283918"/>
              <a:gd name="connsiteX104" fmla="*/ 288099 w 1260819"/>
              <a:gd name="connsiteY104" fmla="*/ 901874 h 1283918"/>
              <a:gd name="connsiteX105" fmla="*/ 278704 w 1260819"/>
              <a:gd name="connsiteY105" fmla="*/ 908137 h 1283918"/>
              <a:gd name="connsiteX106" fmla="*/ 269310 w 1260819"/>
              <a:gd name="connsiteY106" fmla="*/ 926926 h 1283918"/>
              <a:gd name="connsiteX107" fmla="*/ 244258 w 1260819"/>
              <a:gd name="connsiteY107" fmla="*/ 933189 h 1283918"/>
              <a:gd name="connsiteX108" fmla="*/ 216074 w 1260819"/>
              <a:gd name="connsiteY108" fmla="*/ 961372 h 1283918"/>
              <a:gd name="connsiteX109" fmla="*/ 206679 w 1260819"/>
              <a:gd name="connsiteY109" fmla="*/ 970767 h 1283918"/>
              <a:gd name="connsiteX110" fmla="*/ 178496 w 1260819"/>
              <a:gd name="connsiteY110" fmla="*/ 948846 h 1283918"/>
              <a:gd name="connsiteX111" fmla="*/ 169101 w 1260819"/>
              <a:gd name="connsiteY111" fmla="*/ 945715 h 1283918"/>
              <a:gd name="connsiteX112" fmla="*/ 156575 w 1260819"/>
              <a:gd name="connsiteY112" fmla="*/ 948846 h 1283918"/>
              <a:gd name="connsiteX113" fmla="*/ 153444 w 1260819"/>
              <a:gd name="connsiteY113" fmla="*/ 958241 h 1283918"/>
              <a:gd name="connsiteX114" fmla="*/ 140918 w 1260819"/>
              <a:gd name="connsiteY114" fmla="*/ 992688 h 1283918"/>
              <a:gd name="connsiteX115" fmla="*/ 131523 w 1260819"/>
              <a:gd name="connsiteY115" fmla="*/ 995819 h 1283918"/>
              <a:gd name="connsiteX116" fmla="*/ 122129 w 1260819"/>
              <a:gd name="connsiteY116" fmla="*/ 1002082 h 1283918"/>
              <a:gd name="connsiteX117" fmla="*/ 115866 w 1260819"/>
              <a:gd name="connsiteY117" fmla="*/ 1030266 h 1283918"/>
              <a:gd name="connsiteX118" fmla="*/ 109603 w 1260819"/>
              <a:gd name="connsiteY118" fmla="*/ 1020871 h 1283918"/>
              <a:gd name="connsiteX119" fmla="*/ 90814 w 1260819"/>
              <a:gd name="connsiteY119" fmla="*/ 1014608 h 1283918"/>
              <a:gd name="connsiteX120" fmla="*/ 84551 w 1260819"/>
              <a:gd name="connsiteY120" fmla="*/ 1005214 h 1283918"/>
              <a:gd name="connsiteX121" fmla="*/ 43841 w 1260819"/>
              <a:gd name="connsiteY121" fmla="*/ 995819 h 1283918"/>
              <a:gd name="connsiteX122" fmla="*/ 37578 w 1260819"/>
              <a:gd name="connsiteY122" fmla="*/ 986425 h 1283918"/>
              <a:gd name="connsiteX123" fmla="*/ 25052 w 1260819"/>
              <a:gd name="connsiteY123" fmla="*/ 942583 h 1283918"/>
              <a:gd name="connsiteX124" fmla="*/ 21921 w 1260819"/>
              <a:gd name="connsiteY124" fmla="*/ 917531 h 1283918"/>
              <a:gd name="connsiteX125" fmla="*/ 37578 w 1260819"/>
              <a:gd name="connsiteY125" fmla="*/ 914400 h 1283918"/>
              <a:gd name="connsiteX126" fmla="*/ 46973 w 1260819"/>
              <a:gd name="connsiteY126" fmla="*/ 908137 h 1283918"/>
              <a:gd name="connsiteX127" fmla="*/ 53236 w 1260819"/>
              <a:gd name="connsiteY127" fmla="*/ 898742 h 1283918"/>
              <a:gd name="connsiteX128" fmla="*/ 72025 w 1260819"/>
              <a:gd name="connsiteY128" fmla="*/ 892479 h 1283918"/>
              <a:gd name="connsiteX129" fmla="*/ 78288 w 1260819"/>
              <a:gd name="connsiteY129" fmla="*/ 883085 h 1283918"/>
              <a:gd name="connsiteX130" fmla="*/ 75156 w 1260819"/>
              <a:gd name="connsiteY130" fmla="*/ 873690 h 1283918"/>
              <a:gd name="connsiteX131" fmla="*/ 68893 w 1260819"/>
              <a:gd name="connsiteY131" fmla="*/ 864296 h 1283918"/>
              <a:gd name="connsiteX132" fmla="*/ 59499 w 1260819"/>
              <a:gd name="connsiteY132" fmla="*/ 861164 h 1283918"/>
              <a:gd name="connsiteX133" fmla="*/ 50104 w 1260819"/>
              <a:gd name="connsiteY133" fmla="*/ 854901 h 1283918"/>
              <a:gd name="connsiteX134" fmla="*/ 46973 w 1260819"/>
              <a:gd name="connsiteY134" fmla="*/ 823586 h 1283918"/>
              <a:gd name="connsiteX135" fmla="*/ 37578 w 1260819"/>
              <a:gd name="connsiteY135" fmla="*/ 820455 h 1283918"/>
              <a:gd name="connsiteX136" fmla="*/ 15658 w 1260819"/>
              <a:gd name="connsiteY136" fmla="*/ 817323 h 1283918"/>
              <a:gd name="connsiteX137" fmla="*/ 25052 w 1260819"/>
              <a:gd name="connsiteY137" fmla="*/ 798534 h 1283918"/>
              <a:gd name="connsiteX138" fmla="*/ 43841 w 1260819"/>
              <a:gd name="connsiteY138" fmla="*/ 786008 h 1283918"/>
              <a:gd name="connsiteX139" fmla="*/ 31315 w 1260819"/>
              <a:gd name="connsiteY139" fmla="*/ 782877 h 1283918"/>
              <a:gd name="connsiteX140" fmla="*/ 12526 w 1260819"/>
              <a:gd name="connsiteY140" fmla="*/ 779745 h 1283918"/>
              <a:gd name="connsiteX141" fmla="*/ 15658 w 1260819"/>
              <a:gd name="connsiteY141" fmla="*/ 748430 h 1283918"/>
              <a:gd name="connsiteX142" fmla="*/ 21921 w 1260819"/>
              <a:gd name="connsiteY142" fmla="*/ 717115 h 1283918"/>
              <a:gd name="connsiteX143" fmla="*/ 0 w 1260819"/>
              <a:gd name="connsiteY143" fmla="*/ 701457 h 1283918"/>
              <a:gd name="connsiteX144" fmla="*/ 12526 w 1260819"/>
              <a:gd name="connsiteY144" fmla="*/ 679537 h 1283918"/>
              <a:gd name="connsiteX145" fmla="*/ 31315 w 1260819"/>
              <a:gd name="connsiteY145" fmla="*/ 673274 h 1283918"/>
              <a:gd name="connsiteX146" fmla="*/ 40710 w 1260819"/>
              <a:gd name="connsiteY146" fmla="*/ 667011 h 1283918"/>
              <a:gd name="connsiteX147" fmla="*/ 50104 w 1260819"/>
              <a:gd name="connsiteY147" fmla="*/ 657616 h 1283918"/>
              <a:gd name="connsiteX148" fmla="*/ 68893 w 1260819"/>
              <a:gd name="connsiteY148" fmla="*/ 651353 h 1283918"/>
              <a:gd name="connsiteX149" fmla="*/ 87682 w 1260819"/>
              <a:gd name="connsiteY149" fmla="*/ 645090 h 1283918"/>
              <a:gd name="connsiteX150" fmla="*/ 106471 w 1260819"/>
              <a:gd name="connsiteY150" fmla="*/ 632564 h 1283918"/>
              <a:gd name="connsiteX151" fmla="*/ 115866 w 1260819"/>
              <a:gd name="connsiteY151" fmla="*/ 629433 h 1283918"/>
              <a:gd name="connsiteX152" fmla="*/ 144049 w 1260819"/>
              <a:gd name="connsiteY152" fmla="*/ 616907 h 1283918"/>
              <a:gd name="connsiteX153" fmla="*/ 153444 w 1260819"/>
              <a:gd name="connsiteY153" fmla="*/ 613775 h 1283918"/>
              <a:gd name="connsiteX154" fmla="*/ 175364 w 1260819"/>
              <a:gd name="connsiteY154" fmla="*/ 591855 h 1283918"/>
              <a:gd name="connsiteX155" fmla="*/ 191022 w 1260819"/>
              <a:gd name="connsiteY155" fmla="*/ 613775 h 1283918"/>
              <a:gd name="connsiteX156" fmla="*/ 200416 w 1260819"/>
              <a:gd name="connsiteY156" fmla="*/ 610644 h 1283918"/>
              <a:gd name="connsiteX157" fmla="*/ 219205 w 1260819"/>
              <a:gd name="connsiteY157" fmla="*/ 616907 h 1283918"/>
              <a:gd name="connsiteX158" fmla="*/ 263047 w 1260819"/>
              <a:gd name="connsiteY158" fmla="*/ 613775 h 1283918"/>
              <a:gd name="connsiteX159" fmla="*/ 275573 w 1260819"/>
              <a:gd name="connsiteY159" fmla="*/ 598118 h 1283918"/>
              <a:gd name="connsiteX160" fmla="*/ 281836 w 1260819"/>
              <a:gd name="connsiteY160" fmla="*/ 573066 h 1283918"/>
              <a:gd name="connsiteX161" fmla="*/ 288099 w 1260819"/>
              <a:gd name="connsiteY161" fmla="*/ 563671 h 1283918"/>
              <a:gd name="connsiteX162" fmla="*/ 297493 w 1260819"/>
              <a:gd name="connsiteY162" fmla="*/ 560540 h 1283918"/>
              <a:gd name="connsiteX163" fmla="*/ 328808 w 1260819"/>
              <a:gd name="connsiteY163" fmla="*/ 557408 h 1283918"/>
              <a:gd name="connsiteX164" fmla="*/ 347597 w 1260819"/>
              <a:gd name="connsiteY164" fmla="*/ 551145 h 1283918"/>
              <a:gd name="connsiteX165" fmla="*/ 356992 w 1260819"/>
              <a:gd name="connsiteY165" fmla="*/ 544882 h 1283918"/>
              <a:gd name="connsiteX166" fmla="*/ 366386 w 1260819"/>
              <a:gd name="connsiteY166" fmla="*/ 541751 h 1283918"/>
              <a:gd name="connsiteX167" fmla="*/ 385175 w 1260819"/>
              <a:gd name="connsiteY167" fmla="*/ 529225 h 1283918"/>
              <a:gd name="connsiteX168" fmla="*/ 422753 w 1260819"/>
              <a:gd name="connsiteY168" fmla="*/ 516699 h 1283918"/>
              <a:gd name="connsiteX169" fmla="*/ 432148 w 1260819"/>
              <a:gd name="connsiteY169" fmla="*/ 513567 h 1283918"/>
              <a:gd name="connsiteX170" fmla="*/ 460331 w 1260819"/>
              <a:gd name="connsiteY170" fmla="*/ 497909 h 1283918"/>
              <a:gd name="connsiteX171" fmla="*/ 466595 w 1260819"/>
              <a:gd name="connsiteY171" fmla="*/ 491646 h 1283918"/>
              <a:gd name="connsiteX172" fmla="*/ 485384 w 1260819"/>
              <a:gd name="connsiteY172" fmla="*/ 482252 h 1283918"/>
              <a:gd name="connsiteX173" fmla="*/ 501041 w 1260819"/>
              <a:gd name="connsiteY173" fmla="*/ 463463 h 1283918"/>
              <a:gd name="connsiteX174" fmla="*/ 510436 w 1260819"/>
              <a:gd name="connsiteY174" fmla="*/ 457200 h 1283918"/>
              <a:gd name="connsiteX175" fmla="*/ 513567 w 1260819"/>
              <a:gd name="connsiteY175" fmla="*/ 447805 h 1283918"/>
              <a:gd name="connsiteX176" fmla="*/ 522962 w 1260819"/>
              <a:gd name="connsiteY176" fmla="*/ 441542 h 1283918"/>
              <a:gd name="connsiteX177" fmla="*/ 532356 w 1260819"/>
              <a:gd name="connsiteY177" fmla="*/ 432148 h 1283918"/>
              <a:gd name="connsiteX178" fmla="*/ 544882 w 1260819"/>
              <a:gd name="connsiteY178" fmla="*/ 347597 h 1283918"/>
              <a:gd name="connsiteX179" fmla="*/ 554277 w 1260819"/>
              <a:gd name="connsiteY179" fmla="*/ 344466 h 1283918"/>
              <a:gd name="connsiteX180" fmla="*/ 569934 w 1260819"/>
              <a:gd name="connsiteY180" fmla="*/ 341334 h 1283918"/>
              <a:gd name="connsiteX181" fmla="*/ 585592 w 1260819"/>
              <a:gd name="connsiteY181" fmla="*/ 322545 h 1283918"/>
              <a:gd name="connsiteX182" fmla="*/ 594986 w 1260819"/>
              <a:gd name="connsiteY182" fmla="*/ 313151 h 1283918"/>
              <a:gd name="connsiteX183" fmla="*/ 638827 w 1260819"/>
              <a:gd name="connsiteY183" fmla="*/ 310019 h 1283918"/>
              <a:gd name="connsiteX184" fmla="*/ 641959 w 1260819"/>
              <a:gd name="connsiteY184" fmla="*/ 300625 h 1283918"/>
              <a:gd name="connsiteX185" fmla="*/ 635696 w 1260819"/>
              <a:gd name="connsiteY185" fmla="*/ 291230 h 1283918"/>
              <a:gd name="connsiteX186" fmla="*/ 629433 w 1260819"/>
              <a:gd name="connsiteY186" fmla="*/ 269309 h 1283918"/>
              <a:gd name="connsiteX187" fmla="*/ 623170 w 1260819"/>
              <a:gd name="connsiteY187" fmla="*/ 259915 h 1283918"/>
              <a:gd name="connsiteX188" fmla="*/ 626301 w 1260819"/>
              <a:gd name="connsiteY188" fmla="*/ 241126 h 1283918"/>
              <a:gd name="connsiteX189" fmla="*/ 645090 w 1260819"/>
              <a:gd name="connsiteY189" fmla="*/ 222337 h 1283918"/>
              <a:gd name="connsiteX190" fmla="*/ 648222 w 1260819"/>
              <a:gd name="connsiteY190" fmla="*/ 212942 h 1283918"/>
              <a:gd name="connsiteX191" fmla="*/ 667011 w 1260819"/>
              <a:gd name="connsiteY191" fmla="*/ 194153 h 1283918"/>
              <a:gd name="connsiteX192" fmla="*/ 676405 w 1260819"/>
              <a:gd name="connsiteY192" fmla="*/ 165970 h 1283918"/>
              <a:gd name="connsiteX193" fmla="*/ 679537 w 1260819"/>
              <a:gd name="connsiteY193" fmla="*/ 156575 h 1283918"/>
              <a:gd name="connsiteX194" fmla="*/ 682668 w 1260819"/>
              <a:gd name="connsiteY194" fmla="*/ 144049 h 1283918"/>
              <a:gd name="connsiteX195" fmla="*/ 685800 w 1260819"/>
              <a:gd name="connsiteY195" fmla="*/ 87682 h 1283918"/>
              <a:gd name="connsiteX196" fmla="*/ 701458 w 1260819"/>
              <a:gd name="connsiteY196" fmla="*/ 72025 h 1283918"/>
              <a:gd name="connsiteX197" fmla="*/ 720247 w 1260819"/>
              <a:gd name="connsiteY197" fmla="*/ 65762 h 1283918"/>
              <a:gd name="connsiteX198" fmla="*/ 732773 w 1260819"/>
              <a:gd name="connsiteY198" fmla="*/ 46972 h 1283918"/>
              <a:gd name="connsiteX199" fmla="*/ 735904 w 1260819"/>
              <a:gd name="connsiteY199" fmla="*/ 37578 h 1283918"/>
              <a:gd name="connsiteX200" fmla="*/ 748430 w 1260819"/>
              <a:gd name="connsiteY200" fmla="*/ 18789 h 1283918"/>
              <a:gd name="connsiteX201" fmla="*/ 767219 w 1260819"/>
              <a:gd name="connsiteY201" fmla="*/ 6263 h 1283918"/>
              <a:gd name="connsiteX202" fmla="*/ 776614 w 1260819"/>
              <a:gd name="connsiteY202" fmla="*/ 0 h 1283918"/>
              <a:gd name="connsiteX203" fmla="*/ 814192 w 1260819"/>
              <a:gd name="connsiteY203" fmla="*/ 9394 h 1283918"/>
              <a:gd name="connsiteX204" fmla="*/ 817323 w 1260819"/>
              <a:gd name="connsiteY204" fmla="*/ 21920 h 1283918"/>
              <a:gd name="connsiteX205" fmla="*/ 820455 w 1260819"/>
              <a:gd name="connsiteY205" fmla="*/ 62630 h 1283918"/>
              <a:gd name="connsiteX206" fmla="*/ 823586 w 1260819"/>
              <a:gd name="connsiteY206" fmla="*/ 72025 h 1283918"/>
              <a:gd name="connsiteX207" fmla="*/ 832981 w 1260819"/>
              <a:gd name="connsiteY207" fmla="*/ 81419 h 1283918"/>
              <a:gd name="connsiteX208" fmla="*/ 873690 w 1260819"/>
              <a:gd name="connsiteY208" fmla="*/ 90814 h 1283918"/>
              <a:gd name="connsiteX209" fmla="*/ 886216 w 1260819"/>
              <a:gd name="connsiteY209" fmla="*/ 93945 h 1283918"/>
              <a:gd name="connsiteX210" fmla="*/ 914400 w 1260819"/>
              <a:gd name="connsiteY210" fmla="*/ 118997 h 1283918"/>
              <a:gd name="connsiteX211" fmla="*/ 945715 w 1260819"/>
              <a:gd name="connsiteY211" fmla="*/ 137786 h 1283918"/>
              <a:gd name="connsiteX212" fmla="*/ 955110 w 1260819"/>
              <a:gd name="connsiteY212" fmla="*/ 144049 h 1283918"/>
              <a:gd name="connsiteX213" fmla="*/ 973899 w 1260819"/>
              <a:gd name="connsiteY213" fmla="*/ 162838 h 1283918"/>
              <a:gd name="connsiteX214" fmla="*/ 992688 w 1260819"/>
              <a:gd name="connsiteY214" fmla="*/ 178496 h 1283918"/>
              <a:gd name="connsiteX215" fmla="*/ 1020871 w 1260819"/>
              <a:gd name="connsiteY215" fmla="*/ 178496 h 1283918"/>
              <a:gd name="connsiteX216" fmla="*/ 1030266 w 1260819"/>
              <a:gd name="connsiteY216" fmla="*/ 187890 h 1283918"/>
              <a:gd name="connsiteX217" fmla="*/ 1036529 w 1260819"/>
              <a:gd name="connsiteY217" fmla="*/ 206679 h 1283918"/>
              <a:gd name="connsiteX218" fmla="*/ 1039660 w 1260819"/>
              <a:gd name="connsiteY218" fmla="*/ 219205 h 1283918"/>
              <a:gd name="connsiteX219" fmla="*/ 1052186 w 1260819"/>
              <a:gd name="connsiteY219" fmla="*/ 237994 h 1283918"/>
              <a:gd name="connsiteX220" fmla="*/ 1058449 w 1260819"/>
              <a:gd name="connsiteY220" fmla="*/ 247389 h 1283918"/>
              <a:gd name="connsiteX221" fmla="*/ 1067844 w 1260819"/>
              <a:gd name="connsiteY221" fmla="*/ 253652 h 1283918"/>
              <a:gd name="connsiteX222" fmla="*/ 1070975 w 1260819"/>
              <a:gd name="connsiteY222" fmla="*/ 263046 h 1283918"/>
              <a:gd name="connsiteX223" fmla="*/ 1077238 w 1260819"/>
              <a:gd name="connsiteY223" fmla="*/ 272441 h 1283918"/>
              <a:gd name="connsiteX224" fmla="*/ 1083501 w 1260819"/>
              <a:gd name="connsiteY224" fmla="*/ 297493 h 1283918"/>
              <a:gd name="connsiteX225" fmla="*/ 1108553 w 1260819"/>
              <a:gd name="connsiteY225" fmla="*/ 319414 h 1283918"/>
              <a:gd name="connsiteX226" fmla="*/ 1117948 w 1260819"/>
              <a:gd name="connsiteY226" fmla="*/ 322545 h 1283918"/>
              <a:gd name="connsiteX227" fmla="*/ 1121079 w 1260819"/>
              <a:gd name="connsiteY227" fmla="*/ 331940 h 1283918"/>
              <a:gd name="connsiteX228" fmla="*/ 1130474 w 1260819"/>
              <a:gd name="connsiteY228" fmla="*/ 335071 h 1283918"/>
              <a:gd name="connsiteX229" fmla="*/ 1174315 w 1260819"/>
              <a:gd name="connsiteY229" fmla="*/ 338203 h 1283918"/>
              <a:gd name="connsiteX230" fmla="*/ 1183710 w 1260819"/>
              <a:gd name="connsiteY230" fmla="*/ 341334 h 1283918"/>
              <a:gd name="connsiteX231" fmla="*/ 1218156 w 1260819"/>
              <a:gd name="connsiteY231" fmla="*/ 331940 h 1283918"/>
              <a:gd name="connsiteX232" fmla="*/ 1227551 w 1260819"/>
              <a:gd name="connsiteY232" fmla="*/ 328808 h 1283918"/>
              <a:gd name="connsiteX233" fmla="*/ 1236945 w 1260819"/>
              <a:gd name="connsiteY233" fmla="*/ 331940 h 1283918"/>
              <a:gd name="connsiteX234" fmla="*/ 1224419 w 1260819"/>
              <a:gd name="connsiteY234" fmla="*/ 356992 h 1283918"/>
              <a:gd name="connsiteX235" fmla="*/ 1227551 w 1260819"/>
              <a:gd name="connsiteY235" fmla="*/ 382044 h 1283918"/>
              <a:gd name="connsiteX236" fmla="*/ 1233814 w 1260819"/>
              <a:gd name="connsiteY236" fmla="*/ 391438 h 1283918"/>
              <a:gd name="connsiteX237" fmla="*/ 1236945 w 1260819"/>
              <a:gd name="connsiteY237" fmla="*/ 400833 h 1283918"/>
              <a:gd name="connsiteX238" fmla="*/ 1243208 w 1260819"/>
              <a:gd name="connsiteY238" fmla="*/ 410227 h 1283918"/>
              <a:gd name="connsiteX239" fmla="*/ 1249471 w 1260819"/>
              <a:gd name="connsiteY239" fmla="*/ 429016 h 1283918"/>
              <a:gd name="connsiteX240" fmla="*/ 1246340 w 1260819"/>
              <a:gd name="connsiteY240" fmla="*/ 447805 h 1283918"/>
              <a:gd name="connsiteX241" fmla="*/ 1227551 w 1260819"/>
              <a:gd name="connsiteY241" fmla="*/ 460331 h 1283918"/>
              <a:gd name="connsiteX242" fmla="*/ 1218156 w 1260819"/>
              <a:gd name="connsiteY242" fmla="*/ 479120 h 1283918"/>
              <a:gd name="connsiteX243" fmla="*/ 1227551 w 1260819"/>
              <a:gd name="connsiteY243" fmla="*/ 485383 h 1283918"/>
              <a:gd name="connsiteX244" fmla="*/ 1258866 w 1260819"/>
              <a:gd name="connsiteY244" fmla="*/ 491646 h 1283918"/>
              <a:gd name="connsiteX0" fmla="*/ 1258866 w 1260819"/>
              <a:gd name="connsiteY0" fmla="*/ 491646 h 1283918"/>
              <a:gd name="connsiteX1" fmla="*/ 1255734 w 1260819"/>
              <a:gd name="connsiteY1" fmla="*/ 507304 h 1283918"/>
              <a:gd name="connsiteX2" fmla="*/ 1246340 w 1260819"/>
              <a:gd name="connsiteY2" fmla="*/ 510435 h 1283918"/>
              <a:gd name="connsiteX3" fmla="*/ 1205630 w 1260819"/>
              <a:gd name="connsiteY3" fmla="*/ 507304 h 1283918"/>
              <a:gd name="connsiteX4" fmla="*/ 1196236 w 1260819"/>
              <a:gd name="connsiteY4" fmla="*/ 510435 h 1283918"/>
              <a:gd name="connsiteX5" fmla="*/ 1193104 w 1260819"/>
              <a:gd name="connsiteY5" fmla="*/ 522962 h 1283918"/>
              <a:gd name="connsiteX6" fmla="*/ 1189973 w 1260819"/>
              <a:gd name="connsiteY6" fmla="*/ 532356 h 1283918"/>
              <a:gd name="connsiteX7" fmla="*/ 1180578 w 1260819"/>
              <a:gd name="connsiteY7" fmla="*/ 538619 h 1283918"/>
              <a:gd name="connsiteX8" fmla="*/ 1171184 w 1260819"/>
              <a:gd name="connsiteY8" fmla="*/ 548014 h 1283918"/>
              <a:gd name="connsiteX9" fmla="*/ 1161789 w 1260819"/>
              <a:gd name="connsiteY9" fmla="*/ 554277 h 1283918"/>
              <a:gd name="connsiteX10" fmla="*/ 1143000 w 1260819"/>
              <a:gd name="connsiteY10" fmla="*/ 560540 h 1283918"/>
              <a:gd name="connsiteX11" fmla="*/ 1117948 w 1260819"/>
              <a:gd name="connsiteY11" fmla="*/ 557408 h 1283918"/>
              <a:gd name="connsiteX12" fmla="*/ 1108553 w 1260819"/>
              <a:gd name="connsiteY12" fmla="*/ 551145 h 1283918"/>
              <a:gd name="connsiteX13" fmla="*/ 1105422 w 1260819"/>
              <a:gd name="connsiteY13" fmla="*/ 560540 h 1283918"/>
              <a:gd name="connsiteX14" fmla="*/ 1102290 w 1260819"/>
              <a:gd name="connsiteY14" fmla="*/ 594986 h 1283918"/>
              <a:gd name="connsiteX15" fmla="*/ 1092896 w 1260819"/>
              <a:gd name="connsiteY15" fmla="*/ 601249 h 1283918"/>
              <a:gd name="connsiteX16" fmla="*/ 1074107 w 1260819"/>
              <a:gd name="connsiteY16" fmla="*/ 610644 h 1283918"/>
              <a:gd name="connsiteX17" fmla="*/ 1070975 w 1260819"/>
              <a:gd name="connsiteY17" fmla="*/ 663879 h 1283918"/>
              <a:gd name="connsiteX18" fmla="*/ 1067844 w 1260819"/>
              <a:gd name="connsiteY18" fmla="*/ 673274 h 1283918"/>
              <a:gd name="connsiteX19" fmla="*/ 1092896 w 1260819"/>
              <a:gd name="connsiteY19" fmla="*/ 682668 h 1283918"/>
              <a:gd name="connsiteX20" fmla="*/ 1096027 w 1260819"/>
              <a:gd name="connsiteY20" fmla="*/ 692063 h 1283918"/>
              <a:gd name="connsiteX21" fmla="*/ 1117948 w 1260819"/>
              <a:gd name="connsiteY21" fmla="*/ 701457 h 1283918"/>
              <a:gd name="connsiteX22" fmla="*/ 1127342 w 1260819"/>
              <a:gd name="connsiteY22" fmla="*/ 720246 h 1283918"/>
              <a:gd name="connsiteX23" fmla="*/ 1139868 w 1260819"/>
              <a:gd name="connsiteY23" fmla="*/ 723378 h 1283918"/>
              <a:gd name="connsiteX24" fmla="*/ 1146131 w 1260819"/>
              <a:gd name="connsiteY24" fmla="*/ 732772 h 1283918"/>
              <a:gd name="connsiteX25" fmla="*/ 1136737 w 1260819"/>
              <a:gd name="connsiteY25" fmla="*/ 751562 h 1283918"/>
              <a:gd name="connsiteX26" fmla="*/ 1127342 w 1260819"/>
              <a:gd name="connsiteY26" fmla="*/ 770351 h 1283918"/>
              <a:gd name="connsiteX27" fmla="*/ 1117948 w 1260819"/>
              <a:gd name="connsiteY27" fmla="*/ 789140 h 1283918"/>
              <a:gd name="connsiteX28" fmla="*/ 1108553 w 1260819"/>
              <a:gd name="connsiteY28" fmla="*/ 807929 h 1283918"/>
              <a:gd name="connsiteX29" fmla="*/ 1092896 w 1260819"/>
              <a:gd name="connsiteY29" fmla="*/ 836112 h 1283918"/>
              <a:gd name="connsiteX30" fmla="*/ 1074107 w 1260819"/>
              <a:gd name="connsiteY30" fmla="*/ 851770 h 1283918"/>
              <a:gd name="connsiteX31" fmla="*/ 1070975 w 1260819"/>
              <a:gd name="connsiteY31" fmla="*/ 867427 h 1283918"/>
              <a:gd name="connsiteX32" fmla="*/ 1067844 w 1260819"/>
              <a:gd name="connsiteY32" fmla="*/ 876822 h 1283918"/>
              <a:gd name="connsiteX33" fmla="*/ 1039660 w 1260819"/>
              <a:gd name="connsiteY33" fmla="*/ 879953 h 1283918"/>
              <a:gd name="connsiteX34" fmla="*/ 1011477 w 1260819"/>
              <a:gd name="connsiteY34" fmla="*/ 886216 h 1283918"/>
              <a:gd name="connsiteX35" fmla="*/ 1002082 w 1260819"/>
              <a:gd name="connsiteY35" fmla="*/ 892479 h 1283918"/>
              <a:gd name="connsiteX36" fmla="*/ 992688 w 1260819"/>
              <a:gd name="connsiteY36" fmla="*/ 895611 h 1283918"/>
              <a:gd name="connsiteX37" fmla="*/ 980162 w 1260819"/>
              <a:gd name="connsiteY37" fmla="*/ 901874 h 1283918"/>
              <a:gd name="connsiteX38" fmla="*/ 970767 w 1260819"/>
              <a:gd name="connsiteY38" fmla="*/ 908137 h 1283918"/>
              <a:gd name="connsiteX39" fmla="*/ 958241 w 1260819"/>
              <a:gd name="connsiteY39" fmla="*/ 911268 h 1283918"/>
              <a:gd name="connsiteX40" fmla="*/ 948847 w 1260819"/>
              <a:gd name="connsiteY40" fmla="*/ 914400 h 1283918"/>
              <a:gd name="connsiteX41" fmla="*/ 936321 w 1260819"/>
              <a:gd name="connsiteY41" fmla="*/ 917531 h 1283918"/>
              <a:gd name="connsiteX42" fmla="*/ 905005 w 1260819"/>
              <a:gd name="connsiteY42" fmla="*/ 930057 h 1283918"/>
              <a:gd name="connsiteX43" fmla="*/ 886216 w 1260819"/>
              <a:gd name="connsiteY43" fmla="*/ 936320 h 1283918"/>
              <a:gd name="connsiteX44" fmla="*/ 867427 w 1260819"/>
              <a:gd name="connsiteY44" fmla="*/ 955109 h 1283918"/>
              <a:gd name="connsiteX45" fmla="*/ 851770 w 1260819"/>
              <a:gd name="connsiteY45" fmla="*/ 973899 h 1283918"/>
              <a:gd name="connsiteX46" fmla="*/ 842375 w 1260819"/>
              <a:gd name="connsiteY46" fmla="*/ 980162 h 1283918"/>
              <a:gd name="connsiteX47" fmla="*/ 823586 w 1260819"/>
              <a:gd name="connsiteY47" fmla="*/ 992688 h 1283918"/>
              <a:gd name="connsiteX48" fmla="*/ 804797 w 1260819"/>
              <a:gd name="connsiteY48" fmla="*/ 1011477 h 1283918"/>
              <a:gd name="connsiteX49" fmla="*/ 795403 w 1260819"/>
              <a:gd name="connsiteY49" fmla="*/ 1017740 h 1283918"/>
              <a:gd name="connsiteX50" fmla="*/ 776614 w 1260819"/>
              <a:gd name="connsiteY50" fmla="*/ 1036529 h 1283918"/>
              <a:gd name="connsiteX51" fmla="*/ 767219 w 1260819"/>
              <a:gd name="connsiteY51" fmla="*/ 1045923 h 1283918"/>
              <a:gd name="connsiteX52" fmla="*/ 739036 w 1260819"/>
              <a:gd name="connsiteY52" fmla="*/ 1064712 h 1283918"/>
              <a:gd name="connsiteX53" fmla="*/ 720247 w 1260819"/>
              <a:gd name="connsiteY53" fmla="*/ 1083501 h 1283918"/>
              <a:gd name="connsiteX54" fmla="*/ 701458 w 1260819"/>
              <a:gd name="connsiteY54" fmla="*/ 1096027 h 1283918"/>
              <a:gd name="connsiteX55" fmla="*/ 695195 w 1260819"/>
              <a:gd name="connsiteY55" fmla="*/ 1105422 h 1283918"/>
              <a:gd name="connsiteX56" fmla="*/ 688931 w 1260819"/>
              <a:gd name="connsiteY56" fmla="*/ 1111685 h 1283918"/>
              <a:gd name="connsiteX57" fmla="*/ 679537 w 1260819"/>
              <a:gd name="connsiteY57" fmla="*/ 1130474 h 1283918"/>
              <a:gd name="connsiteX58" fmla="*/ 657616 w 1260819"/>
              <a:gd name="connsiteY58" fmla="*/ 1139868 h 1283918"/>
              <a:gd name="connsiteX59" fmla="*/ 645090 w 1260819"/>
              <a:gd name="connsiteY59" fmla="*/ 1158657 h 1283918"/>
              <a:gd name="connsiteX60" fmla="*/ 638827 w 1260819"/>
              <a:gd name="connsiteY60" fmla="*/ 1168052 h 1283918"/>
              <a:gd name="connsiteX61" fmla="*/ 632564 w 1260819"/>
              <a:gd name="connsiteY61" fmla="*/ 1186841 h 1283918"/>
              <a:gd name="connsiteX62" fmla="*/ 629433 w 1260819"/>
              <a:gd name="connsiteY62" fmla="*/ 1202499 h 1283918"/>
              <a:gd name="connsiteX63" fmla="*/ 623170 w 1260819"/>
              <a:gd name="connsiteY63" fmla="*/ 1221288 h 1283918"/>
              <a:gd name="connsiteX64" fmla="*/ 610644 w 1260819"/>
              <a:gd name="connsiteY64" fmla="*/ 1240077 h 1283918"/>
              <a:gd name="connsiteX65" fmla="*/ 601249 w 1260819"/>
              <a:gd name="connsiteY65" fmla="*/ 1258866 h 1283918"/>
              <a:gd name="connsiteX66" fmla="*/ 585592 w 1260819"/>
              <a:gd name="connsiteY66" fmla="*/ 1283918 h 1283918"/>
              <a:gd name="connsiteX67" fmla="*/ 563671 w 1260819"/>
              <a:gd name="connsiteY67" fmla="*/ 1280786 h 1283918"/>
              <a:gd name="connsiteX68" fmla="*/ 557408 w 1260819"/>
              <a:gd name="connsiteY68" fmla="*/ 1271392 h 1283918"/>
              <a:gd name="connsiteX69" fmla="*/ 548014 w 1260819"/>
              <a:gd name="connsiteY69" fmla="*/ 1265129 h 1283918"/>
              <a:gd name="connsiteX70" fmla="*/ 541751 w 1260819"/>
              <a:gd name="connsiteY70" fmla="*/ 1255734 h 1283918"/>
              <a:gd name="connsiteX71" fmla="*/ 529225 w 1260819"/>
              <a:gd name="connsiteY71" fmla="*/ 1246340 h 1283918"/>
              <a:gd name="connsiteX72" fmla="*/ 522962 w 1260819"/>
              <a:gd name="connsiteY72" fmla="*/ 1255734 h 1283918"/>
              <a:gd name="connsiteX73" fmla="*/ 507304 w 1260819"/>
              <a:gd name="connsiteY73" fmla="*/ 1258866 h 1283918"/>
              <a:gd name="connsiteX74" fmla="*/ 469726 w 1260819"/>
              <a:gd name="connsiteY74" fmla="*/ 1265129 h 1283918"/>
              <a:gd name="connsiteX75" fmla="*/ 403964 w 1260819"/>
              <a:gd name="connsiteY75" fmla="*/ 1261997 h 1283918"/>
              <a:gd name="connsiteX76" fmla="*/ 385175 w 1260819"/>
              <a:gd name="connsiteY76" fmla="*/ 1255734 h 1283918"/>
              <a:gd name="connsiteX77" fmla="*/ 375781 w 1260819"/>
              <a:gd name="connsiteY77" fmla="*/ 1252603 h 1283918"/>
              <a:gd name="connsiteX78" fmla="*/ 366386 w 1260819"/>
              <a:gd name="connsiteY78" fmla="*/ 1249471 h 1283918"/>
              <a:gd name="connsiteX79" fmla="*/ 356992 w 1260819"/>
              <a:gd name="connsiteY79" fmla="*/ 1246340 h 1283918"/>
              <a:gd name="connsiteX80" fmla="*/ 347597 w 1260819"/>
              <a:gd name="connsiteY80" fmla="*/ 1240077 h 1283918"/>
              <a:gd name="connsiteX81" fmla="*/ 347597 w 1260819"/>
              <a:gd name="connsiteY81" fmla="*/ 1149263 h 1283918"/>
              <a:gd name="connsiteX82" fmla="*/ 350729 w 1260819"/>
              <a:gd name="connsiteY82" fmla="*/ 1139868 h 1283918"/>
              <a:gd name="connsiteX83" fmla="*/ 350729 w 1260819"/>
              <a:gd name="connsiteY83" fmla="*/ 1102290 h 1283918"/>
              <a:gd name="connsiteX84" fmla="*/ 360123 w 1260819"/>
              <a:gd name="connsiteY84" fmla="*/ 1092896 h 1283918"/>
              <a:gd name="connsiteX85" fmla="*/ 369518 w 1260819"/>
              <a:gd name="connsiteY85" fmla="*/ 1086633 h 1283918"/>
              <a:gd name="connsiteX86" fmla="*/ 372649 w 1260819"/>
              <a:gd name="connsiteY86" fmla="*/ 1061581 h 1283918"/>
              <a:gd name="connsiteX87" fmla="*/ 363255 w 1260819"/>
              <a:gd name="connsiteY87" fmla="*/ 1058449 h 1283918"/>
              <a:gd name="connsiteX88" fmla="*/ 353860 w 1260819"/>
              <a:gd name="connsiteY88" fmla="*/ 1061581 h 1283918"/>
              <a:gd name="connsiteX89" fmla="*/ 344466 w 1260819"/>
              <a:gd name="connsiteY89" fmla="*/ 1070975 h 1283918"/>
              <a:gd name="connsiteX90" fmla="*/ 335071 w 1260819"/>
              <a:gd name="connsiteY90" fmla="*/ 1064712 h 1283918"/>
              <a:gd name="connsiteX91" fmla="*/ 331940 w 1260819"/>
              <a:gd name="connsiteY91" fmla="*/ 1055318 h 1283918"/>
              <a:gd name="connsiteX92" fmla="*/ 341334 w 1260819"/>
              <a:gd name="connsiteY92" fmla="*/ 1036529 h 1283918"/>
              <a:gd name="connsiteX93" fmla="*/ 344466 w 1260819"/>
              <a:gd name="connsiteY93" fmla="*/ 1027134 h 1283918"/>
              <a:gd name="connsiteX94" fmla="*/ 328808 w 1260819"/>
              <a:gd name="connsiteY94" fmla="*/ 1008345 h 1283918"/>
              <a:gd name="connsiteX95" fmla="*/ 319414 w 1260819"/>
              <a:gd name="connsiteY95" fmla="*/ 1005214 h 1283918"/>
              <a:gd name="connsiteX96" fmla="*/ 322545 w 1260819"/>
              <a:gd name="connsiteY96" fmla="*/ 986425 h 1283918"/>
              <a:gd name="connsiteX97" fmla="*/ 338203 w 1260819"/>
              <a:gd name="connsiteY97" fmla="*/ 967635 h 1283918"/>
              <a:gd name="connsiteX98" fmla="*/ 344466 w 1260819"/>
              <a:gd name="connsiteY98" fmla="*/ 958241 h 1283918"/>
              <a:gd name="connsiteX99" fmla="*/ 347597 w 1260819"/>
              <a:gd name="connsiteY99" fmla="*/ 948846 h 1283918"/>
              <a:gd name="connsiteX100" fmla="*/ 325677 w 1260819"/>
              <a:gd name="connsiteY100" fmla="*/ 936320 h 1283918"/>
              <a:gd name="connsiteX101" fmla="*/ 313151 w 1260819"/>
              <a:gd name="connsiteY101" fmla="*/ 933189 h 1283918"/>
              <a:gd name="connsiteX102" fmla="*/ 306888 w 1260819"/>
              <a:gd name="connsiteY102" fmla="*/ 923794 h 1283918"/>
              <a:gd name="connsiteX103" fmla="*/ 297493 w 1260819"/>
              <a:gd name="connsiteY103" fmla="*/ 905005 h 1283918"/>
              <a:gd name="connsiteX104" fmla="*/ 288099 w 1260819"/>
              <a:gd name="connsiteY104" fmla="*/ 901874 h 1283918"/>
              <a:gd name="connsiteX105" fmla="*/ 278704 w 1260819"/>
              <a:gd name="connsiteY105" fmla="*/ 908137 h 1283918"/>
              <a:gd name="connsiteX106" fmla="*/ 269310 w 1260819"/>
              <a:gd name="connsiteY106" fmla="*/ 926926 h 1283918"/>
              <a:gd name="connsiteX107" fmla="*/ 244258 w 1260819"/>
              <a:gd name="connsiteY107" fmla="*/ 933189 h 1283918"/>
              <a:gd name="connsiteX108" fmla="*/ 216074 w 1260819"/>
              <a:gd name="connsiteY108" fmla="*/ 961372 h 1283918"/>
              <a:gd name="connsiteX109" fmla="*/ 206679 w 1260819"/>
              <a:gd name="connsiteY109" fmla="*/ 970767 h 1283918"/>
              <a:gd name="connsiteX110" fmla="*/ 178496 w 1260819"/>
              <a:gd name="connsiteY110" fmla="*/ 948846 h 1283918"/>
              <a:gd name="connsiteX111" fmla="*/ 169101 w 1260819"/>
              <a:gd name="connsiteY111" fmla="*/ 945715 h 1283918"/>
              <a:gd name="connsiteX112" fmla="*/ 156575 w 1260819"/>
              <a:gd name="connsiteY112" fmla="*/ 948846 h 1283918"/>
              <a:gd name="connsiteX113" fmla="*/ 153444 w 1260819"/>
              <a:gd name="connsiteY113" fmla="*/ 958241 h 1283918"/>
              <a:gd name="connsiteX114" fmla="*/ 140918 w 1260819"/>
              <a:gd name="connsiteY114" fmla="*/ 992688 h 1283918"/>
              <a:gd name="connsiteX115" fmla="*/ 131523 w 1260819"/>
              <a:gd name="connsiteY115" fmla="*/ 995819 h 1283918"/>
              <a:gd name="connsiteX116" fmla="*/ 122129 w 1260819"/>
              <a:gd name="connsiteY116" fmla="*/ 1002082 h 1283918"/>
              <a:gd name="connsiteX117" fmla="*/ 115866 w 1260819"/>
              <a:gd name="connsiteY117" fmla="*/ 1030266 h 1283918"/>
              <a:gd name="connsiteX118" fmla="*/ 109603 w 1260819"/>
              <a:gd name="connsiteY118" fmla="*/ 1020871 h 1283918"/>
              <a:gd name="connsiteX119" fmla="*/ 90814 w 1260819"/>
              <a:gd name="connsiteY119" fmla="*/ 1014608 h 1283918"/>
              <a:gd name="connsiteX120" fmla="*/ 84551 w 1260819"/>
              <a:gd name="connsiteY120" fmla="*/ 1005214 h 1283918"/>
              <a:gd name="connsiteX121" fmla="*/ 43841 w 1260819"/>
              <a:gd name="connsiteY121" fmla="*/ 995819 h 1283918"/>
              <a:gd name="connsiteX122" fmla="*/ 37578 w 1260819"/>
              <a:gd name="connsiteY122" fmla="*/ 986425 h 1283918"/>
              <a:gd name="connsiteX123" fmla="*/ 25052 w 1260819"/>
              <a:gd name="connsiteY123" fmla="*/ 942583 h 1283918"/>
              <a:gd name="connsiteX124" fmla="*/ 21921 w 1260819"/>
              <a:gd name="connsiteY124" fmla="*/ 917531 h 1283918"/>
              <a:gd name="connsiteX125" fmla="*/ 37578 w 1260819"/>
              <a:gd name="connsiteY125" fmla="*/ 914400 h 1283918"/>
              <a:gd name="connsiteX126" fmla="*/ 46973 w 1260819"/>
              <a:gd name="connsiteY126" fmla="*/ 908137 h 1283918"/>
              <a:gd name="connsiteX127" fmla="*/ 53236 w 1260819"/>
              <a:gd name="connsiteY127" fmla="*/ 898742 h 1283918"/>
              <a:gd name="connsiteX128" fmla="*/ 72025 w 1260819"/>
              <a:gd name="connsiteY128" fmla="*/ 892479 h 1283918"/>
              <a:gd name="connsiteX129" fmla="*/ 78288 w 1260819"/>
              <a:gd name="connsiteY129" fmla="*/ 883085 h 1283918"/>
              <a:gd name="connsiteX130" fmla="*/ 75156 w 1260819"/>
              <a:gd name="connsiteY130" fmla="*/ 873690 h 1283918"/>
              <a:gd name="connsiteX131" fmla="*/ 68893 w 1260819"/>
              <a:gd name="connsiteY131" fmla="*/ 864296 h 1283918"/>
              <a:gd name="connsiteX132" fmla="*/ 59499 w 1260819"/>
              <a:gd name="connsiteY132" fmla="*/ 861164 h 1283918"/>
              <a:gd name="connsiteX133" fmla="*/ 50104 w 1260819"/>
              <a:gd name="connsiteY133" fmla="*/ 854901 h 1283918"/>
              <a:gd name="connsiteX134" fmla="*/ 46973 w 1260819"/>
              <a:gd name="connsiteY134" fmla="*/ 823586 h 1283918"/>
              <a:gd name="connsiteX135" fmla="*/ 37578 w 1260819"/>
              <a:gd name="connsiteY135" fmla="*/ 820455 h 1283918"/>
              <a:gd name="connsiteX136" fmla="*/ 15658 w 1260819"/>
              <a:gd name="connsiteY136" fmla="*/ 817323 h 1283918"/>
              <a:gd name="connsiteX137" fmla="*/ 25052 w 1260819"/>
              <a:gd name="connsiteY137" fmla="*/ 798534 h 1283918"/>
              <a:gd name="connsiteX138" fmla="*/ 43841 w 1260819"/>
              <a:gd name="connsiteY138" fmla="*/ 786008 h 1283918"/>
              <a:gd name="connsiteX139" fmla="*/ 31315 w 1260819"/>
              <a:gd name="connsiteY139" fmla="*/ 782877 h 1283918"/>
              <a:gd name="connsiteX140" fmla="*/ 12526 w 1260819"/>
              <a:gd name="connsiteY140" fmla="*/ 779745 h 1283918"/>
              <a:gd name="connsiteX141" fmla="*/ 15658 w 1260819"/>
              <a:gd name="connsiteY141" fmla="*/ 748430 h 1283918"/>
              <a:gd name="connsiteX142" fmla="*/ 21921 w 1260819"/>
              <a:gd name="connsiteY142" fmla="*/ 717115 h 1283918"/>
              <a:gd name="connsiteX143" fmla="*/ 0 w 1260819"/>
              <a:gd name="connsiteY143" fmla="*/ 701457 h 1283918"/>
              <a:gd name="connsiteX144" fmla="*/ 12526 w 1260819"/>
              <a:gd name="connsiteY144" fmla="*/ 679537 h 1283918"/>
              <a:gd name="connsiteX145" fmla="*/ 31315 w 1260819"/>
              <a:gd name="connsiteY145" fmla="*/ 673274 h 1283918"/>
              <a:gd name="connsiteX146" fmla="*/ 40710 w 1260819"/>
              <a:gd name="connsiteY146" fmla="*/ 667011 h 1283918"/>
              <a:gd name="connsiteX147" fmla="*/ 50104 w 1260819"/>
              <a:gd name="connsiteY147" fmla="*/ 657616 h 1283918"/>
              <a:gd name="connsiteX148" fmla="*/ 68893 w 1260819"/>
              <a:gd name="connsiteY148" fmla="*/ 651353 h 1283918"/>
              <a:gd name="connsiteX149" fmla="*/ 87682 w 1260819"/>
              <a:gd name="connsiteY149" fmla="*/ 645090 h 1283918"/>
              <a:gd name="connsiteX150" fmla="*/ 106471 w 1260819"/>
              <a:gd name="connsiteY150" fmla="*/ 632564 h 1283918"/>
              <a:gd name="connsiteX151" fmla="*/ 115866 w 1260819"/>
              <a:gd name="connsiteY151" fmla="*/ 629433 h 1283918"/>
              <a:gd name="connsiteX152" fmla="*/ 144049 w 1260819"/>
              <a:gd name="connsiteY152" fmla="*/ 616907 h 1283918"/>
              <a:gd name="connsiteX153" fmla="*/ 153444 w 1260819"/>
              <a:gd name="connsiteY153" fmla="*/ 613775 h 1283918"/>
              <a:gd name="connsiteX154" fmla="*/ 175364 w 1260819"/>
              <a:gd name="connsiteY154" fmla="*/ 591855 h 1283918"/>
              <a:gd name="connsiteX155" fmla="*/ 191022 w 1260819"/>
              <a:gd name="connsiteY155" fmla="*/ 613775 h 1283918"/>
              <a:gd name="connsiteX156" fmla="*/ 200416 w 1260819"/>
              <a:gd name="connsiteY156" fmla="*/ 610644 h 1283918"/>
              <a:gd name="connsiteX157" fmla="*/ 219205 w 1260819"/>
              <a:gd name="connsiteY157" fmla="*/ 616907 h 1283918"/>
              <a:gd name="connsiteX158" fmla="*/ 263047 w 1260819"/>
              <a:gd name="connsiteY158" fmla="*/ 613775 h 1283918"/>
              <a:gd name="connsiteX159" fmla="*/ 275573 w 1260819"/>
              <a:gd name="connsiteY159" fmla="*/ 598118 h 1283918"/>
              <a:gd name="connsiteX160" fmla="*/ 281836 w 1260819"/>
              <a:gd name="connsiteY160" fmla="*/ 573066 h 1283918"/>
              <a:gd name="connsiteX161" fmla="*/ 288099 w 1260819"/>
              <a:gd name="connsiteY161" fmla="*/ 563671 h 1283918"/>
              <a:gd name="connsiteX162" fmla="*/ 297493 w 1260819"/>
              <a:gd name="connsiteY162" fmla="*/ 560540 h 1283918"/>
              <a:gd name="connsiteX163" fmla="*/ 328808 w 1260819"/>
              <a:gd name="connsiteY163" fmla="*/ 557408 h 1283918"/>
              <a:gd name="connsiteX164" fmla="*/ 347597 w 1260819"/>
              <a:gd name="connsiteY164" fmla="*/ 551145 h 1283918"/>
              <a:gd name="connsiteX165" fmla="*/ 356992 w 1260819"/>
              <a:gd name="connsiteY165" fmla="*/ 544882 h 1283918"/>
              <a:gd name="connsiteX166" fmla="*/ 366386 w 1260819"/>
              <a:gd name="connsiteY166" fmla="*/ 541751 h 1283918"/>
              <a:gd name="connsiteX167" fmla="*/ 385175 w 1260819"/>
              <a:gd name="connsiteY167" fmla="*/ 529225 h 1283918"/>
              <a:gd name="connsiteX168" fmla="*/ 422753 w 1260819"/>
              <a:gd name="connsiteY168" fmla="*/ 516699 h 1283918"/>
              <a:gd name="connsiteX169" fmla="*/ 432148 w 1260819"/>
              <a:gd name="connsiteY169" fmla="*/ 513567 h 1283918"/>
              <a:gd name="connsiteX170" fmla="*/ 460331 w 1260819"/>
              <a:gd name="connsiteY170" fmla="*/ 497909 h 1283918"/>
              <a:gd name="connsiteX171" fmla="*/ 466595 w 1260819"/>
              <a:gd name="connsiteY171" fmla="*/ 491646 h 1283918"/>
              <a:gd name="connsiteX172" fmla="*/ 485384 w 1260819"/>
              <a:gd name="connsiteY172" fmla="*/ 482252 h 1283918"/>
              <a:gd name="connsiteX173" fmla="*/ 501041 w 1260819"/>
              <a:gd name="connsiteY173" fmla="*/ 463463 h 1283918"/>
              <a:gd name="connsiteX174" fmla="*/ 510436 w 1260819"/>
              <a:gd name="connsiteY174" fmla="*/ 457200 h 1283918"/>
              <a:gd name="connsiteX175" fmla="*/ 513567 w 1260819"/>
              <a:gd name="connsiteY175" fmla="*/ 447805 h 1283918"/>
              <a:gd name="connsiteX176" fmla="*/ 522962 w 1260819"/>
              <a:gd name="connsiteY176" fmla="*/ 441542 h 1283918"/>
              <a:gd name="connsiteX177" fmla="*/ 532356 w 1260819"/>
              <a:gd name="connsiteY177" fmla="*/ 432148 h 1283918"/>
              <a:gd name="connsiteX178" fmla="*/ 544882 w 1260819"/>
              <a:gd name="connsiteY178" fmla="*/ 347597 h 1283918"/>
              <a:gd name="connsiteX179" fmla="*/ 554277 w 1260819"/>
              <a:gd name="connsiteY179" fmla="*/ 344466 h 1283918"/>
              <a:gd name="connsiteX180" fmla="*/ 569934 w 1260819"/>
              <a:gd name="connsiteY180" fmla="*/ 341334 h 1283918"/>
              <a:gd name="connsiteX181" fmla="*/ 585592 w 1260819"/>
              <a:gd name="connsiteY181" fmla="*/ 322545 h 1283918"/>
              <a:gd name="connsiteX182" fmla="*/ 594986 w 1260819"/>
              <a:gd name="connsiteY182" fmla="*/ 313151 h 1283918"/>
              <a:gd name="connsiteX183" fmla="*/ 638827 w 1260819"/>
              <a:gd name="connsiteY183" fmla="*/ 310019 h 1283918"/>
              <a:gd name="connsiteX184" fmla="*/ 641959 w 1260819"/>
              <a:gd name="connsiteY184" fmla="*/ 300625 h 1283918"/>
              <a:gd name="connsiteX185" fmla="*/ 635696 w 1260819"/>
              <a:gd name="connsiteY185" fmla="*/ 291230 h 1283918"/>
              <a:gd name="connsiteX186" fmla="*/ 629433 w 1260819"/>
              <a:gd name="connsiteY186" fmla="*/ 269309 h 1283918"/>
              <a:gd name="connsiteX187" fmla="*/ 623170 w 1260819"/>
              <a:gd name="connsiteY187" fmla="*/ 259915 h 1283918"/>
              <a:gd name="connsiteX188" fmla="*/ 626301 w 1260819"/>
              <a:gd name="connsiteY188" fmla="*/ 241126 h 1283918"/>
              <a:gd name="connsiteX189" fmla="*/ 645090 w 1260819"/>
              <a:gd name="connsiteY189" fmla="*/ 222337 h 1283918"/>
              <a:gd name="connsiteX190" fmla="*/ 648222 w 1260819"/>
              <a:gd name="connsiteY190" fmla="*/ 212942 h 1283918"/>
              <a:gd name="connsiteX191" fmla="*/ 667011 w 1260819"/>
              <a:gd name="connsiteY191" fmla="*/ 194153 h 1283918"/>
              <a:gd name="connsiteX192" fmla="*/ 676405 w 1260819"/>
              <a:gd name="connsiteY192" fmla="*/ 165970 h 1283918"/>
              <a:gd name="connsiteX193" fmla="*/ 679537 w 1260819"/>
              <a:gd name="connsiteY193" fmla="*/ 156575 h 1283918"/>
              <a:gd name="connsiteX194" fmla="*/ 682668 w 1260819"/>
              <a:gd name="connsiteY194" fmla="*/ 144049 h 1283918"/>
              <a:gd name="connsiteX195" fmla="*/ 667011 w 1260819"/>
              <a:gd name="connsiteY195" fmla="*/ 106471 h 1283918"/>
              <a:gd name="connsiteX196" fmla="*/ 685800 w 1260819"/>
              <a:gd name="connsiteY196" fmla="*/ 87682 h 1283918"/>
              <a:gd name="connsiteX197" fmla="*/ 701458 w 1260819"/>
              <a:gd name="connsiteY197" fmla="*/ 72025 h 1283918"/>
              <a:gd name="connsiteX198" fmla="*/ 720247 w 1260819"/>
              <a:gd name="connsiteY198" fmla="*/ 65762 h 1283918"/>
              <a:gd name="connsiteX199" fmla="*/ 732773 w 1260819"/>
              <a:gd name="connsiteY199" fmla="*/ 46972 h 1283918"/>
              <a:gd name="connsiteX200" fmla="*/ 735904 w 1260819"/>
              <a:gd name="connsiteY200" fmla="*/ 37578 h 1283918"/>
              <a:gd name="connsiteX201" fmla="*/ 748430 w 1260819"/>
              <a:gd name="connsiteY201" fmla="*/ 18789 h 1283918"/>
              <a:gd name="connsiteX202" fmla="*/ 767219 w 1260819"/>
              <a:gd name="connsiteY202" fmla="*/ 6263 h 1283918"/>
              <a:gd name="connsiteX203" fmla="*/ 776614 w 1260819"/>
              <a:gd name="connsiteY203" fmla="*/ 0 h 1283918"/>
              <a:gd name="connsiteX204" fmla="*/ 814192 w 1260819"/>
              <a:gd name="connsiteY204" fmla="*/ 9394 h 1283918"/>
              <a:gd name="connsiteX205" fmla="*/ 817323 w 1260819"/>
              <a:gd name="connsiteY205" fmla="*/ 21920 h 1283918"/>
              <a:gd name="connsiteX206" fmla="*/ 820455 w 1260819"/>
              <a:gd name="connsiteY206" fmla="*/ 62630 h 1283918"/>
              <a:gd name="connsiteX207" fmla="*/ 823586 w 1260819"/>
              <a:gd name="connsiteY207" fmla="*/ 72025 h 1283918"/>
              <a:gd name="connsiteX208" fmla="*/ 832981 w 1260819"/>
              <a:gd name="connsiteY208" fmla="*/ 81419 h 1283918"/>
              <a:gd name="connsiteX209" fmla="*/ 873690 w 1260819"/>
              <a:gd name="connsiteY209" fmla="*/ 90814 h 1283918"/>
              <a:gd name="connsiteX210" fmla="*/ 886216 w 1260819"/>
              <a:gd name="connsiteY210" fmla="*/ 93945 h 1283918"/>
              <a:gd name="connsiteX211" fmla="*/ 914400 w 1260819"/>
              <a:gd name="connsiteY211" fmla="*/ 118997 h 1283918"/>
              <a:gd name="connsiteX212" fmla="*/ 945715 w 1260819"/>
              <a:gd name="connsiteY212" fmla="*/ 137786 h 1283918"/>
              <a:gd name="connsiteX213" fmla="*/ 955110 w 1260819"/>
              <a:gd name="connsiteY213" fmla="*/ 144049 h 1283918"/>
              <a:gd name="connsiteX214" fmla="*/ 973899 w 1260819"/>
              <a:gd name="connsiteY214" fmla="*/ 162838 h 1283918"/>
              <a:gd name="connsiteX215" fmla="*/ 992688 w 1260819"/>
              <a:gd name="connsiteY215" fmla="*/ 178496 h 1283918"/>
              <a:gd name="connsiteX216" fmla="*/ 1020871 w 1260819"/>
              <a:gd name="connsiteY216" fmla="*/ 178496 h 1283918"/>
              <a:gd name="connsiteX217" fmla="*/ 1030266 w 1260819"/>
              <a:gd name="connsiteY217" fmla="*/ 187890 h 1283918"/>
              <a:gd name="connsiteX218" fmla="*/ 1036529 w 1260819"/>
              <a:gd name="connsiteY218" fmla="*/ 206679 h 1283918"/>
              <a:gd name="connsiteX219" fmla="*/ 1039660 w 1260819"/>
              <a:gd name="connsiteY219" fmla="*/ 219205 h 1283918"/>
              <a:gd name="connsiteX220" fmla="*/ 1052186 w 1260819"/>
              <a:gd name="connsiteY220" fmla="*/ 237994 h 1283918"/>
              <a:gd name="connsiteX221" fmla="*/ 1058449 w 1260819"/>
              <a:gd name="connsiteY221" fmla="*/ 247389 h 1283918"/>
              <a:gd name="connsiteX222" fmla="*/ 1067844 w 1260819"/>
              <a:gd name="connsiteY222" fmla="*/ 253652 h 1283918"/>
              <a:gd name="connsiteX223" fmla="*/ 1070975 w 1260819"/>
              <a:gd name="connsiteY223" fmla="*/ 263046 h 1283918"/>
              <a:gd name="connsiteX224" fmla="*/ 1077238 w 1260819"/>
              <a:gd name="connsiteY224" fmla="*/ 272441 h 1283918"/>
              <a:gd name="connsiteX225" fmla="*/ 1083501 w 1260819"/>
              <a:gd name="connsiteY225" fmla="*/ 297493 h 1283918"/>
              <a:gd name="connsiteX226" fmla="*/ 1108553 w 1260819"/>
              <a:gd name="connsiteY226" fmla="*/ 319414 h 1283918"/>
              <a:gd name="connsiteX227" fmla="*/ 1117948 w 1260819"/>
              <a:gd name="connsiteY227" fmla="*/ 322545 h 1283918"/>
              <a:gd name="connsiteX228" fmla="*/ 1121079 w 1260819"/>
              <a:gd name="connsiteY228" fmla="*/ 331940 h 1283918"/>
              <a:gd name="connsiteX229" fmla="*/ 1130474 w 1260819"/>
              <a:gd name="connsiteY229" fmla="*/ 335071 h 1283918"/>
              <a:gd name="connsiteX230" fmla="*/ 1174315 w 1260819"/>
              <a:gd name="connsiteY230" fmla="*/ 338203 h 1283918"/>
              <a:gd name="connsiteX231" fmla="*/ 1183710 w 1260819"/>
              <a:gd name="connsiteY231" fmla="*/ 341334 h 1283918"/>
              <a:gd name="connsiteX232" fmla="*/ 1218156 w 1260819"/>
              <a:gd name="connsiteY232" fmla="*/ 331940 h 1283918"/>
              <a:gd name="connsiteX233" fmla="*/ 1227551 w 1260819"/>
              <a:gd name="connsiteY233" fmla="*/ 328808 h 1283918"/>
              <a:gd name="connsiteX234" fmla="*/ 1236945 w 1260819"/>
              <a:gd name="connsiteY234" fmla="*/ 331940 h 1283918"/>
              <a:gd name="connsiteX235" fmla="*/ 1224419 w 1260819"/>
              <a:gd name="connsiteY235" fmla="*/ 356992 h 1283918"/>
              <a:gd name="connsiteX236" fmla="*/ 1227551 w 1260819"/>
              <a:gd name="connsiteY236" fmla="*/ 382044 h 1283918"/>
              <a:gd name="connsiteX237" fmla="*/ 1233814 w 1260819"/>
              <a:gd name="connsiteY237" fmla="*/ 391438 h 1283918"/>
              <a:gd name="connsiteX238" fmla="*/ 1236945 w 1260819"/>
              <a:gd name="connsiteY238" fmla="*/ 400833 h 1283918"/>
              <a:gd name="connsiteX239" fmla="*/ 1243208 w 1260819"/>
              <a:gd name="connsiteY239" fmla="*/ 410227 h 1283918"/>
              <a:gd name="connsiteX240" fmla="*/ 1249471 w 1260819"/>
              <a:gd name="connsiteY240" fmla="*/ 429016 h 1283918"/>
              <a:gd name="connsiteX241" fmla="*/ 1246340 w 1260819"/>
              <a:gd name="connsiteY241" fmla="*/ 447805 h 1283918"/>
              <a:gd name="connsiteX242" fmla="*/ 1227551 w 1260819"/>
              <a:gd name="connsiteY242" fmla="*/ 460331 h 1283918"/>
              <a:gd name="connsiteX243" fmla="*/ 1218156 w 1260819"/>
              <a:gd name="connsiteY243" fmla="*/ 479120 h 1283918"/>
              <a:gd name="connsiteX244" fmla="*/ 1227551 w 1260819"/>
              <a:gd name="connsiteY244" fmla="*/ 485383 h 1283918"/>
              <a:gd name="connsiteX245" fmla="*/ 1258866 w 1260819"/>
              <a:gd name="connsiteY245" fmla="*/ 491646 h 1283918"/>
              <a:gd name="connsiteX0" fmla="*/ 1258866 w 1260819"/>
              <a:gd name="connsiteY0" fmla="*/ 491646 h 1283918"/>
              <a:gd name="connsiteX1" fmla="*/ 1255734 w 1260819"/>
              <a:gd name="connsiteY1" fmla="*/ 507304 h 1283918"/>
              <a:gd name="connsiteX2" fmla="*/ 1246340 w 1260819"/>
              <a:gd name="connsiteY2" fmla="*/ 510435 h 1283918"/>
              <a:gd name="connsiteX3" fmla="*/ 1205630 w 1260819"/>
              <a:gd name="connsiteY3" fmla="*/ 507304 h 1283918"/>
              <a:gd name="connsiteX4" fmla="*/ 1196236 w 1260819"/>
              <a:gd name="connsiteY4" fmla="*/ 510435 h 1283918"/>
              <a:gd name="connsiteX5" fmla="*/ 1193104 w 1260819"/>
              <a:gd name="connsiteY5" fmla="*/ 522962 h 1283918"/>
              <a:gd name="connsiteX6" fmla="*/ 1189973 w 1260819"/>
              <a:gd name="connsiteY6" fmla="*/ 532356 h 1283918"/>
              <a:gd name="connsiteX7" fmla="*/ 1180578 w 1260819"/>
              <a:gd name="connsiteY7" fmla="*/ 538619 h 1283918"/>
              <a:gd name="connsiteX8" fmla="*/ 1171184 w 1260819"/>
              <a:gd name="connsiteY8" fmla="*/ 548014 h 1283918"/>
              <a:gd name="connsiteX9" fmla="*/ 1161789 w 1260819"/>
              <a:gd name="connsiteY9" fmla="*/ 554277 h 1283918"/>
              <a:gd name="connsiteX10" fmla="*/ 1143000 w 1260819"/>
              <a:gd name="connsiteY10" fmla="*/ 560540 h 1283918"/>
              <a:gd name="connsiteX11" fmla="*/ 1117948 w 1260819"/>
              <a:gd name="connsiteY11" fmla="*/ 557408 h 1283918"/>
              <a:gd name="connsiteX12" fmla="*/ 1108553 w 1260819"/>
              <a:gd name="connsiteY12" fmla="*/ 551145 h 1283918"/>
              <a:gd name="connsiteX13" fmla="*/ 1105422 w 1260819"/>
              <a:gd name="connsiteY13" fmla="*/ 560540 h 1283918"/>
              <a:gd name="connsiteX14" fmla="*/ 1102290 w 1260819"/>
              <a:gd name="connsiteY14" fmla="*/ 594986 h 1283918"/>
              <a:gd name="connsiteX15" fmla="*/ 1092896 w 1260819"/>
              <a:gd name="connsiteY15" fmla="*/ 601249 h 1283918"/>
              <a:gd name="connsiteX16" fmla="*/ 1074107 w 1260819"/>
              <a:gd name="connsiteY16" fmla="*/ 610644 h 1283918"/>
              <a:gd name="connsiteX17" fmla="*/ 1070975 w 1260819"/>
              <a:gd name="connsiteY17" fmla="*/ 663879 h 1283918"/>
              <a:gd name="connsiteX18" fmla="*/ 1067844 w 1260819"/>
              <a:gd name="connsiteY18" fmla="*/ 673274 h 1283918"/>
              <a:gd name="connsiteX19" fmla="*/ 1092896 w 1260819"/>
              <a:gd name="connsiteY19" fmla="*/ 682668 h 1283918"/>
              <a:gd name="connsiteX20" fmla="*/ 1096027 w 1260819"/>
              <a:gd name="connsiteY20" fmla="*/ 692063 h 1283918"/>
              <a:gd name="connsiteX21" fmla="*/ 1117948 w 1260819"/>
              <a:gd name="connsiteY21" fmla="*/ 701457 h 1283918"/>
              <a:gd name="connsiteX22" fmla="*/ 1127342 w 1260819"/>
              <a:gd name="connsiteY22" fmla="*/ 720246 h 1283918"/>
              <a:gd name="connsiteX23" fmla="*/ 1139868 w 1260819"/>
              <a:gd name="connsiteY23" fmla="*/ 723378 h 1283918"/>
              <a:gd name="connsiteX24" fmla="*/ 1146131 w 1260819"/>
              <a:gd name="connsiteY24" fmla="*/ 732772 h 1283918"/>
              <a:gd name="connsiteX25" fmla="*/ 1136737 w 1260819"/>
              <a:gd name="connsiteY25" fmla="*/ 751562 h 1283918"/>
              <a:gd name="connsiteX26" fmla="*/ 1127342 w 1260819"/>
              <a:gd name="connsiteY26" fmla="*/ 770351 h 1283918"/>
              <a:gd name="connsiteX27" fmla="*/ 1117948 w 1260819"/>
              <a:gd name="connsiteY27" fmla="*/ 789140 h 1283918"/>
              <a:gd name="connsiteX28" fmla="*/ 1108553 w 1260819"/>
              <a:gd name="connsiteY28" fmla="*/ 807929 h 1283918"/>
              <a:gd name="connsiteX29" fmla="*/ 1092896 w 1260819"/>
              <a:gd name="connsiteY29" fmla="*/ 836112 h 1283918"/>
              <a:gd name="connsiteX30" fmla="*/ 1074107 w 1260819"/>
              <a:gd name="connsiteY30" fmla="*/ 851770 h 1283918"/>
              <a:gd name="connsiteX31" fmla="*/ 1070975 w 1260819"/>
              <a:gd name="connsiteY31" fmla="*/ 867427 h 1283918"/>
              <a:gd name="connsiteX32" fmla="*/ 1067844 w 1260819"/>
              <a:gd name="connsiteY32" fmla="*/ 876822 h 1283918"/>
              <a:gd name="connsiteX33" fmla="*/ 1039660 w 1260819"/>
              <a:gd name="connsiteY33" fmla="*/ 879953 h 1283918"/>
              <a:gd name="connsiteX34" fmla="*/ 1011477 w 1260819"/>
              <a:gd name="connsiteY34" fmla="*/ 886216 h 1283918"/>
              <a:gd name="connsiteX35" fmla="*/ 1002082 w 1260819"/>
              <a:gd name="connsiteY35" fmla="*/ 892479 h 1283918"/>
              <a:gd name="connsiteX36" fmla="*/ 992688 w 1260819"/>
              <a:gd name="connsiteY36" fmla="*/ 895611 h 1283918"/>
              <a:gd name="connsiteX37" fmla="*/ 980162 w 1260819"/>
              <a:gd name="connsiteY37" fmla="*/ 901874 h 1283918"/>
              <a:gd name="connsiteX38" fmla="*/ 970767 w 1260819"/>
              <a:gd name="connsiteY38" fmla="*/ 908137 h 1283918"/>
              <a:gd name="connsiteX39" fmla="*/ 958241 w 1260819"/>
              <a:gd name="connsiteY39" fmla="*/ 911268 h 1283918"/>
              <a:gd name="connsiteX40" fmla="*/ 948847 w 1260819"/>
              <a:gd name="connsiteY40" fmla="*/ 914400 h 1283918"/>
              <a:gd name="connsiteX41" fmla="*/ 936321 w 1260819"/>
              <a:gd name="connsiteY41" fmla="*/ 917531 h 1283918"/>
              <a:gd name="connsiteX42" fmla="*/ 905005 w 1260819"/>
              <a:gd name="connsiteY42" fmla="*/ 930057 h 1283918"/>
              <a:gd name="connsiteX43" fmla="*/ 886216 w 1260819"/>
              <a:gd name="connsiteY43" fmla="*/ 936320 h 1283918"/>
              <a:gd name="connsiteX44" fmla="*/ 867427 w 1260819"/>
              <a:gd name="connsiteY44" fmla="*/ 955109 h 1283918"/>
              <a:gd name="connsiteX45" fmla="*/ 851770 w 1260819"/>
              <a:gd name="connsiteY45" fmla="*/ 973899 h 1283918"/>
              <a:gd name="connsiteX46" fmla="*/ 842375 w 1260819"/>
              <a:gd name="connsiteY46" fmla="*/ 980162 h 1283918"/>
              <a:gd name="connsiteX47" fmla="*/ 823586 w 1260819"/>
              <a:gd name="connsiteY47" fmla="*/ 992688 h 1283918"/>
              <a:gd name="connsiteX48" fmla="*/ 804797 w 1260819"/>
              <a:gd name="connsiteY48" fmla="*/ 1011477 h 1283918"/>
              <a:gd name="connsiteX49" fmla="*/ 795403 w 1260819"/>
              <a:gd name="connsiteY49" fmla="*/ 1017740 h 1283918"/>
              <a:gd name="connsiteX50" fmla="*/ 776614 w 1260819"/>
              <a:gd name="connsiteY50" fmla="*/ 1036529 h 1283918"/>
              <a:gd name="connsiteX51" fmla="*/ 767219 w 1260819"/>
              <a:gd name="connsiteY51" fmla="*/ 1045923 h 1283918"/>
              <a:gd name="connsiteX52" fmla="*/ 739036 w 1260819"/>
              <a:gd name="connsiteY52" fmla="*/ 1064712 h 1283918"/>
              <a:gd name="connsiteX53" fmla="*/ 720247 w 1260819"/>
              <a:gd name="connsiteY53" fmla="*/ 1083501 h 1283918"/>
              <a:gd name="connsiteX54" fmla="*/ 701458 w 1260819"/>
              <a:gd name="connsiteY54" fmla="*/ 1096027 h 1283918"/>
              <a:gd name="connsiteX55" fmla="*/ 695195 w 1260819"/>
              <a:gd name="connsiteY55" fmla="*/ 1105422 h 1283918"/>
              <a:gd name="connsiteX56" fmla="*/ 688931 w 1260819"/>
              <a:gd name="connsiteY56" fmla="*/ 1111685 h 1283918"/>
              <a:gd name="connsiteX57" fmla="*/ 679537 w 1260819"/>
              <a:gd name="connsiteY57" fmla="*/ 1130474 h 1283918"/>
              <a:gd name="connsiteX58" fmla="*/ 657616 w 1260819"/>
              <a:gd name="connsiteY58" fmla="*/ 1139868 h 1283918"/>
              <a:gd name="connsiteX59" fmla="*/ 645090 w 1260819"/>
              <a:gd name="connsiteY59" fmla="*/ 1158657 h 1283918"/>
              <a:gd name="connsiteX60" fmla="*/ 638827 w 1260819"/>
              <a:gd name="connsiteY60" fmla="*/ 1168052 h 1283918"/>
              <a:gd name="connsiteX61" fmla="*/ 632564 w 1260819"/>
              <a:gd name="connsiteY61" fmla="*/ 1186841 h 1283918"/>
              <a:gd name="connsiteX62" fmla="*/ 629433 w 1260819"/>
              <a:gd name="connsiteY62" fmla="*/ 1202499 h 1283918"/>
              <a:gd name="connsiteX63" fmla="*/ 623170 w 1260819"/>
              <a:gd name="connsiteY63" fmla="*/ 1221288 h 1283918"/>
              <a:gd name="connsiteX64" fmla="*/ 610644 w 1260819"/>
              <a:gd name="connsiteY64" fmla="*/ 1240077 h 1283918"/>
              <a:gd name="connsiteX65" fmla="*/ 601249 w 1260819"/>
              <a:gd name="connsiteY65" fmla="*/ 1258866 h 1283918"/>
              <a:gd name="connsiteX66" fmla="*/ 585592 w 1260819"/>
              <a:gd name="connsiteY66" fmla="*/ 1283918 h 1283918"/>
              <a:gd name="connsiteX67" fmla="*/ 563671 w 1260819"/>
              <a:gd name="connsiteY67" fmla="*/ 1280786 h 1283918"/>
              <a:gd name="connsiteX68" fmla="*/ 557408 w 1260819"/>
              <a:gd name="connsiteY68" fmla="*/ 1271392 h 1283918"/>
              <a:gd name="connsiteX69" fmla="*/ 548014 w 1260819"/>
              <a:gd name="connsiteY69" fmla="*/ 1265129 h 1283918"/>
              <a:gd name="connsiteX70" fmla="*/ 541751 w 1260819"/>
              <a:gd name="connsiteY70" fmla="*/ 1255734 h 1283918"/>
              <a:gd name="connsiteX71" fmla="*/ 529225 w 1260819"/>
              <a:gd name="connsiteY71" fmla="*/ 1246340 h 1283918"/>
              <a:gd name="connsiteX72" fmla="*/ 522962 w 1260819"/>
              <a:gd name="connsiteY72" fmla="*/ 1255734 h 1283918"/>
              <a:gd name="connsiteX73" fmla="*/ 507304 w 1260819"/>
              <a:gd name="connsiteY73" fmla="*/ 1258866 h 1283918"/>
              <a:gd name="connsiteX74" fmla="*/ 469726 w 1260819"/>
              <a:gd name="connsiteY74" fmla="*/ 1265129 h 1283918"/>
              <a:gd name="connsiteX75" fmla="*/ 403964 w 1260819"/>
              <a:gd name="connsiteY75" fmla="*/ 1261997 h 1283918"/>
              <a:gd name="connsiteX76" fmla="*/ 385175 w 1260819"/>
              <a:gd name="connsiteY76" fmla="*/ 1255734 h 1283918"/>
              <a:gd name="connsiteX77" fmla="*/ 375781 w 1260819"/>
              <a:gd name="connsiteY77" fmla="*/ 1252603 h 1283918"/>
              <a:gd name="connsiteX78" fmla="*/ 366386 w 1260819"/>
              <a:gd name="connsiteY78" fmla="*/ 1249471 h 1283918"/>
              <a:gd name="connsiteX79" fmla="*/ 356992 w 1260819"/>
              <a:gd name="connsiteY79" fmla="*/ 1246340 h 1283918"/>
              <a:gd name="connsiteX80" fmla="*/ 347597 w 1260819"/>
              <a:gd name="connsiteY80" fmla="*/ 1240077 h 1283918"/>
              <a:gd name="connsiteX81" fmla="*/ 347597 w 1260819"/>
              <a:gd name="connsiteY81" fmla="*/ 1149263 h 1283918"/>
              <a:gd name="connsiteX82" fmla="*/ 350729 w 1260819"/>
              <a:gd name="connsiteY82" fmla="*/ 1139868 h 1283918"/>
              <a:gd name="connsiteX83" fmla="*/ 350729 w 1260819"/>
              <a:gd name="connsiteY83" fmla="*/ 1102290 h 1283918"/>
              <a:gd name="connsiteX84" fmla="*/ 360123 w 1260819"/>
              <a:gd name="connsiteY84" fmla="*/ 1092896 h 1283918"/>
              <a:gd name="connsiteX85" fmla="*/ 369518 w 1260819"/>
              <a:gd name="connsiteY85" fmla="*/ 1086633 h 1283918"/>
              <a:gd name="connsiteX86" fmla="*/ 372649 w 1260819"/>
              <a:gd name="connsiteY86" fmla="*/ 1061581 h 1283918"/>
              <a:gd name="connsiteX87" fmla="*/ 363255 w 1260819"/>
              <a:gd name="connsiteY87" fmla="*/ 1058449 h 1283918"/>
              <a:gd name="connsiteX88" fmla="*/ 353860 w 1260819"/>
              <a:gd name="connsiteY88" fmla="*/ 1061581 h 1283918"/>
              <a:gd name="connsiteX89" fmla="*/ 344466 w 1260819"/>
              <a:gd name="connsiteY89" fmla="*/ 1070975 h 1283918"/>
              <a:gd name="connsiteX90" fmla="*/ 335071 w 1260819"/>
              <a:gd name="connsiteY90" fmla="*/ 1064712 h 1283918"/>
              <a:gd name="connsiteX91" fmla="*/ 331940 w 1260819"/>
              <a:gd name="connsiteY91" fmla="*/ 1055318 h 1283918"/>
              <a:gd name="connsiteX92" fmla="*/ 341334 w 1260819"/>
              <a:gd name="connsiteY92" fmla="*/ 1036529 h 1283918"/>
              <a:gd name="connsiteX93" fmla="*/ 344466 w 1260819"/>
              <a:gd name="connsiteY93" fmla="*/ 1027134 h 1283918"/>
              <a:gd name="connsiteX94" fmla="*/ 328808 w 1260819"/>
              <a:gd name="connsiteY94" fmla="*/ 1008345 h 1283918"/>
              <a:gd name="connsiteX95" fmla="*/ 319414 w 1260819"/>
              <a:gd name="connsiteY95" fmla="*/ 1005214 h 1283918"/>
              <a:gd name="connsiteX96" fmla="*/ 322545 w 1260819"/>
              <a:gd name="connsiteY96" fmla="*/ 986425 h 1283918"/>
              <a:gd name="connsiteX97" fmla="*/ 338203 w 1260819"/>
              <a:gd name="connsiteY97" fmla="*/ 967635 h 1283918"/>
              <a:gd name="connsiteX98" fmla="*/ 344466 w 1260819"/>
              <a:gd name="connsiteY98" fmla="*/ 958241 h 1283918"/>
              <a:gd name="connsiteX99" fmla="*/ 347597 w 1260819"/>
              <a:gd name="connsiteY99" fmla="*/ 948846 h 1283918"/>
              <a:gd name="connsiteX100" fmla="*/ 325677 w 1260819"/>
              <a:gd name="connsiteY100" fmla="*/ 936320 h 1283918"/>
              <a:gd name="connsiteX101" fmla="*/ 313151 w 1260819"/>
              <a:gd name="connsiteY101" fmla="*/ 933189 h 1283918"/>
              <a:gd name="connsiteX102" fmla="*/ 306888 w 1260819"/>
              <a:gd name="connsiteY102" fmla="*/ 923794 h 1283918"/>
              <a:gd name="connsiteX103" fmla="*/ 297493 w 1260819"/>
              <a:gd name="connsiteY103" fmla="*/ 905005 h 1283918"/>
              <a:gd name="connsiteX104" fmla="*/ 288099 w 1260819"/>
              <a:gd name="connsiteY104" fmla="*/ 901874 h 1283918"/>
              <a:gd name="connsiteX105" fmla="*/ 278704 w 1260819"/>
              <a:gd name="connsiteY105" fmla="*/ 908137 h 1283918"/>
              <a:gd name="connsiteX106" fmla="*/ 269310 w 1260819"/>
              <a:gd name="connsiteY106" fmla="*/ 926926 h 1283918"/>
              <a:gd name="connsiteX107" fmla="*/ 244258 w 1260819"/>
              <a:gd name="connsiteY107" fmla="*/ 933189 h 1283918"/>
              <a:gd name="connsiteX108" fmla="*/ 216074 w 1260819"/>
              <a:gd name="connsiteY108" fmla="*/ 961372 h 1283918"/>
              <a:gd name="connsiteX109" fmla="*/ 206679 w 1260819"/>
              <a:gd name="connsiteY109" fmla="*/ 970767 h 1283918"/>
              <a:gd name="connsiteX110" fmla="*/ 178496 w 1260819"/>
              <a:gd name="connsiteY110" fmla="*/ 948846 h 1283918"/>
              <a:gd name="connsiteX111" fmla="*/ 169101 w 1260819"/>
              <a:gd name="connsiteY111" fmla="*/ 945715 h 1283918"/>
              <a:gd name="connsiteX112" fmla="*/ 156575 w 1260819"/>
              <a:gd name="connsiteY112" fmla="*/ 948846 h 1283918"/>
              <a:gd name="connsiteX113" fmla="*/ 153444 w 1260819"/>
              <a:gd name="connsiteY113" fmla="*/ 958241 h 1283918"/>
              <a:gd name="connsiteX114" fmla="*/ 140918 w 1260819"/>
              <a:gd name="connsiteY114" fmla="*/ 992688 h 1283918"/>
              <a:gd name="connsiteX115" fmla="*/ 131523 w 1260819"/>
              <a:gd name="connsiteY115" fmla="*/ 995819 h 1283918"/>
              <a:gd name="connsiteX116" fmla="*/ 122129 w 1260819"/>
              <a:gd name="connsiteY116" fmla="*/ 1002082 h 1283918"/>
              <a:gd name="connsiteX117" fmla="*/ 115866 w 1260819"/>
              <a:gd name="connsiteY117" fmla="*/ 1030266 h 1283918"/>
              <a:gd name="connsiteX118" fmla="*/ 109603 w 1260819"/>
              <a:gd name="connsiteY118" fmla="*/ 1020871 h 1283918"/>
              <a:gd name="connsiteX119" fmla="*/ 90814 w 1260819"/>
              <a:gd name="connsiteY119" fmla="*/ 1014608 h 1283918"/>
              <a:gd name="connsiteX120" fmla="*/ 84551 w 1260819"/>
              <a:gd name="connsiteY120" fmla="*/ 1005214 h 1283918"/>
              <a:gd name="connsiteX121" fmla="*/ 43841 w 1260819"/>
              <a:gd name="connsiteY121" fmla="*/ 995819 h 1283918"/>
              <a:gd name="connsiteX122" fmla="*/ 37578 w 1260819"/>
              <a:gd name="connsiteY122" fmla="*/ 986425 h 1283918"/>
              <a:gd name="connsiteX123" fmla="*/ 25052 w 1260819"/>
              <a:gd name="connsiteY123" fmla="*/ 942583 h 1283918"/>
              <a:gd name="connsiteX124" fmla="*/ 21921 w 1260819"/>
              <a:gd name="connsiteY124" fmla="*/ 917531 h 1283918"/>
              <a:gd name="connsiteX125" fmla="*/ 37578 w 1260819"/>
              <a:gd name="connsiteY125" fmla="*/ 914400 h 1283918"/>
              <a:gd name="connsiteX126" fmla="*/ 46973 w 1260819"/>
              <a:gd name="connsiteY126" fmla="*/ 908137 h 1283918"/>
              <a:gd name="connsiteX127" fmla="*/ 53236 w 1260819"/>
              <a:gd name="connsiteY127" fmla="*/ 898742 h 1283918"/>
              <a:gd name="connsiteX128" fmla="*/ 72025 w 1260819"/>
              <a:gd name="connsiteY128" fmla="*/ 892479 h 1283918"/>
              <a:gd name="connsiteX129" fmla="*/ 78288 w 1260819"/>
              <a:gd name="connsiteY129" fmla="*/ 883085 h 1283918"/>
              <a:gd name="connsiteX130" fmla="*/ 75156 w 1260819"/>
              <a:gd name="connsiteY130" fmla="*/ 873690 h 1283918"/>
              <a:gd name="connsiteX131" fmla="*/ 68893 w 1260819"/>
              <a:gd name="connsiteY131" fmla="*/ 864296 h 1283918"/>
              <a:gd name="connsiteX132" fmla="*/ 59499 w 1260819"/>
              <a:gd name="connsiteY132" fmla="*/ 861164 h 1283918"/>
              <a:gd name="connsiteX133" fmla="*/ 50104 w 1260819"/>
              <a:gd name="connsiteY133" fmla="*/ 854901 h 1283918"/>
              <a:gd name="connsiteX134" fmla="*/ 46973 w 1260819"/>
              <a:gd name="connsiteY134" fmla="*/ 823586 h 1283918"/>
              <a:gd name="connsiteX135" fmla="*/ 37578 w 1260819"/>
              <a:gd name="connsiteY135" fmla="*/ 820455 h 1283918"/>
              <a:gd name="connsiteX136" fmla="*/ 15658 w 1260819"/>
              <a:gd name="connsiteY136" fmla="*/ 817323 h 1283918"/>
              <a:gd name="connsiteX137" fmla="*/ 25052 w 1260819"/>
              <a:gd name="connsiteY137" fmla="*/ 798534 h 1283918"/>
              <a:gd name="connsiteX138" fmla="*/ 43841 w 1260819"/>
              <a:gd name="connsiteY138" fmla="*/ 786008 h 1283918"/>
              <a:gd name="connsiteX139" fmla="*/ 31315 w 1260819"/>
              <a:gd name="connsiteY139" fmla="*/ 782877 h 1283918"/>
              <a:gd name="connsiteX140" fmla="*/ 12526 w 1260819"/>
              <a:gd name="connsiteY140" fmla="*/ 779745 h 1283918"/>
              <a:gd name="connsiteX141" fmla="*/ 15658 w 1260819"/>
              <a:gd name="connsiteY141" fmla="*/ 748430 h 1283918"/>
              <a:gd name="connsiteX142" fmla="*/ 21921 w 1260819"/>
              <a:gd name="connsiteY142" fmla="*/ 717115 h 1283918"/>
              <a:gd name="connsiteX143" fmla="*/ 0 w 1260819"/>
              <a:gd name="connsiteY143" fmla="*/ 701457 h 1283918"/>
              <a:gd name="connsiteX144" fmla="*/ 12526 w 1260819"/>
              <a:gd name="connsiteY144" fmla="*/ 679537 h 1283918"/>
              <a:gd name="connsiteX145" fmla="*/ 31315 w 1260819"/>
              <a:gd name="connsiteY145" fmla="*/ 673274 h 1283918"/>
              <a:gd name="connsiteX146" fmla="*/ 40710 w 1260819"/>
              <a:gd name="connsiteY146" fmla="*/ 667011 h 1283918"/>
              <a:gd name="connsiteX147" fmla="*/ 50104 w 1260819"/>
              <a:gd name="connsiteY147" fmla="*/ 657616 h 1283918"/>
              <a:gd name="connsiteX148" fmla="*/ 68893 w 1260819"/>
              <a:gd name="connsiteY148" fmla="*/ 651353 h 1283918"/>
              <a:gd name="connsiteX149" fmla="*/ 87682 w 1260819"/>
              <a:gd name="connsiteY149" fmla="*/ 645090 h 1283918"/>
              <a:gd name="connsiteX150" fmla="*/ 106471 w 1260819"/>
              <a:gd name="connsiteY150" fmla="*/ 632564 h 1283918"/>
              <a:gd name="connsiteX151" fmla="*/ 115866 w 1260819"/>
              <a:gd name="connsiteY151" fmla="*/ 629433 h 1283918"/>
              <a:gd name="connsiteX152" fmla="*/ 144049 w 1260819"/>
              <a:gd name="connsiteY152" fmla="*/ 616907 h 1283918"/>
              <a:gd name="connsiteX153" fmla="*/ 153444 w 1260819"/>
              <a:gd name="connsiteY153" fmla="*/ 613775 h 1283918"/>
              <a:gd name="connsiteX154" fmla="*/ 175364 w 1260819"/>
              <a:gd name="connsiteY154" fmla="*/ 591855 h 1283918"/>
              <a:gd name="connsiteX155" fmla="*/ 191022 w 1260819"/>
              <a:gd name="connsiteY155" fmla="*/ 613775 h 1283918"/>
              <a:gd name="connsiteX156" fmla="*/ 200416 w 1260819"/>
              <a:gd name="connsiteY156" fmla="*/ 610644 h 1283918"/>
              <a:gd name="connsiteX157" fmla="*/ 219205 w 1260819"/>
              <a:gd name="connsiteY157" fmla="*/ 616907 h 1283918"/>
              <a:gd name="connsiteX158" fmla="*/ 263047 w 1260819"/>
              <a:gd name="connsiteY158" fmla="*/ 613775 h 1283918"/>
              <a:gd name="connsiteX159" fmla="*/ 275573 w 1260819"/>
              <a:gd name="connsiteY159" fmla="*/ 598118 h 1283918"/>
              <a:gd name="connsiteX160" fmla="*/ 281836 w 1260819"/>
              <a:gd name="connsiteY160" fmla="*/ 573066 h 1283918"/>
              <a:gd name="connsiteX161" fmla="*/ 288099 w 1260819"/>
              <a:gd name="connsiteY161" fmla="*/ 563671 h 1283918"/>
              <a:gd name="connsiteX162" fmla="*/ 297493 w 1260819"/>
              <a:gd name="connsiteY162" fmla="*/ 560540 h 1283918"/>
              <a:gd name="connsiteX163" fmla="*/ 328808 w 1260819"/>
              <a:gd name="connsiteY163" fmla="*/ 557408 h 1283918"/>
              <a:gd name="connsiteX164" fmla="*/ 347597 w 1260819"/>
              <a:gd name="connsiteY164" fmla="*/ 551145 h 1283918"/>
              <a:gd name="connsiteX165" fmla="*/ 356992 w 1260819"/>
              <a:gd name="connsiteY165" fmla="*/ 544882 h 1283918"/>
              <a:gd name="connsiteX166" fmla="*/ 366386 w 1260819"/>
              <a:gd name="connsiteY166" fmla="*/ 541751 h 1283918"/>
              <a:gd name="connsiteX167" fmla="*/ 385175 w 1260819"/>
              <a:gd name="connsiteY167" fmla="*/ 529225 h 1283918"/>
              <a:gd name="connsiteX168" fmla="*/ 422753 w 1260819"/>
              <a:gd name="connsiteY168" fmla="*/ 516699 h 1283918"/>
              <a:gd name="connsiteX169" fmla="*/ 432148 w 1260819"/>
              <a:gd name="connsiteY169" fmla="*/ 513567 h 1283918"/>
              <a:gd name="connsiteX170" fmla="*/ 460331 w 1260819"/>
              <a:gd name="connsiteY170" fmla="*/ 497909 h 1283918"/>
              <a:gd name="connsiteX171" fmla="*/ 466595 w 1260819"/>
              <a:gd name="connsiteY171" fmla="*/ 491646 h 1283918"/>
              <a:gd name="connsiteX172" fmla="*/ 485384 w 1260819"/>
              <a:gd name="connsiteY172" fmla="*/ 482252 h 1283918"/>
              <a:gd name="connsiteX173" fmla="*/ 501041 w 1260819"/>
              <a:gd name="connsiteY173" fmla="*/ 463463 h 1283918"/>
              <a:gd name="connsiteX174" fmla="*/ 510436 w 1260819"/>
              <a:gd name="connsiteY174" fmla="*/ 457200 h 1283918"/>
              <a:gd name="connsiteX175" fmla="*/ 513567 w 1260819"/>
              <a:gd name="connsiteY175" fmla="*/ 447805 h 1283918"/>
              <a:gd name="connsiteX176" fmla="*/ 522962 w 1260819"/>
              <a:gd name="connsiteY176" fmla="*/ 441542 h 1283918"/>
              <a:gd name="connsiteX177" fmla="*/ 532356 w 1260819"/>
              <a:gd name="connsiteY177" fmla="*/ 432148 h 1283918"/>
              <a:gd name="connsiteX178" fmla="*/ 544882 w 1260819"/>
              <a:gd name="connsiteY178" fmla="*/ 347597 h 1283918"/>
              <a:gd name="connsiteX179" fmla="*/ 554277 w 1260819"/>
              <a:gd name="connsiteY179" fmla="*/ 344466 h 1283918"/>
              <a:gd name="connsiteX180" fmla="*/ 569934 w 1260819"/>
              <a:gd name="connsiteY180" fmla="*/ 341334 h 1283918"/>
              <a:gd name="connsiteX181" fmla="*/ 585592 w 1260819"/>
              <a:gd name="connsiteY181" fmla="*/ 322545 h 1283918"/>
              <a:gd name="connsiteX182" fmla="*/ 594986 w 1260819"/>
              <a:gd name="connsiteY182" fmla="*/ 313151 h 1283918"/>
              <a:gd name="connsiteX183" fmla="*/ 638827 w 1260819"/>
              <a:gd name="connsiteY183" fmla="*/ 310019 h 1283918"/>
              <a:gd name="connsiteX184" fmla="*/ 641959 w 1260819"/>
              <a:gd name="connsiteY184" fmla="*/ 300625 h 1283918"/>
              <a:gd name="connsiteX185" fmla="*/ 635696 w 1260819"/>
              <a:gd name="connsiteY185" fmla="*/ 291230 h 1283918"/>
              <a:gd name="connsiteX186" fmla="*/ 629433 w 1260819"/>
              <a:gd name="connsiteY186" fmla="*/ 269309 h 1283918"/>
              <a:gd name="connsiteX187" fmla="*/ 623170 w 1260819"/>
              <a:gd name="connsiteY187" fmla="*/ 259915 h 1283918"/>
              <a:gd name="connsiteX188" fmla="*/ 626301 w 1260819"/>
              <a:gd name="connsiteY188" fmla="*/ 241126 h 1283918"/>
              <a:gd name="connsiteX189" fmla="*/ 645090 w 1260819"/>
              <a:gd name="connsiteY189" fmla="*/ 222337 h 1283918"/>
              <a:gd name="connsiteX190" fmla="*/ 648222 w 1260819"/>
              <a:gd name="connsiteY190" fmla="*/ 212942 h 1283918"/>
              <a:gd name="connsiteX191" fmla="*/ 667011 w 1260819"/>
              <a:gd name="connsiteY191" fmla="*/ 194153 h 1283918"/>
              <a:gd name="connsiteX192" fmla="*/ 676405 w 1260819"/>
              <a:gd name="connsiteY192" fmla="*/ 165970 h 1283918"/>
              <a:gd name="connsiteX193" fmla="*/ 679537 w 1260819"/>
              <a:gd name="connsiteY193" fmla="*/ 156575 h 1283918"/>
              <a:gd name="connsiteX194" fmla="*/ 670142 w 1260819"/>
              <a:gd name="connsiteY194" fmla="*/ 144049 h 1283918"/>
              <a:gd name="connsiteX195" fmla="*/ 667011 w 1260819"/>
              <a:gd name="connsiteY195" fmla="*/ 106471 h 1283918"/>
              <a:gd name="connsiteX196" fmla="*/ 685800 w 1260819"/>
              <a:gd name="connsiteY196" fmla="*/ 87682 h 1283918"/>
              <a:gd name="connsiteX197" fmla="*/ 701458 w 1260819"/>
              <a:gd name="connsiteY197" fmla="*/ 72025 h 1283918"/>
              <a:gd name="connsiteX198" fmla="*/ 720247 w 1260819"/>
              <a:gd name="connsiteY198" fmla="*/ 65762 h 1283918"/>
              <a:gd name="connsiteX199" fmla="*/ 732773 w 1260819"/>
              <a:gd name="connsiteY199" fmla="*/ 46972 h 1283918"/>
              <a:gd name="connsiteX200" fmla="*/ 735904 w 1260819"/>
              <a:gd name="connsiteY200" fmla="*/ 37578 h 1283918"/>
              <a:gd name="connsiteX201" fmla="*/ 748430 w 1260819"/>
              <a:gd name="connsiteY201" fmla="*/ 18789 h 1283918"/>
              <a:gd name="connsiteX202" fmla="*/ 767219 w 1260819"/>
              <a:gd name="connsiteY202" fmla="*/ 6263 h 1283918"/>
              <a:gd name="connsiteX203" fmla="*/ 776614 w 1260819"/>
              <a:gd name="connsiteY203" fmla="*/ 0 h 1283918"/>
              <a:gd name="connsiteX204" fmla="*/ 814192 w 1260819"/>
              <a:gd name="connsiteY204" fmla="*/ 9394 h 1283918"/>
              <a:gd name="connsiteX205" fmla="*/ 817323 w 1260819"/>
              <a:gd name="connsiteY205" fmla="*/ 21920 h 1283918"/>
              <a:gd name="connsiteX206" fmla="*/ 820455 w 1260819"/>
              <a:gd name="connsiteY206" fmla="*/ 62630 h 1283918"/>
              <a:gd name="connsiteX207" fmla="*/ 823586 w 1260819"/>
              <a:gd name="connsiteY207" fmla="*/ 72025 h 1283918"/>
              <a:gd name="connsiteX208" fmla="*/ 832981 w 1260819"/>
              <a:gd name="connsiteY208" fmla="*/ 81419 h 1283918"/>
              <a:gd name="connsiteX209" fmla="*/ 873690 w 1260819"/>
              <a:gd name="connsiteY209" fmla="*/ 90814 h 1283918"/>
              <a:gd name="connsiteX210" fmla="*/ 886216 w 1260819"/>
              <a:gd name="connsiteY210" fmla="*/ 93945 h 1283918"/>
              <a:gd name="connsiteX211" fmla="*/ 914400 w 1260819"/>
              <a:gd name="connsiteY211" fmla="*/ 118997 h 1283918"/>
              <a:gd name="connsiteX212" fmla="*/ 945715 w 1260819"/>
              <a:gd name="connsiteY212" fmla="*/ 137786 h 1283918"/>
              <a:gd name="connsiteX213" fmla="*/ 955110 w 1260819"/>
              <a:gd name="connsiteY213" fmla="*/ 144049 h 1283918"/>
              <a:gd name="connsiteX214" fmla="*/ 973899 w 1260819"/>
              <a:gd name="connsiteY214" fmla="*/ 162838 h 1283918"/>
              <a:gd name="connsiteX215" fmla="*/ 992688 w 1260819"/>
              <a:gd name="connsiteY215" fmla="*/ 178496 h 1283918"/>
              <a:gd name="connsiteX216" fmla="*/ 1020871 w 1260819"/>
              <a:gd name="connsiteY216" fmla="*/ 178496 h 1283918"/>
              <a:gd name="connsiteX217" fmla="*/ 1030266 w 1260819"/>
              <a:gd name="connsiteY217" fmla="*/ 187890 h 1283918"/>
              <a:gd name="connsiteX218" fmla="*/ 1036529 w 1260819"/>
              <a:gd name="connsiteY218" fmla="*/ 206679 h 1283918"/>
              <a:gd name="connsiteX219" fmla="*/ 1039660 w 1260819"/>
              <a:gd name="connsiteY219" fmla="*/ 219205 h 1283918"/>
              <a:gd name="connsiteX220" fmla="*/ 1052186 w 1260819"/>
              <a:gd name="connsiteY220" fmla="*/ 237994 h 1283918"/>
              <a:gd name="connsiteX221" fmla="*/ 1058449 w 1260819"/>
              <a:gd name="connsiteY221" fmla="*/ 247389 h 1283918"/>
              <a:gd name="connsiteX222" fmla="*/ 1067844 w 1260819"/>
              <a:gd name="connsiteY222" fmla="*/ 253652 h 1283918"/>
              <a:gd name="connsiteX223" fmla="*/ 1070975 w 1260819"/>
              <a:gd name="connsiteY223" fmla="*/ 263046 h 1283918"/>
              <a:gd name="connsiteX224" fmla="*/ 1077238 w 1260819"/>
              <a:gd name="connsiteY224" fmla="*/ 272441 h 1283918"/>
              <a:gd name="connsiteX225" fmla="*/ 1083501 w 1260819"/>
              <a:gd name="connsiteY225" fmla="*/ 297493 h 1283918"/>
              <a:gd name="connsiteX226" fmla="*/ 1108553 w 1260819"/>
              <a:gd name="connsiteY226" fmla="*/ 319414 h 1283918"/>
              <a:gd name="connsiteX227" fmla="*/ 1117948 w 1260819"/>
              <a:gd name="connsiteY227" fmla="*/ 322545 h 1283918"/>
              <a:gd name="connsiteX228" fmla="*/ 1121079 w 1260819"/>
              <a:gd name="connsiteY228" fmla="*/ 331940 h 1283918"/>
              <a:gd name="connsiteX229" fmla="*/ 1130474 w 1260819"/>
              <a:gd name="connsiteY229" fmla="*/ 335071 h 1283918"/>
              <a:gd name="connsiteX230" fmla="*/ 1174315 w 1260819"/>
              <a:gd name="connsiteY230" fmla="*/ 338203 h 1283918"/>
              <a:gd name="connsiteX231" fmla="*/ 1183710 w 1260819"/>
              <a:gd name="connsiteY231" fmla="*/ 341334 h 1283918"/>
              <a:gd name="connsiteX232" fmla="*/ 1218156 w 1260819"/>
              <a:gd name="connsiteY232" fmla="*/ 331940 h 1283918"/>
              <a:gd name="connsiteX233" fmla="*/ 1227551 w 1260819"/>
              <a:gd name="connsiteY233" fmla="*/ 328808 h 1283918"/>
              <a:gd name="connsiteX234" fmla="*/ 1236945 w 1260819"/>
              <a:gd name="connsiteY234" fmla="*/ 331940 h 1283918"/>
              <a:gd name="connsiteX235" fmla="*/ 1224419 w 1260819"/>
              <a:gd name="connsiteY235" fmla="*/ 356992 h 1283918"/>
              <a:gd name="connsiteX236" fmla="*/ 1227551 w 1260819"/>
              <a:gd name="connsiteY236" fmla="*/ 382044 h 1283918"/>
              <a:gd name="connsiteX237" fmla="*/ 1233814 w 1260819"/>
              <a:gd name="connsiteY237" fmla="*/ 391438 h 1283918"/>
              <a:gd name="connsiteX238" fmla="*/ 1236945 w 1260819"/>
              <a:gd name="connsiteY238" fmla="*/ 400833 h 1283918"/>
              <a:gd name="connsiteX239" fmla="*/ 1243208 w 1260819"/>
              <a:gd name="connsiteY239" fmla="*/ 410227 h 1283918"/>
              <a:gd name="connsiteX240" fmla="*/ 1249471 w 1260819"/>
              <a:gd name="connsiteY240" fmla="*/ 429016 h 1283918"/>
              <a:gd name="connsiteX241" fmla="*/ 1246340 w 1260819"/>
              <a:gd name="connsiteY241" fmla="*/ 447805 h 1283918"/>
              <a:gd name="connsiteX242" fmla="*/ 1227551 w 1260819"/>
              <a:gd name="connsiteY242" fmla="*/ 460331 h 1283918"/>
              <a:gd name="connsiteX243" fmla="*/ 1218156 w 1260819"/>
              <a:gd name="connsiteY243" fmla="*/ 479120 h 1283918"/>
              <a:gd name="connsiteX244" fmla="*/ 1227551 w 1260819"/>
              <a:gd name="connsiteY244" fmla="*/ 485383 h 1283918"/>
              <a:gd name="connsiteX245" fmla="*/ 1258866 w 1260819"/>
              <a:gd name="connsiteY245" fmla="*/ 491646 h 1283918"/>
              <a:gd name="connsiteX0" fmla="*/ 1258866 w 1260819"/>
              <a:gd name="connsiteY0" fmla="*/ 491646 h 1283918"/>
              <a:gd name="connsiteX1" fmla="*/ 1255734 w 1260819"/>
              <a:gd name="connsiteY1" fmla="*/ 507304 h 1283918"/>
              <a:gd name="connsiteX2" fmla="*/ 1246340 w 1260819"/>
              <a:gd name="connsiteY2" fmla="*/ 510435 h 1283918"/>
              <a:gd name="connsiteX3" fmla="*/ 1205630 w 1260819"/>
              <a:gd name="connsiteY3" fmla="*/ 507304 h 1283918"/>
              <a:gd name="connsiteX4" fmla="*/ 1196236 w 1260819"/>
              <a:gd name="connsiteY4" fmla="*/ 510435 h 1283918"/>
              <a:gd name="connsiteX5" fmla="*/ 1193104 w 1260819"/>
              <a:gd name="connsiteY5" fmla="*/ 522962 h 1283918"/>
              <a:gd name="connsiteX6" fmla="*/ 1189973 w 1260819"/>
              <a:gd name="connsiteY6" fmla="*/ 532356 h 1283918"/>
              <a:gd name="connsiteX7" fmla="*/ 1180578 w 1260819"/>
              <a:gd name="connsiteY7" fmla="*/ 538619 h 1283918"/>
              <a:gd name="connsiteX8" fmla="*/ 1171184 w 1260819"/>
              <a:gd name="connsiteY8" fmla="*/ 548014 h 1283918"/>
              <a:gd name="connsiteX9" fmla="*/ 1161789 w 1260819"/>
              <a:gd name="connsiteY9" fmla="*/ 554277 h 1283918"/>
              <a:gd name="connsiteX10" fmla="*/ 1143000 w 1260819"/>
              <a:gd name="connsiteY10" fmla="*/ 560540 h 1283918"/>
              <a:gd name="connsiteX11" fmla="*/ 1117948 w 1260819"/>
              <a:gd name="connsiteY11" fmla="*/ 557408 h 1283918"/>
              <a:gd name="connsiteX12" fmla="*/ 1108553 w 1260819"/>
              <a:gd name="connsiteY12" fmla="*/ 551145 h 1283918"/>
              <a:gd name="connsiteX13" fmla="*/ 1105422 w 1260819"/>
              <a:gd name="connsiteY13" fmla="*/ 560540 h 1283918"/>
              <a:gd name="connsiteX14" fmla="*/ 1102290 w 1260819"/>
              <a:gd name="connsiteY14" fmla="*/ 594986 h 1283918"/>
              <a:gd name="connsiteX15" fmla="*/ 1092896 w 1260819"/>
              <a:gd name="connsiteY15" fmla="*/ 601249 h 1283918"/>
              <a:gd name="connsiteX16" fmla="*/ 1074107 w 1260819"/>
              <a:gd name="connsiteY16" fmla="*/ 610644 h 1283918"/>
              <a:gd name="connsiteX17" fmla="*/ 1070975 w 1260819"/>
              <a:gd name="connsiteY17" fmla="*/ 663879 h 1283918"/>
              <a:gd name="connsiteX18" fmla="*/ 1067844 w 1260819"/>
              <a:gd name="connsiteY18" fmla="*/ 673274 h 1283918"/>
              <a:gd name="connsiteX19" fmla="*/ 1092896 w 1260819"/>
              <a:gd name="connsiteY19" fmla="*/ 682668 h 1283918"/>
              <a:gd name="connsiteX20" fmla="*/ 1096027 w 1260819"/>
              <a:gd name="connsiteY20" fmla="*/ 692063 h 1283918"/>
              <a:gd name="connsiteX21" fmla="*/ 1117948 w 1260819"/>
              <a:gd name="connsiteY21" fmla="*/ 701457 h 1283918"/>
              <a:gd name="connsiteX22" fmla="*/ 1127342 w 1260819"/>
              <a:gd name="connsiteY22" fmla="*/ 720246 h 1283918"/>
              <a:gd name="connsiteX23" fmla="*/ 1139868 w 1260819"/>
              <a:gd name="connsiteY23" fmla="*/ 723378 h 1283918"/>
              <a:gd name="connsiteX24" fmla="*/ 1146131 w 1260819"/>
              <a:gd name="connsiteY24" fmla="*/ 732772 h 1283918"/>
              <a:gd name="connsiteX25" fmla="*/ 1136737 w 1260819"/>
              <a:gd name="connsiteY25" fmla="*/ 751562 h 1283918"/>
              <a:gd name="connsiteX26" fmla="*/ 1127342 w 1260819"/>
              <a:gd name="connsiteY26" fmla="*/ 770351 h 1283918"/>
              <a:gd name="connsiteX27" fmla="*/ 1117948 w 1260819"/>
              <a:gd name="connsiteY27" fmla="*/ 789140 h 1283918"/>
              <a:gd name="connsiteX28" fmla="*/ 1108553 w 1260819"/>
              <a:gd name="connsiteY28" fmla="*/ 807929 h 1283918"/>
              <a:gd name="connsiteX29" fmla="*/ 1092896 w 1260819"/>
              <a:gd name="connsiteY29" fmla="*/ 836112 h 1283918"/>
              <a:gd name="connsiteX30" fmla="*/ 1074107 w 1260819"/>
              <a:gd name="connsiteY30" fmla="*/ 851770 h 1283918"/>
              <a:gd name="connsiteX31" fmla="*/ 1070975 w 1260819"/>
              <a:gd name="connsiteY31" fmla="*/ 867427 h 1283918"/>
              <a:gd name="connsiteX32" fmla="*/ 1067844 w 1260819"/>
              <a:gd name="connsiteY32" fmla="*/ 876822 h 1283918"/>
              <a:gd name="connsiteX33" fmla="*/ 1039660 w 1260819"/>
              <a:gd name="connsiteY33" fmla="*/ 879953 h 1283918"/>
              <a:gd name="connsiteX34" fmla="*/ 1011477 w 1260819"/>
              <a:gd name="connsiteY34" fmla="*/ 886216 h 1283918"/>
              <a:gd name="connsiteX35" fmla="*/ 1002082 w 1260819"/>
              <a:gd name="connsiteY35" fmla="*/ 892479 h 1283918"/>
              <a:gd name="connsiteX36" fmla="*/ 992688 w 1260819"/>
              <a:gd name="connsiteY36" fmla="*/ 895611 h 1283918"/>
              <a:gd name="connsiteX37" fmla="*/ 980162 w 1260819"/>
              <a:gd name="connsiteY37" fmla="*/ 901874 h 1283918"/>
              <a:gd name="connsiteX38" fmla="*/ 970767 w 1260819"/>
              <a:gd name="connsiteY38" fmla="*/ 908137 h 1283918"/>
              <a:gd name="connsiteX39" fmla="*/ 958241 w 1260819"/>
              <a:gd name="connsiteY39" fmla="*/ 911268 h 1283918"/>
              <a:gd name="connsiteX40" fmla="*/ 948847 w 1260819"/>
              <a:gd name="connsiteY40" fmla="*/ 914400 h 1283918"/>
              <a:gd name="connsiteX41" fmla="*/ 936321 w 1260819"/>
              <a:gd name="connsiteY41" fmla="*/ 917531 h 1283918"/>
              <a:gd name="connsiteX42" fmla="*/ 905005 w 1260819"/>
              <a:gd name="connsiteY42" fmla="*/ 930057 h 1283918"/>
              <a:gd name="connsiteX43" fmla="*/ 886216 w 1260819"/>
              <a:gd name="connsiteY43" fmla="*/ 936320 h 1283918"/>
              <a:gd name="connsiteX44" fmla="*/ 867427 w 1260819"/>
              <a:gd name="connsiteY44" fmla="*/ 955109 h 1283918"/>
              <a:gd name="connsiteX45" fmla="*/ 851770 w 1260819"/>
              <a:gd name="connsiteY45" fmla="*/ 973899 h 1283918"/>
              <a:gd name="connsiteX46" fmla="*/ 842375 w 1260819"/>
              <a:gd name="connsiteY46" fmla="*/ 980162 h 1283918"/>
              <a:gd name="connsiteX47" fmla="*/ 823586 w 1260819"/>
              <a:gd name="connsiteY47" fmla="*/ 992688 h 1283918"/>
              <a:gd name="connsiteX48" fmla="*/ 804797 w 1260819"/>
              <a:gd name="connsiteY48" fmla="*/ 1011477 h 1283918"/>
              <a:gd name="connsiteX49" fmla="*/ 795403 w 1260819"/>
              <a:gd name="connsiteY49" fmla="*/ 1017740 h 1283918"/>
              <a:gd name="connsiteX50" fmla="*/ 776614 w 1260819"/>
              <a:gd name="connsiteY50" fmla="*/ 1036529 h 1283918"/>
              <a:gd name="connsiteX51" fmla="*/ 767219 w 1260819"/>
              <a:gd name="connsiteY51" fmla="*/ 1045923 h 1283918"/>
              <a:gd name="connsiteX52" fmla="*/ 739036 w 1260819"/>
              <a:gd name="connsiteY52" fmla="*/ 1064712 h 1283918"/>
              <a:gd name="connsiteX53" fmla="*/ 720247 w 1260819"/>
              <a:gd name="connsiteY53" fmla="*/ 1083501 h 1283918"/>
              <a:gd name="connsiteX54" fmla="*/ 701458 w 1260819"/>
              <a:gd name="connsiteY54" fmla="*/ 1096027 h 1283918"/>
              <a:gd name="connsiteX55" fmla="*/ 695195 w 1260819"/>
              <a:gd name="connsiteY55" fmla="*/ 1105422 h 1283918"/>
              <a:gd name="connsiteX56" fmla="*/ 688931 w 1260819"/>
              <a:gd name="connsiteY56" fmla="*/ 1111685 h 1283918"/>
              <a:gd name="connsiteX57" fmla="*/ 679537 w 1260819"/>
              <a:gd name="connsiteY57" fmla="*/ 1130474 h 1283918"/>
              <a:gd name="connsiteX58" fmla="*/ 657616 w 1260819"/>
              <a:gd name="connsiteY58" fmla="*/ 1139868 h 1283918"/>
              <a:gd name="connsiteX59" fmla="*/ 645090 w 1260819"/>
              <a:gd name="connsiteY59" fmla="*/ 1158657 h 1283918"/>
              <a:gd name="connsiteX60" fmla="*/ 638827 w 1260819"/>
              <a:gd name="connsiteY60" fmla="*/ 1168052 h 1283918"/>
              <a:gd name="connsiteX61" fmla="*/ 632564 w 1260819"/>
              <a:gd name="connsiteY61" fmla="*/ 1186841 h 1283918"/>
              <a:gd name="connsiteX62" fmla="*/ 629433 w 1260819"/>
              <a:gd name="connsiteY62" fmla="*/ 1202499 h 1283918"/>
              <a:gd name="connsiteX63" fmla="*/ 623170 w 1260819"/>
              <a:gd name="connsiteY63" fmla="*/ 1221288 h 1283918"/>
              <a:gd name="connsiteX64" fmla="*/ 610644 w 1260819"/>
              <a:gd name="connsiteY64" fmla="*/ 1240077 h 1283918"/>
              <a:gd name="connsiteX65" fmla="*/ 601249 w 1260819"/>
              <a:gd name="connsiteY65" fmla="*/ 1258866 h 1283918"/>
              <a:gd name="connsiteX66" fmla="*/ 585592 w 1260819"/>
              <a:gd name="connsiteY66" fmla="*/ 1283918 h 1283918"/>
              <a:gd name="connsiteX67" fmla="*/ 563671 w 1260819"/>
              <a:gd name="connsiteY67" fmla="*/ 1280786 h 1283918"/>
              <a:gd name="connsiteX68" fmla="*/ 557408 w 1260819"/>
              <a:gd name="connsiteY68" fmla="*/ 1271392 h 1283918"/>
              <a:gd name="connsiteX69" fmla="*/ 548014 w 1260819"/>
              <a:gd name="connsiteY69" fmla="*/ 1265129 h 1283918"/>
              <a:gd name="connsiteX70" fmla="*/ 541751 w 1260819"/>
              <a:gd name="connsiteY70" fmla="*/ 1255734 h 1283918"/>
              <a:gd name="connsiteX71" fmla="*/ 529225 w 1260819"/>
              <a:gd name="connsiteY71" fmla="*/ 1246340 h 1283918"/>
              <a:gd name="connsiteX72" fmla="*/ 522962 w 1260819"/>
              <a:gd name="connsiteY72" fmla="*/ 1255734 h 1283918"/>
              <a:gd name="connsiteX73" fmla="*/ 507304 w 1260819"/>
              <a:gd name="connsiteY73" fmla="*/ 1258866 h 1283918"/>
              <a:gd name="connsiteX74" fmla="*/ 469726 w 1260819"/>
              <a:gd name="connsiteY74" fmla="*/ 1265129 h 1283918"/>
              <a:gd name="connsiteX75" fmla="*/ 403964 w 1260819"/>
              <a:gd name="connsiteY75" fmla="*/ 1261997 h 1283918"/>
              <a:gd name="connsiteX76" fmla="*/ 385175 w 1260819"/>
              <a:gd name="connsiteY76" fmla="*/ 1255734 h 1283918"/>
              <a:gd name="connsiteX77" fmla="*/ 375781 w 1260819"/>
              <a:gd name="connsiteY77" fmla="*/ 1252603 h 1283918"/>
              <a:gd name="connsiteX78" fmla="*/ 366386 w 1260819"/>
              <a:gd name="connsiteY78" fmla="*/ 1249471 h 1283918"/>
              <a:gd name="connsiteX79" fmla="*/ 356992 w 1260819"/>
              <a:gd name="connsiteY79" fmla="*/ 1246340 h 1283918"/>
              <a:gd name="connsiteX80" fmla="*/ 347597 w 1260819"/>
              <a:gd name="connsiteY80" fmla="*/ 1240077 h 1283918"/>
              <a:gd name="connsiteX81" fmla="*/ 347597 w 1260819"/>
              <a:gd name="connsiteY81" fmla="*/ 1149263 h 1283918"/>
              <a:gd name="connsiteX82" fmla="*/ 350729 w 1260819"/>
              <a:gd name="connsiteY82" fmla="*/ 1139868 h 1283918"/>
              <a:gd name="connsiteX83" fmla="*/ 350729 w 1260819"/>
              <a:gd name="connsiteY83" fmla="*/ 1102290 h 1283918"/>
              <a:gd name="connsiteX84" fmla="*/ 360123 w 1260819"/>
              <a:gd name="connsiteY84" fmla="*/ 1092896 h 1283918"/>
              <a:gd name="connsiteX85" fmla="*/ 369518 w 1260819"/>
              <a:gd name="connsiteY85" fmla="*/ 1086633 h 1283918"/>
              <a:gd name="connsiteX86" fmla="*/ 372649 w 1260819"/>
              <a:gd name="connsiteY86" fmla="*/ 1061581 h 1283918"/>
              <a:gd name="connsiteX87" fmla="*/ 363255 w 1260819"/>
              <a:gd name="connsiteY87" fmla="*/ 1058449 h 1283918"/>
              <a:gd name="connsiteX88" fmla="*/ 353860 w 1260819"/>
              <a:gd name="connsiteY88" fmla="*/ 1061581 h 1283918"/>
              <a:gd name="connsiteX89" fmla="*/ 344466 w 1260819"/>
              <a:gd name="connsiteY89" fmla="*/ 1070975 h 1283918"/>
              <a:gd name="connsiteX90" fmla="*/ 335071 w 1260819"/>
              <a:gd name="connsiteY90" fmla="*/ 1064712 h 1283918"/>
              <a:gd name="connsiteX91" fmla="*/ 331940 w 1260819"/>
              <a:gd name="connsiteY91" fmla="*/ 1055318 h 1283918"/>
              <a:gd name="connsiteX92" fmla="*/ 341334 w 1260819"/>
              <a:gd name="connsiteY92" fmla="*/ 1036529 h 1283918"/>
              <a:gd name="connsiteX93" fmla="*/ 344466 w 1260819"/>
              <a:gd name="connsiteY93" fmla="*/ 1027134 h 1283918"/>
              <a:gd name="connsiteX94" fmla="*/ 328808 w 1260819"/>
              <a:gd name="connsiteY94" fmla="*/ 1008345 h 1283918"/>
              <a:gd name="connsiteX95" fmla="*/ 319414 w 1260819"/>
              <a:gd name="connsiteY95" fmla="*/ 1005214 h 1283918"/>
              <a:gd name="connsiteX96" fmla="*/ 322545 w 1260819"/>
              <a:gd name="connsiteY96" fmla="*/ 986425 h 1283918"/>
              <a:gd name="connsiteX97" fmla="*/ 338203 w 1260819"/>
              <a:gd name="connsiteY97" fmla="*/ 967635 h 1283918"/>
              <a:gd name="connsiteX98" fmla="*/ 344466 w 1260819"/>
              <a:gd name="connsiteY98" fmla="*/ 958241 h 1283918"/>
              <a:gd name="connsiteX99" fmla="*/ 347597 w 1260819"/>
              <a:gd name="connsiteY99" fmla="*/ 948846 h 1283918"/>
              <a:gd name="connsiteX100" fmla="*/ 325677 w 1260819"/>
              <a:gd name="connsiteY100" fmla="*/ 936320 h 1283918"/>
              <a:gd name="connsiteX101" fmla="*/ 313151 w 1260819"/>
              <a:gd name="connsiteY101" fmla="*/ 933189 h 1283918"/>
              <a:gd name="connsiteX102" fmla="*/ 306888 w 1260819"/>
              <a:gd name="connsiteY102" fmla="*/ 923794 h 1283918"/>
              <a:gd name="connsiteX103" fmla="*/ 297493 w 1260819"/>
              <a:gd name="connsiteY103" fmla="*/ 905005 h 1283918"/>
              <a:gd name="connsiteX104" fmla="*/ 288099 w 1260819"/>
              <a:gd name="connsiteY104" fmla="*/ 901874 h 1283918"/>
              <a:gd name="connsiteX105" fmla="*/ 278704 w 1260819"/>
              <a:gd name="connsiteY105" fmla="*/ 908137 h 1283918"/>
              <a:gd name="connsiteX106" fmla="*/ 269310 w 1260819"/>
              <a:gd name="connsiteY106" fmla="*/ 926926 h 1283918"/>
              <a:gd name="connsiteX107" fmla="*/ 244258 w 1260819"/>
              <a:gd name="connsiteY107" fmla="*/ 933189 h 1283918"/>
              <a:gd name="connsiteX108" fmla="*/ 216074 w 1260819"/>
              <a:gd name="connsiteY108" fmla="*/ 961372 h 1283918"/>
              <a:gd name="connsiteX109" fmla="*/ 206679 w 1260819"/>
              <a:gd name="connsiteY109" fmla="*/ 970767 h 1283918"/>
              <a:gd name="connsiteX110" fmla="*/ 178496 w 1260819"/>
              <a:gd name="connsiteY110" fmla="*/ 948846 h 1283918"/>
              <a:gd name="connsiteX111" fmla="*/ 169101 w 1260819"/>
              <a:gd name="connsiteY111" fmla="*/ 945715 h 1283918"/>
              <a:gd name="connsiteX112" fmla="*/ 156575 w 1260819"/>
              <a:gd name="connsiteY112" fmla="*/ 948846 h 1283918"/>
              <a:gd name="connsiteX113" fmla="*/ 153444 w 1260819"/>
              <a:gd name="connsiteY113" fmla="*/ 958241 h 1283918"/>
              <a:gd name="connsiteX114" fmla="*/ 140918 w 1260819"/>
              <a:gd name="connsiteY114" fmla="*/ 992688 h 1283918"/>
              <a:gd name="connsiteX115" fmla="*/ 131523 w 1260819"/>
              <a:gd name="connsiteY115" fmla="*/ 995819 h 1283918"/>
              <a:gd name="connsiteX116" fmla="*/ 122129 w 1260819"/>
              <a:gd name="connsiteY116" fmla="*/ 1002082 h 1283918"/>
              <a:gd name="connsiteX117" fmla="*/ 115866 w 1260819"/>
              <a:gd name="connsiteY117" fmla="*/ 1030266 h 1283918"/>
              <a:gd name="connsiteX118" fmla="*/ 109603 w 1260819"/>
              <a:gd name="connsiteY118" fmla="*/ 1020871 h 1283918"/>
              <a:gd name="connsiteX119" fmla="*/ 90814 w 1260819"/>
              <a:gd name="connsiteY119" fmla="*/ 1014608 h 1283918"/>
              <a:gd name="connsiteX120" fmla="*/ 84551 w 1260819"/>
              <a:gd name="connsiteY120" fmla="*/ 1005214 h 1283918"/>
              <a:gd name="connsiteX121" fmla="*/ 43841 w 1260819"/>
              <a:gd name="connsiteY121" fmla="*/ 995819 h 1283918"/>
              <a:gd name="connsiteX122" fmla="*/ 37578 w 1260819"/>
              <a:gd name="connsiteY122" fmla="*/ 986425 h 1283918"/>
              <a:gd name="connsiteX123" fmla="*/ 25052 w 1260819"/>
              <a:gd name="connsiteY123" fmla="*/ 942583 h 1283918"/>
              <a:gd name="connsiteX124" fmla="*/ 21921 w 1260819"/>
              <a:gd name="connsiteY124" fmla="*/ 917531 h 1283918"/>
              <a:gd name="connsiteX125" fmla="*/ 37578 w 1260819"/>
              <a:gd name="connsiteY125" fmla="*/ 914400 h 1283918"/>
              <a:gd name="connsiteX126" fmla="*/ 46973 w 1260819"/>
              <a:gd name="connsiteY126" fmla="*/ 908137 h 1283918"/>
              <a:gd name="connsiteX127" fmla="*/ 53236 w 1260819"/>
              <a:gd name="connsiteY127" fmla="*/ 898742 h 1283918"/>
              <a:gd name="connsiteX128" fmla="*/ 72025 w 1260819"/>
              <a:gd name="connsiteY128" fmla="*/ 892479 h 1283918"/>
              <a:gd name="connsiteX129" fmla="*/ 78288 w 1260819"/>
              <a:gd name="connsiteY129" fmla="*/ 883085 h 1283918"/>
              <a:gd name="connsiteX130" fmla="*/ 75156 w 1260819"/>
              <a:gd name="connsiteY130" fmla="*/ 873690 h 1283918"/>
              <a:gd name="connsiteX131" fmla="*/ 68893 w 1260819"/>
              <a:gd name="connsiteY131" fmla="*/ 864296 h 1283918"/>
              <a:gd name="connsiteX132" fmla="*/ 59499 w 1260819"/>
              <a:gd name="connsiteY132" fmla="*/ 861164 h 1283918"/>
              <a:gd name="connsiteX133" fmla="*/ 50104 w 1260819"/>
              <a:gd name="connsiteY133" fmla="*/ 854901 h 1283918"/>
              <a:gd name="connsiteX134" fmla="*/ 46973 w 1260819"/>
              <a:gd name="connsiteY134" fmla="*/ 823586 h 1283918"/>
              <a:gd name="connsiteX135" fmla="*/ 37578 w 1260819"/>
              <a:gd name="connsiteY135" fmla="*/ 820455 h 1283918"/>
              <a:gd name="connsiteX136" fmla="*/ 15658 w 1260819"/>
              <a:gd name="connsiteY136" fmla="*/ 817323 h 1283918"/>
              <a:gd name="connsiteX137" fmla="*/ 25052 w 1260819"/>
              <a:gd name="connsiteY137" fmla="*/ 798534 h 1283918"/>
              <a:gd name="connsiteX138" fmla="*/ 43841 w 1260819"/>
              <a:gd name="connsiteY138" fmla="*/ 786008 h 1283918"/>
              <a:gd name="connsiteX139" fmla="*/ 31315 w 1260819"/>
              <a:gd name="connsiteY139" fmla="*/ 782877 h 1283918"/>
              <a:gd name="connsiteX140" fmla="*/ 12526 w 1260819"/>
              <a:gd name="connsiteY140" fmla="*/ 779745 h 1283918"/>
              <a:gd name="connsiteX141" fmla="*/ 15658 w 1260819"/>
              <a:gd name="connsiteY141" fmla="*/ 748430 h 1283918"/>
              <a:gd name="connsiteX142" fmla="*/ 21921 w 1260819"/>
              <a:gd name="connsiteY142" fmla="*/ 717115 h 1283918"/>
              <a:gd name="connsiteX143" fmla="*/ 0 w 1260819"/>
              <a:gd name="connsiteY143" fmla="*/ 701457 h 1283918"/>
              <a:gd name="connsiteX144" fmla="*/ 12526 w 1260819"/>
              <a:gd name="connsiteY144" fmla="*/ 679537 h 1283918"/>
              <a:gd name="connsiteX145" fmla="*/ 31315 w 1260819"/>
              <a:gd name="connsiteY145" fmla="*/ 673274 h 1283918"/>
              <a:gd name="connsiteX146" fmla="*/ 40710 w 1260819"/>
              <a:gd name="connsiteY146" fmla="*/ 667011 h 1283918"/>
              <a:gd name="connsiteX147" fmla="*/ 50104 w 1260819"/>
              <a:gd name="connsiteY147" fmla="*/ 657616 h 1283918"/>
              <a:gd name="connsiteX148" fmla="*/ 68893 w 1260819"/>
              <a:gd name="connsiteY148" fmla="*/ 651353 h 1283918"/>
              <a:gd name="connsiteX149" fmla="*/ 87682 w 1260819"/>
              <a:gd name="connsiteY149" fmla="*/ 645090 h 1283918"/>
              <a:gd name="connsiteX150" fmla="*/ 106471 w 1260819"/>
              <a:gd name="connsiteY150" fmla="*/ 632564 h 1283918"/>
              <a:gd name="connsiteX151" fmla="*/ 115866 w 1260819"/>
              <a:gd name="connsiteY151" fmla="*/ 629433 h 1283918"/>
              <a:gd name="connsiteX152" fmla="*/ 144049 w 1260819"/>
              <a:gd name="connsiteY152" fmla="*/ 616907 h 1283918"/>
              <a:gd name="connsiteX153" fmla="*/ 153444 w 1260819"/>
              <a:gd name="connsiteY153" fmla="*/ 613775 h 1283918"/>
              <a:gd name="connsiteX154" fmla="*/ 175364 w 1260819"/>
              <a:gd name="connsiteY154" fmla="*/ 591855 h 1283918"/>
              <a:gd name="connsiteX155" fmla="*/ 191022 w 1260819"/>
              <a:gd name="connsiteY155" fmla="*/ 613775 h 1283918"/>
              <a:gd name="connsiteX156" fmla="*/ 200416 w 1260819"/>
              <a:gd name="connsiteY156" fmla="*/ 610644 h 1283918"/>
              <a:gd name="connsiteX157" fmla="*/ 219205 w 1260819"/>
              <a:gd name="connsiteY157" fmla="*/ 616907 h 1283918"/>
              <a:gd name="connsiteX158" fmla="*/ 263047 w 1260819"/>
              <a:gd name="connsiteY158" fmla="*/ 613775 h 1283918"/>
              <a:gd name="connsiteX159" fmla="*/ 275573 w 1260819"/>
              <a:gd name="connsiteY159" fmla="*/ 598118 h 1283918"/>
              <a:gd name="connsiteX160" fmla="*/ 281836 w 1260819"/>
              <a:gd name="connsiteY160" fmla="*/ 573066 h 1283918"/>
              <a:gd name="connsiteX161" fmla="*/ 288099 w 1260819"/>
              <a:gd name="connsiteY161" fmla="*/ 563671 h 1283918"/>
              <a:gd name="connsiteX162" fmla="*/ 297493 w 1260819"/>
              <a:gd name="connsiteY162" fmla="*/ 560540 h 1283918"/>
              <a:gd name="connsiteX163" fmla="*/ 328808 w 1260819"/>
              <a:gd name="connsiteY163" fmla="*/ 557408 h 1283918"/>
              <a:gd name="connsiteX164" fmla="*/ 347597 w 1260819"/>
              <a:gd name="connsiteY164" fmla="*/ 551145 h 1283918"/>
              <a:gd name="connsiteX165" fmla="*/ 356992 w 1260819"/>
              <a:gd name="connsiteY165" fmla="*/ 544882 h 1283918"/>
              <a:gd name="connsiteX166" fmla="*/ 366386 w 1260819"/>
              <a:gd name="connsiteY166" fmla="*/ 541751 h 1283918"/>
              <a:gd name="connsiteX167" fmla="*/ 385175 w 1260819"/>
              <a:gd name="connsiteY167" fmla="*/ 529225 h 1283918"/>
              <a:gd name="connsiteX168" fmla="*/ 422753 w 1260819"/>
              <a:gd name="connsiteY168" fmla="*/ 516699 h 1283918"/>
              <a:gd name="connsiteX169" fmla="*/ 432148 w 1260819"/>
              <a:gd name="connsiteY169" fmla="*/ 513567 h 1283918"/>
              <a:gd name="connsiteX170" fmla="*/ 460331 w 1260819"/>
              <a:gd name="connsiteY170" fmla="*/ 497909 h 1283918"/>
              <a:gd name="connsiteX171" fmla="*/ 466595 w 1260819"/>
              <a:gd name="connsiteY171" fmla="*/ 491646 h 1283918"/>
              <a:gd name="connsiteX172" fmla="*/ 485384 w 1260819"/>
              <a:gd name="connsiteY172" fmla="*/ 482252 h 1283918"/>
              <a:gd name="connsiteX173" fmla="*/ 501041 w 1260819"/>
              <a:gd name="connsiteY173" fmla="*/ 463463 h 1283918"/>
              <a:gd name="connsiteX174" fmla="*/ 510436 w 1260819"/>
              <a:gd name="connsiteY174" fmla="*/ 457200 h 1283918"/>
              <a:gd name="connsiteX175" fmla="*/ 513567 w 1260819"/>
              <a:gd name="connsiteY175" fmla="*/ 447805 h 1283918"/>
              <a:gd name="connsiteX176" fmla="*/ 522962 w 1260819"/>
              <a:gd name="connsiteY176" fmla="*/ 441542 h 1283918"/>
              <a:gd name="connsiteX177" fmla="*/ 532356 w 1260819"/>
              <a:gd name="connsiteY177" fmla="*/ 432148 h 1283918"/>
              <a:gd name="connsiteX178" fmla="*/ 544882 w 1260819"/>
              <a:gd name="connsiteY178" fmla="*/ 347597 h 1283918"/>
              <a:gd name="connsiteX179" fmla="*/ 554277 w 1260819"/>
              <a:gd name="connsiteY179" fmla="*/ 344466 h 1283918"/>
              <a:gd name="connsiteX180" fmla="*/ 569934 w 1260819"/>
              <a:gd name="connsiteY180" fmla="*/ 341334 h 1283918"/>
              <a:gd name="connsiteX181" fmla="*/ 585592 w 1260819"/>
              <a:gd name="connsiteY181" fmla="*/ 322545 h 1283918"/>
              <a:gd name="connsiteX182" fmla="*/ 594986 w 1260819"/>
              <a:gd name="connsiteY182" fmla="*/ 313151 h 1283918"/>
              <a:gd name="connsiteX183" fmla="*/ 638827 w 1260819"/>
              <a:gd name="connsiteY183" fmla="*/ 310019 h 1283918"/>
              <a:gd name="connsiteX184" fmla="*/ 641959 w 1260819"/>
              <a:gd name="connsiteY184" fmla="*/ 300625 h 1283918"/>
              <a:gd name="connsiteX185" fmla="*/ 635696 w 1260819"/>
              <a:gd name="connsiteY185" fmla="*/ 291230 h 1283918"/>
              <a:gd name="connsiteX186" fmla="*/ 629433 w 1260819"/>
              <a:gd name="connsiteY186" fmla="*/ 269309 h 1283918"/>
              <a:gd name="connsiteX187" fmla="*/ 623170 w 1260819"/>
              <a:gd name="connsiteY187" fmla="*/ 259915 h 1283918"/>
              <a:gd name="connsiteX188" fmla="*/ 626301 w 1260819"/>
              <a:gd name="connsiteY188" fmla="*/ 241126 h 1283918"/>
              <a:gd name="connsiteX189" fmla="*/ 645090 w 1260819"/>
              <a:gd name="connsiteY189" fmla="*/ 222337 h 1283918"/>
              <a:gd name="connsiteX190" fmla="*/ 648222 w 1260819"/>
              <a:gd name="connsiteY190" fmla="*/ 212942 h 1283918"/>
              <a:gd name="connsiteX191" fmla="*/ 667011 w 1260819"/>
              <a:gd name="connsiteY191" fmla="*/ 194153 h 1283918"/>
              <a:gd name="connsiteX192" fmla="*/ 676405 w 1260819"/>
              <a:gd name="connsiteY192" fmla="*/ 165970 h 1283918"/>
              <a:gd name="connsiteX193" fmla="*/ 679537 w 1260819"/>
              <a:gd name="connsiteY193" fmla="*/ 156575 h 1283918"/>
              <a:gd name="connsiteX194" fmla="*/ 670142 w 1260819"/>
              <a:gd name="connsiteY194" fmla="*/ 144049 h 1283918"/>
              <a:gd name="connsiteX195" fmla="*/ 667011 w 1260819"/>
              <a:gd name="connsiteY195" fmla="*/ 106471 h 1283918"/>
              <a:gd name="connsiteX196" fmla="*/ 685800 w 1260819"/>
              <a:gd name="connsiteY196" fmla="*/ 87682 h 1283918"/>
              <a:gd name="connsiteX197" fmla="*/ 701458 w 1260819"/>
              <a:gd name="connsiteY197" fmla="*/ 72025 h 1283918"/>
              <a:gd name="connsiteX198" fmla="*/ 720247 w 1260819"/>
              <a:gd name="connsiteY198" fmla="*/ 65762 h 1283918"/>
              <a:gd name="connsiteX199" fmla="*/ 732773 w 1260819"/>
              <a:gd name="connsiteY199" fmla="*/ 46972 h 1283918"/>
              <a:gd name="connsiteX200" fmla="*/ 735904 w 1260819"/>
              <a:gd name="connsiteY200" fmla="*/ 37578 h 1283918"/>
              <a:gd name="connsiteX201" fmla="*/ 748430 w 1260819"/>
              <a:gd name="connsiteY201" fmla="*/ 18789 h 1283918"/>
              <a:gd name="connsiteX202" fmla="*/ 767219 w 1260819"/>
              <a:gd name="connsiteY202" fmla="*/ 6263 h 1283918"/>
              <a:gd name="connsiteX203" fmla="*/ 776614 w 1260819"/>
              <a:gd name="connsiteY203" fmla="*/ 0 h 1283918"/>
              <a:gd name="connsiteX204" fmla="*/ 814192 w 1260819"/>
              <a:gd name="connsiteY204" fmla="*/ 9394 h 1283918"/>
              <a:gd name="connsiteX205" fmla="*/ 817323 w 1260819"/>
              <a:gd name="connsiteY205" fmla="*/ 21920 h 1283918"/>
              <a:gd name="connsiteX206" fmla="*/ 820455 w 1260819"/>
              <a:gd name="connsiteY206" fmla="*/ 62630 h 1283918"/>
              <a:gd name="connsiteX207" fmla="*/ 823586 w 1260819"/>
              <a:gd name="connsiteY207" fmla="*/ 72025 h 1283918"/>
              <a:gd name="connsiteX208" fmla="*/ 832981 w 1260819"/>
              <a:gd name="connsiteY208" fmla="*/ 81419 h 1283918"/>
              <a:gd name="connsiteX209" fmla="*/ 858033 w 1260819"/>
              <a:gd name="connsiteY209" fmla="*/ 68893 h 1283918"/>
              <a:gd name="connsiteX210" fmla="*/ 873690 w 1260819"/>
              <a:gd name="connsiteY210" fmla="*/ 90814 h 1283918"/>
              <a:gd name="connsiteX211" fmla="*/ 886216 w 1260819"/>
              <a:gd name="connsiteY211" fmla="*/ 93945 h 1283918"/>
              <a:gd name="connsiteX212" fmla="*/ 914400 w 1260819"/>
              <a:gd name="connsiteY212" fmla="*/ 118997 h 1283918"/>
              <a:gd name="connsiteX213" fmla="*/ 945715 w 1260819"/>
              <a:gd name="connsiteY213" fmla="*/ 137786 h 1283918"/>
              <a:gd name="connsiteX214" fmla="*/ 955110 w 1260819"/>
              <a:gd name="connsiteY214" fmla="*/ 144049 h 1283918"/>
              <a:gd name="connsiteX215" fmla="*/ 973899 w 1260819"/>
              <a:gd name="connsiteY215" fmla="*/ 162838 h 1283918"/>
              <a:gd name="connsiteX216" fmla="*/ 992688 w 1260819"/>
              <a:gd name="connsiteY216" fmla="*/ 178496 h 1283918"/>
              <a:gd name="connsiteX217" fmla="*/ 1020871 w 1260819"/>
              <a:gd name="connsiteY217" fmla="*/ 178496 h 1283918"/>
              <a:gd name="connsiteX218" fmla="*/ 1030266 w 1260819"/>
              <a:gd name="connsiteY218" fmla="*/ 187890 h 1283918"/>
              <a:gd name="connsiteX219" fmla="*/ 1036529 w 1260819"/>
              <a:gd name="connsiteY219" fmla="*/ 206679 h 1283918"/>
              <a:gd name="connsiteX220" fmla="*/ 1039660 w 1260819"/>
              <a:gd name="connsiteY220" fmla="*/ 219205 h 1283918"/>
              <a:gd name="connsiteX221" fmla="*/ 1052186 w 1260819"/>
              <a:gd name="connsiteY221" fmla="*/ 237994 h 1283918"/>
              <a:gd name="connsiteX222" fmla="*/ 1058449 w 1260819"/>
              <a:gd name="connsiteY222" fmla="*/ 247389 h 1283918"/>
              <a:gd name="connsiteX223" fmla="*/ 1067844 w 1260819"/>
              <a:gd name="connsiteY223" fmla="*/ 253652 h 1283918"/>
              <a:gd name="connsiteX224" fmla="*/ 1070975 w 1260819"/>
              <a:gd name="connsiteY224" fmla="*/ 263046 h 1283918"/>
              <a:gd name="connsiteX225" fmla="*/ 1077238 w 1260819"/>
              <a:gd name="connsiteY225" fmla="*/ 272441 h 1283918"/>
              <a:gd name="connsiteX226" fmla="*/ 1083501 w 1260819"/>
              <a:gd name="connsiteY226" fmla="*/ 297493 h 1283918"/>
              <a:gd name="connsiteX227" fmla="*/ 1108553 w 1260819"/>
              <a:gd name="connsiteY227" fmla="*/ 319414 h 1283918"/>
              <a:gd name="connsiteX228" fmla="*/ 1117948 w 1260819"/>
              <a:gd name="connsiteY228" fmla="*/ 322545 h 1283918"/>
              <a:gd name="connsiteX229" fmla="*/ 1121079 w 1260819"/>
              <a:gd name="connsiteY229" fmla="*/ 331940 h 1283918"/>
              <a:gd name="connsiteX230" fmla="*/ 1130474 w 1260819"/>
              <a:gd name="connsiteY230" fmla="*/ 335071 h 1283918"/>
              <a:gd name="connsiteX231" fmla="*/ 1174315 w 1260819"/>
              <a:gd name="connsiteY231" fmla="*/ 338203 h 1283918"/>
              <a:gd name="connsiteX232" fmla="*/ 1183710 w 1260819"/>
              <a:gd name="connsiteY232" fmla="*/ 341334 h 1283918"/>
              <a:gd name="connsiteX233" fmla="*/ 1218156 w 1260819"/>
              <a:gd name="connsiteY233" fmla="*/ 331940 h 1283918"/>
              <a:gd name="connsiteX234" fmla="*/ 1227551 w 1260819"/>
              <a:gd name="connsiteY234" fmla="*/ 328808 h 1283918"/>
              <a:gd name="connsiteX235" fmla="*/ 1236945 w 1260819"/>
              <a:gd name="connsiteY235" fmla="*/ 331940 h 1283918"/>
              <a:gd name="connsiteX236" fmla="*/ 1224419 w 1260819"/>
              <a:gd name="connsiteY236" fmla="*/ 356992 h 1283918"/>
              <a:gd name="connsiteX237" fmla="*/ 1227551 w 1260819"/>
              <a:gd name="connsiteY237" fmla="*/ 382044 h 1283918"/>
              <a:gd name="connsiteX238" fmla="*/ 1233814 w 1260819"/>
              <a:gd name="connsiteY238" fmla="*/ 391438 h 1283918"/>
              <a:gd name="connsiteX239" fmla="*/ 1236945 w 1260819"/>
              <a:gd name="connsiteY239" fmla="*/ 400833 h 1283918"/>
              <a:gd name="connsiteX240" fmla="*/ 1243208 w 1260819"/>
              <a:gd name="connsiteY240" fmla="*/ 410227 h 1283918"/>
              <a:gd name="connsiteX241" fmla="*/ 1249471 w 1260819"/>
              <a:gd name="connsiteY241" fmla="*/ 429016 h 1283918"/>
              <a:gd name="connsiteX242" fmla="*/ 1246340 w 1260819"/>
              <a:gd name="connsiteY242" fmla="*/ 447805 h 1283918"/>
              <a:gd name="connsiteX243" fmla="*/ 1227551 w 1260819"/>
              <a:gd name="connsiteY243" fmla="*/ 460331 h 1283918"/>
              <a:gd name="connsiteX244" fmla="*/ 1218156 w 1260819"/>
              <a:gd name="connsiteY244" fmla="*/ 479120 h 1283918"/>
              <a:gd name="connsiteX245" fmla="*/ 1227551 w 1260819"/>
              <a:gd name="connsiteY245" fmla="*/ 485383 h 1283918"/>
              <a:gd name="connsiteX246" fmla="*/ 1258866 w 1260819"/>
              <a:gd name="connsiteY246" fmla="*/ 491646 h 1283918"/>
              <a:gd name="connsiteX0" fmla="*/ 1258866 w 1260819"/>
              <a:gd name="connsiteY0" fmla="*/ 491646 h 1283918"/>
              <a:gd name="connsiteX1" fmla="*/ 1255734 w 1260819"/>
              <a:gd name="connsiteY1" fmla="*/ 507304 h 1283918"/>
              <a:gd name="connsiteX2" fmla="*/ 1246340 w 1260819"/>
              <a:gd name="connsiteY2" fmla="*/ 510435 h 1283918"/>
              <a:gd name="connsiteX3" fmla="*/ 1205630 w 1260819"/>
              <a:gd name="connsiteY3" fmla="*/ 507304 h 1283918"/>
              <a:gd name="connsiteX4" fmla="*/ 1196236 w 1260819"/>
              <a:gd name="connsiteY4" fmla="*/ 510435 h 1283918"/>
              <a:gd name="connsiteX5" fmla="*/ 1193104 w 1260819"/>
              <a:gd name="connsiteY5" fmla="*/ 522962 h 1283918"/>
              <a:gd name="connsiteX6" fmla="*/ 1189973 w 1260819"/>
              <a:gd name="connsiteY6" fmla="*/ 532356 h 1283918"/>
              <a:gd name="connsiteX7" fmla="*/ 1180578 w 1260819"/>
              <a:gd name="connsiteY7" fmla="*/ 538619 h 1283918"/>
              <a:gd name="connsiteX8" fmla="*/ 1171184 w 1260819"/>
              <a:gd name="connsiteY8" fmla="*/ 548014 h 1283918"/>
              <a:gd name="connsiteX9" fmla="*/ 1161789 w 1260819"/>
              <a:gd name="connsiteY9" fmla="*/ 554277 h 1283918"/>
              <a:gd name="connsiteX10" fmla="*/ 1143000 w 1260819"/>
              <a:gd name="connsiteY10" fmla="*/ 560540 h 1283918"/>
              <a:gd name="connsiteX11" fmla="*/ 1117948 w 1260819"/>
              <a:gd name="connsiteY11" fmla="*/ 557408 h 1283918"/>
              <a:gd name="connsiteX12" fmla="*/ 1108553 w 1260819"/>
              <a:gd name="connsiteY12" fmla="*/ 551145 h 1283918"/>
              <a:gd name="connsiteX13" fmla="*/ 1105422 w 1260819"/>
              <a:gd name="connsiteY13" fmla="*/ 560540 h 1283918"/>
              <a:gd name="connsiteX14" fmla="*/ 1102290 w 1260819"/>
              <a:gd name="connsiteY14" fmla="*/ 594986 h 1283918"/>
              <a:gd name="connsiteX15" fmla="*/ 1092896 w 1260819"/>
              <a:gd name="connsiteY15" fmla="*/ 601249 h 1283918"/>
              <a:gd name="connsiteX16" fmla="*/ 1074107 w 1260819"/>
              <a:gd name="connsiteY16" fmla="*/ 610644 h 1283918"/>
              <a:gd name="connsiteX17" fmla="*/ 1070975 w 1260819"/>
              <a:gd name="connsiteY17" fmla="*/ 663879 h 1283918"/>
              <a:gd name="connsiteX18" fmla="*/ 1067844 w 1260819"/>
              <a:gd name="connsiteY18" fmla="*/ 673274 h 1283918"/>
              <a:gd name="connsiteX19" fmla="*/ 1092896 w 1260819"/>
              <a:gd name="connsiteY19" fmla="*/ 682668 h 1283918"/>
              <a:gd name="connsiteX20" fmla="*/ 1096027 w 1260819"/>
              <a:gd name="connsiteY20" fmla="*/ 692063 h 1283918"/>
              <a:gd name="connsiteX21" fmla="*/ 1117948 w 1260819"/>
              <a:gd name="connsiteY21" fmla="*/ 701457 h 1283918"/>
              <a:gd name="connsiteX22" fmla="*/ 1127342 w 1260819"/>
              <a:gd name="connsiteY22" fmla="*/ 720246 h 1283918"/>
              <a:gd name="connsiteX23" fmla="*/ 1139868 w 1260819"/>
              <a:gd name="connsiteY23" fmla="*/ 723378 h 1283918"/>
              <a:gd name="connsiteX24" fmla="*/ 1146131 w 1260819"/>
              <a:gd name="connsiteY24" fmla="*/ 732772 h 1283918"/>
              <a:gd name="connsiteX25" fmla="*/ 1136737 w 1260819"/>
              <a:gd name="connsiteY25" fmla="*/ 751562 h 1283918"/>
              <a:gd name="connsiteX26" fmla="*/ 1127342 w 1260819"/>
              <a:gd name="connsiteY26" fmla="*/ 770351 h 1283918"/>
              <a:gd name="connsiteX27" fmla="*/ 1117948 w 1260819"/>
              <a:gd name="connsiteY27" fmla="*/ 789140 h 1283918"/>
              <a:gd name="connsiteX28" fmla="*/ 1108553 w 1260819"/>
              <a:gd name="connsiteY28" fmla="*/ 807929 h 1283918"/>
              <a:gd name="connsiteX29" fmla="*/ 1092896 w 1260819"/>
              <a:gd name="connsiteY29" fmla="*/ 836112 h 1283918"/>
              <a:gd name="connsiteX30" fmla="*/ 1074107 w 1260819"/>
              <a:gd name="connsiteY30" fmla="*/ 851770 h 1283918"/>
              <a:gd name="connsiteX31" fmla="*/ 1070975 w 1260819"/>
              <a:gd name="connsiteY31" fmla="*/ 867427 h 1283918"/>
              <a:gd name="connsiteX32" fmla="*/ 1067844 w 1260819"/>
              <a:gd name="connsiteY32" fmla="*/ 876822 h 1283918"/>
              <a:gd name="connsiteX33" fmla="*/ 1039660 w 1260819"/>
              <a:gd name="connsiteY33" fmla="*/ 879953 h 1283918"/>
              <a:gd name="connsiteX34" fmla="*/ 1011477 w 1260819"/>
              <a:gd name="connsiteY34" fmla="*/ 886216 h 1283918"/>
              <a:gd name="connsiteX35" fmla="*/ 1002082 w 1260819"/>
              <a:gd name="connsiteY35" fmla="*/ 892479 h 1283918"/>
              <a:gd name="connsiteX36" fmla="*/ 992688 w 1260819"/>
              <a:gd name="connsiteY36" fmla="*/ 895611 h 1283918"/>
              <a:gd name="connsiteX37" fmla="*/ 980162 w 1260819"/>
              <a:gd name="connsiteY37" fmla="*/ 901874 h 1283918"/>
              <a:gd name="connsiteX38" fmla="*/ 970767 w 1260819"/>
              <a:gd name="connsiteY38" fmla="*/ 908137 h 1283918"/>
              <a:gd name="connsiteX39" fmla="*/ 958241 w 1260819"/>
              <a:gd name="connsiteY39" fmla="*/ 911268 h 1283918"/>
              <a:gd name="connsiteX40" fmla="*/ 948847 w 1260819"/>
              <a:gd name="connsiteY40" fmla="*/ 914400 h 1283918"/>
              <a:gd name="connsiteX41" fmla="*/ 936321 w 1260819"/>
              <a:gd name="connsiteY41" fmla="*/ 917531 h 1283918"/>
              <a:gd name="connsiteX42" fmla="*/ 905005 w 1260819"/>
              <a:gd name="connsiteY42" fmla="*/ 930057 h 1283918"/>
              <a:gd name="connsiteX43" fmla="*/ 886216 w 1260819"/>
              <a:gd name="connsiteY43" fmla="*/ 936320 h 1283918"/>
              <a:gd name="connsiteX44" fmla="*/ 867427 w 1260819"/>
              <a:gd name="connsiteY44" fmla="*/ 955109 h 1283918"/>
              <a:gd name="connsiteX45" fmla="*/ 851770 w 1260819"/>
              <a:gd name="connsiteY45" fmla="*/ 973899 h 1283918"/>
              <a:gd name="connsiteX46" fmla="*/ 842375 w 1260819"/>
              <a:gd name="connsiteY46" fmla="*/ 980162 h 1283918"/>
              <a:gd name="connsiteX47" fmla="*/ 823586 w 1260819"/>
              <a:gd name="connsiteY47" fmla="*/ 992688 h 1283918"/>
              <a:gd name="connsiteX48" fmla="*/ 804797 w 1260819"/>
              <a:gd name="connsiteY48" fmla="*/ 1011477 h 1283918"/>
              <a:gd name="connsiteX49" fmla="*/ 795403 w 1260819"/>
              <a:gd name="connsiteY49" fmla="*/ 1017740 h 1283918"/>
              <a:gd name="connsiteX50" fmla="*/ 776614 w 1260819"/>
              <a:gd name="connsiteY50" fmla="*/ 1036529 h 1283918"/>
              <a:gd name="connsiteX51" fmla="*/ 767219 w 1260819"/>
              <a:gd name="connsiteY51" fmla="*/ 1045923 h 1283918"/>
              <a:gd name="connsiteX52" fmla="*/ 739036 w 1260819"/>
              <a:gd name="connsiteY52" fmla="*/ 1064712 h 1283918"/>
              <a:gd name="connsiteX53" fmla="*/ 720247 w 1260819"/>
              <a:gd name="connsiteY53" fmla="*/ 1083501 h 1283918"/>
              <a:gd name="connsiteX54" fmla="*/ 701458 w 1260819"/>
              <a:gd name="connsiteY54" fmla="*/ 1096027 h 1283918"/>
              <a:gd name="connsiteX55" fmla="*/ 695195 w 1260819"/>
              <a:gd name="connsiteY55" fmla="*/ 1105422 h 1283918"/>
              <a:gd name="connsiteX56" fmla="*/ 688931 w 1260819"/>
              <a:gd name="connsiteY56" fmla="*/ 1111685 h 1283918"/>
              <a:gd name="connsiteX57" fmla="*/ 679537 w 1260819"/>
              <a:gd name="connsiteY57" fmla="*/ 1130474 h 1283918"/>
              <a:gd name="connsiteX58" fmla="*/ 657616 w 1260819"/>
              <a:gd name="connsiteY58" fmla="*/ 1139868 h 1283918"/>
              <a:gd name="connsiteX59" fmla="*/ 645090 w 1260819"/>
              <a:gd name="connsiteY59" fmla="*/ 1158657 h 1283918"/>
              <a:gd name="connsiteX60" fmla="*/ 638827 w 1260819"/>
              <a:gd name="connsiteY60" fmla="*/ 1168052 h 1283918"/>
              <a:gd name="connsiteX61" fmla="*/ 632564 w 1260819"/>
              <a:gd name="connsiteY61" fmla="*/ 1186841 h 1283918"/>
              <a:gd name="connsiteX62" fmla="*/ 629433 w 1260819"/>
              <a:gd name="connsiteY62" fmla="*/ 1202499 h 1283918"/>
              <a:gd name="connsiteX63" fmla="*/ 623170 w 1260819"/>
              <a:gd name="connsiteY63" fmla="*/ 1221288 h 1283918"/>
              <a:gd name="connsiteX64" fmla="*/ 610644 w 1260819"/>
              <a:gd name="connsiteY64" fmla="*/ 1240077 h 1283918"/>
              <a:gd name="connsiteX65" fmla="*/ 601249 w 1260819"/>
              <a:gd name="connsiteY65" fmla="*/ 1258866 h 1283918"/>
              <a:gd name="connsiteX66" fmla="*/ 585592 w 1260819"/>
              <a:gd name="connsiteY66" fmla="*/ 1283918 h 1283918"/>
              <a:gd name="connsiteX67" fmla="*/ 563671 w 1260819"/>
              <a:gd name="connsiteY67" fmla="*/ 1280786 h 1283918"/>
              <a:gd name="connsiteX68" fmla="*/ 557408 w 1260819"/>
              <a:gd name="connsiteY68" fmla="*/ 1271392 h 1283918"/>
              <a:gd name="connsiteX69" fmla="*/ 548014 w 1260819"/>
              <a:gd name="connsiteY69" fmla="*/ 1265129 h 1283918"/>
              <a:gd name="connsiteX70" fmla="*/ 541751 w 1260819"/>
              <a:gd name="connsiteY70" fmla="*/ 1255734 h 1283918"/>
              <a:gd name="connsiteX71" fmla="*/ 529225 w 1260819"/>
              <a:gd name="connsiteY71" fmla="*/ 1246340 h 1283918"/>
              <a:gd name="connsiteX72" fmla="*/ 522962 w 1260819"/>
              <a:gd name="connsiteY72" fmla="*/ 1255734 h 1283918"/>
              <a:gd name="connsiteX73" fmla="*/ 507304 w 1260819"/>
              <a:gd name="connsiteY73" fmla="*/ 1258866 h 1283918"/>
              <a:gd name="connsiteX74" fmla="*/ 469726 w 1260819"/>
              <a:gd name="connsiteY74" fmla="*/ 1265129 h 1283918"/>
              <a:gd name="connsiteX75" fmla="*/ 403964 w 1260819"/>
              <a:gd name="connsiteY75" fmla="*/ 1261997 h 1283918"/>
              <a:gd name="connsiteX76" fmla="*/ 385175 w 1260819"/>
              <a:gd name="connsiteY76" fmla="*/ 1255734 h 1283918"/>
              <a:gd name="connsiteX77" fmla="*/ 375781 w 1260819"/>
              <a:gd name="connsiteY77" fmla="*/ 1252603 h 1283918"/>
              <a:gd name="connsiteX78" fmla="*/ 366386 w 1260819"/>
              <a:gd name="connsiteY78" fmla="*/ 1249471 h 1283918"/>
              <a:gd name="connsiteX79" fmla="*/ 356992 w 1260819"/>
              <a:gd name="connsiteY79" fmla="*/ 1246340 h 1283918"/>
              <a:gd name="connsiteX80" fmla="*/ 347597 w 1260819"/>
              <a:gd name="connsiteY80" fmla="*/ 1240077 h 1283918"/>
              <a:gd name="connsiteX81" fmla="*/ 347597 w 1260819"/>
              <a:gd name="connsiteY81" fmla="*/ 1149263 h 1283918"/>
              <a:gd name="connsiteX82" fmla="*/ 350729 w 1260819"/>
              <a:gd name="connsiteY82" fmla="*/ 1139868 h 1283918"/>
              <a:gd name="connsiteX83" fmla="*/ 350729 w 1260819"/>
              <a:gd name="connsiteY83" fmla="*/ 1102290 h 1283918"/>
              <a:gd name="connsiteX84" fmla="*/ 360123 w 1260819"/>
              <a:gd name="connsiteY84" fmla="*/ 1092896 h 1283918"/>
              <a:gd name="connsiteX85" fmla="*/ 369518 w 1260819"/>
              <a:gd name="connsiteY85" fmla="*/ 1086633 h 1283918"/>
              <a:gd name="connsiteX86" fmla="*/ 372649 w 1260819"/>
              <a:gd name="connsiteY86" fmla="*/ 1061581 h 1283918"/>
              <a:gd name="connsiteX87" fmla="*/ 363255 w 1260819"/>
              <a:gd name="connsiteY87" fmla="*/ 1058449 h 1283918"/>
              <a:gd name="connsiteX88" fmla="*/ 353860 w 1260819"/>
              <a:gd name="connsiteY88" fmla="*/ 1061581 h 1283918"/>
              <a:gd name="connsiteX89" fmla="*/ 344466 w 1260819"/>
              <a:gd name="connsiteY89" fmla="*/ 1070975 h 1283918"/>
              <a:gd name="connsiteX90" fmla="*/ 335071 w 1260819"/>
              <a:gd name="connsiteY90" fmla="*/ 1064712 h 1283918"/>
              <a:gd name="connsiteX91" fmla="*/ 331940 w 1260819"/>
              <a:gd name="connsiteY91" fmla="*/ 1055318 h 1283918"/>
              <a:gd name="connsiteX92" fmla="*/ 341334 w 1260819"/>
              <a:gd name="connsiteY92" fmla="*/ 1036529 h 1283918"/>
              <a:gd name="connsiteX93" fmla="*/ 344466 w 1260819"/>
              <a:gd name="connsiteY93" fmla="*/ 1027134 h 1283918"/>
              <a:gd name="connsiteX94" fmla="*/ 328808 w 1260819"/>
              <a:gd name="connsiteY94" fmla="*/ 1008345 h 1283918"/>
              <a:gd name="connsiteX95" fmla="*/ 319414 w 1260819"/>
              <a:gd name="connsiteY95" fmla="*/ 1005214 h 1283918"/>
              <a:gd name="connsiteX96" fmla="*/ 322545 w 1260819"/>
              <a:gd name="connsiteY96" fmla="*/ 986425 h 1283918"/>
              <a:gd name="connsiteX97" fmla="*/ 338203 w 1260819"/>
              <a:gd name="connsiteY97" fmla="*/ 967635 h 1283918"/>
              <a:gd name="connsiteX98" fmla="*/ 344466 w 1260819"/>
              <a:gd name="connsiteY98" fmla="*/ 958241 h 1283918"/>
              <a:gd name="connsiteX99" fmla="*/ 347597 w 1260819"/>
              <a:gd name="connsiteY99" fmla="*/ 948846 h 1283918"/>
              <a:gd name="connsiteX100" fmla="*/ 325677 w 1260819"/>
              <a:gd name="connsiteY100" fmla="*/ 936320 h 1283918"/>
              <a:gd name="connsiteX101" fmla="*/ 313151 w 1260819"/>
              <a:gd name="connsiteY101" fmla="*/ 933189 h 1283918"/>
              <a:gd name="connsiteX102" fmla="*/ 306888 w 1260819"/>
              <a:gd name="connsiteY102" fmla="*/ 923794 h 1283918"/>
              <a:gd name="connsiteX103" fmla="*/ 297493 w 1260819"/>
              <a:gd name="connsiteY103" fmla="*/ 905005 h 1283918"/>
              <a:gd name="connsiteX104" fmla="*/ 288099 w 1260819"/>
              <a:gd name="connsiteY104" fmla="*/ 901874 h 1283918"/>
              <a:gd name="connsiteX105" fmla="*/ 278704 w 1260819"/>
              <a:gd name="connsiteY105" fmla="*/ 908137 h 1283918"/>
              <a:gd name="connsiteX106" fmla="*/ 269310 w 1260819"/>
              <a:gd name="connsiteY106" fmla="*/ 926926 h 1283918"/>
              <a:gd name="connsiteX107" fmla="*/ 244258 w 1260819"/>
              <a:gd name="connsiteY107" fmla="*/ 933189 h 1283918"/>
              <a:gd name="connsiteX108" fmla="*/ 216074 w 1260819"/>
              <a:gd name="connsiteY108" fmla="*/ 961372 h 1283918"/>
              <a:gd name="connsiteX109" fmla="*/ 206679 w 1260819"/>
              <a:gd name="connsiteY109" fmla="*/ 970767 h 1283918"/>
              <a:gd name="connsiteX110" fmla="*/ 178496 w 1260819"/>
              <a:gd name="connsiteY110" fmla="*/ 948846 h 1283918"/>
              <a:gd name="connsiteX111" fmla="*/ 169101 w 1260819"/>
              <a:gd name="connsiteY111" fmla="*/ 945715 h 1283918"/>
              <a:gd name="connsiteX112" fmla="*/ 156575 w 1260819"/>
              <a:gd name="connsiteY112" fmla="*/ 948846 h 1283918"/>
              <a:gd name="connsiteX113" fmla="*/ 153444 w 1260819"/>
              <a:gd name="connsiteY113" fmla="*/ 958241 h 1283918"/>
              <a:gd name="connsiteX114" fmla="*/ 140918 w 1260819"/>
              <a:gd name="connsiteY114" fmla="*/ 992688 h 1283918"/>
              <a:gd name="connsiteX115" fmla="*/ 131523 w 1260819"/>
              <a:gd name="connsiteY115" fmla="*/ 995819 h 1283918"/>
              <a:gd name="connsiteX116" fmla="*/ 122129 w 1260819"/>
              <a:gd name="connsiteY116" fmla="*/ 1002082 h 1283918"/>
              <a:gd name="connsiteX117" fmla="*/ 115866 w 1260819"/>
              <a:gd name="connsiteY117" fmla="*/ 1030266 h 1283918"/>
              <a:gd name="connsiteX118" fmla="*/ 109603 w 1260819"/>
              <a:gd name="connsiteY118" fmla="*/ 1020871 h 1283918"/>
              <a:gd name="connsiteX119" fmla="*/ 90814 w 1260819"/>
              <a:gd name="connsiteY119" fmla="*/ 1014608 h 1283918"/>
              <a:gd name="connsiteX120" fmla="*/ 84551 w 1260819"/>
              <a:gd name="connsiteY120" fmla="*/ 1005214 h 1283918"/>
              <a:gd name="connsiteX121" fmla="*/ 43841 w 1260819"/>
              <a:gd name="connsiteY121" fmla="*/ 995819 h 1283918"/>
              <a:gd name="connsiteX122" fmla="*/ 37578 w 1260819"/>
              <a:gd name="connsiteY122" fmla="*/ 986425 h 1283918"/>
              <a:gd name="connsiteX123" fmla="*/ 25052 w 1260819"/>
              <a:gd name="connsiteY123" fmla="*/ 942583 h 1283918"/>
              <a:gd name="connsiteX124" fmla="*/ 21921 w 1260819"/>
              <a:gd name="connsiteY124" fmla="*/ 917531 h 1283918"/>
              <a:gd name="connsiteX125" fmla="*/ 37578 w 1260819"/>
              <a:gd name="connsiteY125" fmla="*/ 914400 h 1283918"/>
              <a:gd name="connsiteX126" fmla="*/ 46973 w 1260819"/>
              <a:gd name="connsiteY126" fmla="*/ 908137 h 1283918"/>
              <a:gd name="connsiteX127" fmla="*/ 53236 w 1260819"/>
              <a:gd name="connsiteY127" fmla="*/ 898742 h 1283918"/>
              <a:gd name="connsiteX128" fmla="*/ 72025 w 1260819"/>
              <a:gd name="connsiteY128" fmla="*/ 892479 h 1283918"/>
              <a:gd name="connsiteX129" fmla="*/ 78288 w 1260819"/>
              <a:gd name="connsiteY129" fmla="*/ 883085 h 1283918"/>
              <a:gd name="connsiteX130" fmla="*/ 75156 w 1260819"/>
              <a:gd name="connsiteY130" fmla="*/ 873690 h 1283918"/>
              <a:gd name="connsiteX131" fmla="*/ 68893 w 1260819"/>
              <a:gd name="connsiteY131" fmla="*/ 864296 h 1283918"/>
              <a:gd name="connsiteX132" fmla="*/ 59499 w 1260819"/>
              <a:gd name="connsiteY132" fmla="*/ 861164 h 1283918"/>
              <a:gd name="connsiteX133" fmla="*/ 50104 w 1260819"/>
              <a:gd name="connsiteY133" fmla="*/ 854901 h 1283918"/>
              <a:gd name="connsiteX134" fmla="*/ 46973 w 1260819"/>
              <a:gd name="connsiteY134" fmla="*/ 823586 h 1283918"/>
              <a:gd name="connsiteX135" fmla="*/ 37578 w 1260819"/>
              <a:gd name="connsiteY135" fmla="*/ 820455 h 1283918"/>
              <a:gd name="connsiteX136" fmla="*/ 15658 w 1260819"/>
              <a:gd name="connsiteY136" fmla="*/ 817323 h 1283918"/>
              <a:gd name="connsiteX137" fmla="*/ 25052 w 1260819"/>
              <a:gd name="connsiteY137" fmla="*/ 798534 h 1283918"/>
              <a:gd name="connsiteX138" fmla="*/ 43841 w 1260819"/>
              <a:gd name="connsiteY138" fmla="*/ 786008 h 1283918"/>
              <a:gd name="connsiteX139" fmla="*/ 31315 w 1260819"/>
              <a:gd name="connsiteY139" fmla="*/ 782877 h 1283918"/>
              <a:gd name="connsiteX140" fmla="*/ 12526 w 1260819"/>
              <a:gd name="connsiteY140" fmla="*/ 779745 h 1283918"/>
              <a:gd name="connsiteX141" fmla="*/ 15658 w 1260819"/>
              <a:gd name="connsiteY141" fmla="*/ 748430 h 1283918"/>
              <a:gd name="connsiteX142" fmla="*/ 21921 w 1260819"/>
              <a:gd name="connsiteY142" fmla="*/ 717115 h 1283918"/>
              <a:gd name="connsiteX143" fmla="*/ 0 w 1260819"/>
              <a:gd name="connsiteY143" fmla="*/ 701457 h 1283918"/>
              <a:gd name="connsiteX144" fmla="*/ 12526 w 1260819"/>
              <a:gd name="connsiteY144" fmla="*/ 679537 h 1283918"/>
              <a:gd name="connsiteX145" fmla="*/ 31315 w 1260819"/>
              <a:gd name="connsiteY145" fmla="*/ 673274 h 1283918"/>
              <a:gd name="connsiteX146" fmla="*/ 40710 w 1260819"/>
              <a:gd name="connsiteY146" fmla="*/ 667011 h 1283918"/>
              <a:gd name="connsiteX147" fmla="*/ 50104 w 1260819"/>
              <a:gd name="connsiteY147" fmla="*/ 657616 h 1283918"/>
              <a:gd name="connsiteX148" fmla="*/ 68893 w 1260819"/>
              <a:gd name="connsiteY148" fmla="*/ 651353 h 1283918"/>
              <a:gd name="connsiteX149" fmla="*/ 87682 w 1260819"/>
              <a:gd name="connsiteY149" fmla="*/ 645090 h 1283918"/>
              <a:gd name="connsiteX150" fmla="*/ 106471 w 1260819"/>
              <a:gd name="connsiteY150" fmla="*/ 632564 h 1283918"/>
              <a:gd name="connsiteX151" fmla="*/ 115866 w 1260819"/>
              <a:gd name="connsiteY151" fmla="*/ 629433 h 1283918"/>
              <a:gd name="connsiteX152" fmla="*/ 144049 w 1260819"/>
              <a:gd name="connsiteY152" fmla="*/ 616907 h 1283918"/>
              <a:gd name="connsiteX153" fmla="*/ 153444 w 1260819"/>
              <a:gd name="connsiteY153" fmla="*/ 613775 h 1283918"/>
              <a:gd name="connsiteX154" fmla="*/ 175364 w 1260819"/>
              <a:gd name="connsiteY154" fmla="*/ 591855 h 1283918"/>
              <a:gd name="connsiteX155" fmla="*/ 191022 w 1260819"/>
              <a:gd name="connsiteY155" fmla="*/ 613775 h 1283918"/>
              <a:gd name="connsiteX156" fmla="*/ 200416 w 1260819"/>
              <a:gd name="connsiteY156" fmla="*/ 610644 h 1283918"/>
              <a:gd name="connsiteX157" fmla="*/ 219205 w 1260819"/>
              <a:gd name="connsiteY157" fmla="*/ 616907 h 1283918"/>
              <a:gd name="connsiteX158" fmla="*/ 263047 w 1260819"/>
              <a:gd name="connsiteY158" fmla="*/ 613775 h 1283918"/>
              <a:gd name="connsiteX159" fmla="*/ 275573 w 1260819"/>
              <a:gd name="connsiteY159" fmla="*/ 598118 h 1283918"/>
              <a:gd name="connsiteX160" fmla="*/ 281836 w 1260819"/>
              <a:gd name="connsiteY160" fmla="*/ 573066 h 1283918"/>
              <a:gd name="connsiteX161" fmla="*/ 288099 w 1260819"/>
              <a:gd name="connsiteY161" fmla="*/ 563671 h 1283918"/>
              <a:gd name="connsiteX162" fmla="*/ 297493 w 1260819"/>
              <a:gd name="connsiteY162" fmla="*/ 560540 h 1283918"/>
              <a:gd name="connsiteX163" fmla="*/ 328808 w 1260819"/>
              <a:gd name="connsiteY163" fmla="*/ 557408 h 1283918"/>
              <a:gd name="connsiteX164" fmla="*/ 347597 w 1260819"/>
              <a:gd name="connsiteY164" fmla="*/ 551145 h 1283918"/>
              <a:gd name="connsiteX165" fmla="*/ 356992 w 1260819"/>
              <a:gd name="connsiteY165" fmla="*/ 544882 h 1283918"/>
              <a:gd name="connsiteX166" fmla="*/ 366386 w 1260819"/>
              <a:gd name="connsiteY166" fmla="*/ 541751 h 1283918"/>
              <a:gd name="connsiteX167" fmla="*/ 385175 w 1260819"/>
              <a:gd name="connsiteY167" fmla="*/ 529225 h 1283918"/>
              <a:gd name="connsiteX168" fmla="*/ 422753 w 1260819"/>
              <a:gd name="connsiteY168" fmla="*/ 516699 h 1283918"/>
              <a:gd name="connsiteX169" fmla="*/ 432148 w 1260819"/>
              <a:gd name="connsiteY169" fmla="*/ 513567 h 1283918"/>
              <a:gd name="connsiteX170" fmla="*/ 460331 w 1260819"/>
              <a:gd name="connsiteY170" fmla="*/ 497909 h 1283918"/>
              <a:gd name="connsiteX171" fmla="*/ 466595 w 1260819"/>
              <a:gd name="connsiteY171" fmla="*/ 491646 h 1283918"/>
              <a:gd name="connsiteX172" fmla="*/ 485384 w 1260819"/>
              <a:gd name="connsiteY172" fmla="*/ 482252 h 1283918"/>
              <a:gd name="connsiteX173" fmla="*/ 501041 w 1260819"/>
              <a:gd name="connsiteY173" fmla="*/ 463463 h 1283918"/>
              <a:gd name="connsiteX174" fmla="*/ 510436 w 1260819"/>
              <a:gd name="connsiteY174" fmla="*/ 457200 h 1283918"/>
              <a:gd name="connsiteX175" fmla="*/ 513567 w 1260819"/>
              <a:gd name="connsiteY175" fmla="*/ 447805 h 1283918"/>
              <a:gd name="connsiteX176" fmla="*/ 522962 w 1260819"/>
              <a:gd name="connsiteY176" fmla="*/ 441542 h 1283918"/>
              <a:gd name="connsiteX177" fmla="*/ 532356 w 1260819"/>
              <a:gd name="connsiteY177" fmla="*/ 432148 h 1283918"/>
              <a:gd name="connsiteX178" fmla="*/ 544882 w 1260819"/>
              <a:gd name="connsiteY178" fmla="*/ 347597 h 1283918"/>
              <a:gd name="connsiteX179" fmla="*/ 554277 w 1260819"/>
              <a:gd name="connsiteY179" fmla="*/ 344466 h 1283918"/>
              <a:gd name="connsiteX180" fmla="*/ 569934 w 1260819"/>
              <a:gd name="connsiteY180" fmla="*/ 341334 h 1283918"/>
              <a:gd name="connsiteX181" fmla="*/ 585592 w 1260819"/>
              <a:gd name="connsiteY181" fmla="*/ 322545 h 1283918"/>
              <a:gd name="connsiteX182" fmla="*/ 594986 w 1260819"/>
              <a:gd name="connsiteY182" fmla="*/ 313151 h 1283918"/>
              <a:gd name="connsiteX183" fmla="*/ 638827 w 1260819"/>
              <a:gd name="connsiteY183" fmla="*/ 310019 h 1283918"/>
              <a:gd name="connsiteX184" fmla="*/ 641959 w 1260819"/>
              <a:gd name="connsiteY184" fmla="*/ 300625 h 1283918"/>
              <a:gd name="connsiteX185" fmla="*/ 635696 w 1260819"/>
              <a:gd name="connsiteY185" fmla="*/ 291230 h 1283918"/>
              <a:gd name="connsiteX186" fmla="*/ 629433 w 1260819"/>
              <a:gd name="connsiteY186" fmla="*/ 269309 h 1283918"/>
              <a:gd name="connsiteX187" fmla="*/ 623170 w 1260819"/>
              <a:gd name="connsiteY187" fmla="*/ 259915 h 1283918"/>
              <a:gd name="connsiteX188" fmla="*/ 626301 w 1260819"/>
              <a:gd name="connsiteY188" fmla="*/ 241126 h 1283918"/>
              <a:gd name="connsiteX189" fmla="*/ 645090 w 1260819"/>
              <a:gd name="connsiteY189" fmla="*/ 222337 h 1283918"/>
              <a:gd name="connsiteX190" fmla="*/ 648222 w 1260819"/>
              <a:gd name="connsiteY190" fmla="*/ 212942 h 1283918"/>
              <a:gd name="connsiteX191" fmla="*/ 667011 w 1260819"/>
              <a:gd name="connsiteY191" fmla="*/ 194153 h 1283918"/>
              <a:gd name="connsiteX192" fmla="*/ 676405 w 1260819"/>
              <a:gd name="connsiteY192" fmla="*/ 165970 h 1283918"/>
              <a:gd name="connsiteX193" fmla="*/ 679537 w 1260819"/>
              <a:gd name="connsiteY193" fmla="*/ 156575 h 1283918"/>
              <a:gd name="connsiteX194" fmla="*/ 670142 w 1260819"/>
              <a:gd name="connsiteY194" fmla="*/ 144049 h 1283918"/>
              <a:gd name="connsiteX195" fmla="*/ 667011 w 1260819"/>
              <a:gd name="connsiteY195" fmla="*/ 106471 h 1283918"/>
              <a:gd name="connsiteX196" fmla="*/ 685800 w 1260819"/>
              <a:gd name="connsiteY196" fmla="*/ 87682 h 1283918"/>
              <a:gd name="connsiteX197" fmla="*/ 701458 w 1260819"/>
              <a:gd name="connsiteY197" fmla="*/ 72025 h 1283918"/>
              <a:gd name="connsiteX198" fmla="*/ 720247 w 1260819"/>
              <a:gd name="connsiteY198" fmla="*/ 65762 h 1283918"/>
              <a:gd name="connsiteX199" fmla="*/ 732773 w 1260819"/>
              <a:gd name="connsiteY199" fmla="*/ 46972 h 1283918"/>
              <a:gd name="connsiteX200" fmla="*/ 735904 w 1260819"/>
              <a:gd name="connsiteY200" fmla="*/ 37578 h 1283918"/>
              <a:gd name="connsiteX201" fmla="*/ 748430 w 1260819"/>
              <a:gd name="connsiteY201" fmla="*/ 18789 h 1283918"/>
              <a:gd name="connsiteX202" fmla="*/ 767219 w 1260819"/>
              <a:gd name="connsiteY202" fmla="*/ 6263 h 1283918"/>
              <a:gd name="connsiteX203" fmla="*/ 776614 w 1260819"/>
              <a:gd name="connsiteY203" fmla="*/ 0 h 1283918"/>
              <a:gd name="connsiteX204" fmla="*/ 814192 w 1260819"/>
              <a:gd name="connsiteY204" fmla="*/ 9394 h 1283918"/>
              <a:gd name="connsiteX205" fmla="*/ 817323 w 1260819"/>
              <a:gd name="connsiteY205" fmla="*/ 21920 h 1283918"/>
              <a:gd name="connsiteX206" fmla="*/ 820455 w 1260819"/>
              <a:gd name="connsiteY206" fmla="*/ 62630 h 1283918"/>
              <a:gd name="connsiteX207" fmla="*/ 823586 w 1260819"/>
              <a:gd name="connsiteY207" fmla="*/ 72025 h 1283918"/>
              <a:gd name="connsiteX208" fmla="*/ 839244 w 1260819"/>
              <a:gd name="connsiteY208" fmla="*/ 65762 h 1283918"/>
              <a:gd name="connsiteX209" fmla="*/ 858033 w 1260819"/>
              <a:gd name="connsiteY209" fmla="*/ 68893 h 1283918"/>
              <a:gd name="connsiteX210" fmla="*/ 873690 w 1260819"/>
              <a:gd name="connsiteY210" fmla="*/ 90814 h 1283918"/>
              <a:gd name="connsiteX211" fmla="*/ 886216 w 1260819"/>
              <a:gd name="connsiteY211" fmla="*/ 93945 h 1283918"/>
              <a:gd name="connsiteX212" fmla="*/ 914400 w 1260819"/>
              <a:gd name="connsiteY212" fmla="*/ 118997 h 1283918"/>
              <a:gd name="connsiteX213" fmla="*/ 945715 w 1260819"/>
              <a:gd name="connsiteY213" fmla="*/ 137786 h 1283918"/>
              <a:gd name="connsiteX214" fmla="*/ 955110 w 1260819"/>
              <a:gd name="connsiteY214" fmla="*/ 144049 h 1283918"/>
              <a:gd name="connsiteX215" fmla="*/ 973899 w 1260819"/>
              <a:gd name="connsiteY215" fmla="*/ 162838 h 1283918"/>
              <a:gd name="connsiteX216" fmla="*/ 992688 w 1260819"/>
              <a:gd name="connsiteY216" fmla="*/ 178496 h 1283918"/>
              <a:gd name="connsiteX217" fmla="*/ 1020871 w 1260819"/>
              <a:gd name="connsiteY217" fmla="*/ 178496 h 1283918"/>
              <a:gd name="connsiteX218" fmla="*/ 1030266 w 1260819"/>
              <a:gd name="connsiteY218" fmla="*/ 187890 h 1283918"/>
              <a:gd name="connsiteX219" fmla="*/ 1036529 w 1260819"/>
              <a:gd name="connsiteY219" fmla="*/ 206679 h 1283918"/>
              <a:gd name="connsiteX220" fmla="*/ 1039660 w 1260819"/>
              <a:gd name="connsiteY220" fmla="*/ 219205 h 1283918"/>
              <a:gd name="connsiteX221" fmla="*/ 1052186 w 1260819"/>
              <a:gd name="connsiteY221" fmla="*/ 237994 h 1283918"/>
              <a:gd name="connsiteX222" fmla="*/ 1058449 w 1260819"/>
              <a:gd name="connsiteY222" fmla="*/ 247389 h 1283918"/>
              <a:gd name="connsiteX223" fmla="*/ 1067844 w 1260819"/>
              <a:gd name="connsiteY223" fmla="*/ 253652 h 1283918"/>
              <a:gd name="connsiteX224" fmla="*/ 1070975 w 1260819"/>
              <a:gd name="connsiteY224" fmla="*/ 263046 h 1283918"/>
              <a:gd name="connsiteX225" fmla="*/ 1077238 w 1260819"/>
              <a:gd name="connsiteY225" fmla="*/ 272441 h 1283918"/>
              <a:gd name="connsiteX226" fmla="*/ 1083501 w 1260819"/>
              <a:gd name="connsiteY226" fmla="*/ 297493 h 1283918"/>
              <a:gd name="connsiteX227" fmla="*/ 1108553 w 1260819"/>
              <a:gd name="connsiteY227" fmla="*/ 319414 h 1283918"/>
              <a:gd name="connsiteX228" fmla="*/ 1117948 w 1260819"/>
              <a:gd name="connsiteY228" fmla="*/ 322545 h 1283918"/>
              <a:gd name="connsiteX229" fmla="*/ 1121079 w 1260819"/>
              <a:gd name="connsiteY229" fmla="*/ 331940 h 1283918"/>
              <a:gd name="connsiteX230" fmla="*/ 1130474 w 1260819"/>
              <a:gd name="connsiteY230" fmla="*/ 335071 h 1283918"/>
              <a:gd name="connsiteX231" fmla="*/ 1174315 w 1260819"/>
              <a:gd name="connsiteY231" fmla="*/ 338203 h 1283918"/>
              <a:gd name="connsiteX232" fmla="*/ 1183710 w 1260819"/>
              <a:gd name="connsiteY232" fmla="*/ 341334 h 1283918"/>
              <a:gd name="connsiteX233" fmla="*/ 1218156 w 1260819"/>
              <a:gd name="connsiteY233" fmla="*/ 331940 h 1283918"/>
              <a:gd name="connsiteX234" fmla="*/ 1227551 w 1260819"/>
              <a:gd name="connsiteY234" fmla="*/ 328808 h 1283918"/>
              <a:gd name="connsiteX235" fmla="*/ 1236945 w 1260819"/>
              <a:gd name="connsiteY235" fmla="*/ 331940 h 1283918"/>
              <a:gd name="connsiteX236" fmla="*/ 1224419 w 1260819"/>
              <a:gd name="connsiteY236" fmla="*/ 356992 h 1283918"/>
              <a:gd name="connsiteX237" fmla="*/ 1227551 w 1260819"/>
              <a:gd name="connsiteY237" fmla="*/ 382044 h 1283918"/>
              <a:gd name="connsiteX238" fmla="*/ 1233814 w 1260819"/>
              <a:gd name="connsiteY238" fmla="*/ 391438 h 1283918"/>
              <a:gd name="connsiteX239" fmla="*/ 1236945 w 1260819"/>
              <a:gd name="connsiteY239" fmla="*/ 400833 h 1283918"/>
              <a:gd name="connsiteX240" fmla="*/ 1243208 w 1260819"/>
              <a:gd name="connsiteY240" fmla="*/ 410227 h 1283918"/>
              <a:gd name="connsiteX241" fmla="*/ 1249471 w 1260819"/>
              <a:gd name="connsiteY241" fmla="*/ 429016 h 1283918"/>
              <a:gd name="connsiteX242" fmla="*/ 1246340 w 1260819"/>
              <a:gd name="connsiteY242" fmla="*/ 447805 h 1283918"/>
              <a:gd name="connsiteX243" fmla="*/ 1227551 w 1260819"/>
              <a:gd name="connsiteY243" fmla="*/ 460331 h 1283918"/>
              <a:gd name="connsiteX244" fmla="*/ 1218156 w 1260819"/>
              <a:gd name="connsiteY244" fmla="*/ 479120 h 1283918"/>
              <a:gd name="connsiteX245" fmla="*/ 1227551 w 1260819"/>
              <a:gd name="connsiteY245" fmla="*/ 485383 h 1283918"/>
              <a:gd name="connsiteX246" fmla="*/ 1258866 w 1260819"/>
              <a:gd name="connsiteY246" fmla="*/ 491646 h 1283918"/>
              <a:gd name="connsiteX0" fmla="*/ 1258866 w 1260819"/>
              <a:gd name="connsiteY0" fmla="*/ 491646 h 1283918"/>
              <a:gd name="connsiteX1" fmla="*/ 1255734 w 1260819"/>
              <a:gd name="connsiteY1" fmla="*/ 507304 h 1283918"/>
              <a:gd name="connsiteX2" fmla="*/ 1246340 w 1260819"/>
              <a:gd name="connsiteY2" fmla="*/ 510435 h 1283918"/>
              <a:gd name="connsiteX3" fmla="*/ 1205630 w 1260819"/>
              <a:gd name="connsiteY3" fmla="*/ 507304 h 1283918"/>
              <a:gd name="connsiteX4" fmla="*/ 1196236 w 1260819"/>
              <a:gd name="connsiteY4" fmla="*/ 510435 h 1283918"/>
              <a:gd name="connsiteX5" fmla="*/ 1193104 w 1260819"/>
              <a:gd name="connsiteY5" fmla="*/ 522962 h 1283918"/>
              <a:gd name="connsiteX6" fmla="*/ 1189973 w 1260819"/>
              <a:gd name="connsiteY6" fmla="*/ 532356 h 1283918"/>
              <a:gd name="connsiteX7" fmla="*/ 1180578 w 1260819"/>
              <a:gd name="connsiteY7" fmla="*/ 538619 h 1283918"/>
              <a:gd name="connsiteX8" fmla="*/ 1171184 w 1260819"/>
              <a:gd name="connsiteY8" fmla="*/ 548014 h 1283918"/>
              <a:gd name="connsiteX9" fmla="*/ 1161789 w 1260819"/>
              <a:gd name="connsiteY9" fmla="*/ 554277 h 1283918"/>
              <a:gd name="connsiteX10" fmla="*/ 1143000 w 1260819"/>
              <a:gd name="connsiteY10" fmla="*/ 560540 h 1283918"/>
              <a:gd name="connsiteX11" fmla="*/ 1117948 w 1260819"/>
              <a:gd name="connsiteY11" fmla="*/ 557408 h 1283918"/>
              <a:gd name="connsiteX12" fmla="*/ 1108553 w 1260819"/>
              <a:gd name="connsiteY12" fmla="*/ 551145 h 1283918"/>
              <a:gd name="connsiteX13" fmla="*/ 1105422 w 1260819"/>
              <a:gd name="connsiteY13" fmla="*/ 560540 h 1283918"/>
              <a:gd name="connsiteX14" fmla="*/ 1102290 w 1260819"/>
              <a:gd name="connsiteY14" fmla="*/ 594986 h 1283918"/>
              <a:gd name="connsiteX15" fmla="*/ 1092896 w 1260819"/>
              <a:gd name="connsiteY15" fmla="*/ 601249 h 1283918"/>
              <a:gd name="connsiteX16" fmla="*/ 1074107 w 1260819"/>
              <a:gd name="connsiteY16" fmla="*/ 610644 h 1283918"/>
              <a:gd name="connsiteX17" fmla="*/ 1070975 w 1260819"/>
              <a:gd name="connsiteY17" fmla="*/ 663879 h 1283918"/>
              <a:gd name="connsiteX18" fmla="*/ 1067844 w 1260819"/>
              <a:gd name="connsiteY18" fmla="*/ 673274 h 1283918"/>
              <a:gd name="connsiteX19" fmla="*/ 1092896 w 1260819"/>
              <a:gd name="connsiteY19" fmla="*/ 682668 h 1283918"/>
              <a:gd name="connsiteX20" fmla="*/ 1096027 w 1260819"/>
              <a:gd name="connsiteY20" fmla="*/ 692063 h 1283918"/>
              <a:gd name="connsiteX21" fmla="*/ 1117948 w 1260819"/>
              <a:gd name="connsiteY21" fmla="*/ 701457 h 1283918"/>
              <a:gd name="connsiteX22" fmla="*/ 1127342 w 1260819"/>
              <a:gd name="connsiteY22" fmla="*/ 720246 h 1283918"/>
              <a:gd name="connsiteX23" fmla="*/ 1139868 w 1260819"/>
              <a:gd name="connsiteY23" fmla="*/ 723378 h 1283918"/>
              <a:gd name="connsiteX24" fmla="*/ 1146131 w 1260819"/>
              <a:gd name="connsiteY24" fmla="*/ 732772 h 1283918"/>
              <a:gd name="connsiteX25" fmla="*/ 1136737 w 1260819"/>
              <a:gd name="connsiteY25" fmla="*/ 751562 h 1283918"/>
              <a:gd name="connsiteX26" fmla="*/ 1127342 w 1260819"/>
              <a:gd name="connsiteY26" fmla="*/ 770351 h 1283918"/>
              <a:gd name="connsiteX27" fmla="*/ 1117948 w 1260819"/>
              <a:gd name="connsiteY27" fmla="*/ 789140 h 1283918"/>
              <a:gd name="connsiteX28" fmla="*/ 1108553 w 1260819"/>
              <a:gd name="connsiteY28" fmla="*/ 807929 h 1283918"/>
              <a:gd name="connsiteX29" fmla="*/ 1092896 w 1260819"/>
              <a:gd name="connsiteY29" fmla="*/ 836112 h 1283918"/>
              <a:gd name="connsiteX30" fmla="*/ 1074107 w 1260819"/>
              <a:gd name="connsiteY30" fmla="*/ 851770 h 1283918"/>
              <a:gd name="connsiteX31" fmla="*/ 1070975 w 1260819"/>
              <a:gd name="connsiteY31" fmla="*/ 867427 h 1283918"/>
              <a:gd name="connsiteX32" fmla="*/ 1067844 w 1260819"/>
              <a:gd name="connsiteY32" fmla="*/ 876822 h 1283918"/>
              <a:gd name="connsiteX33" fmla="*/ 1039660 w 1260819"/>
              <a:gd name="connsiteY33" fmla="*/ 879953 h 1283918"/>
              <a:gd name="connsiteX34" fmla="*/ 1011477 w 1260819"/>
              <a:gd name="connsiteY34" fmla="*/ 886216 h 1283918"/>
              <a:gd name="connsiteX35" fmla="*/ 1002082 w 1260819"/>
              <a:gd name="connsiteY35" fmla="*/ 892479 h 1283918"/>
              <a:gd name="connsiteX36" fmla="*/ 992688 w 1260819"/>
              <a:gd name="connsiteY36" fmla="*/ 895611 h 1283918"/>
              <a:gd name="connsiteX37" fmla="*/ 980162 w 1260819"/>
              <a:gd name="connsiteY37" fmla="*/ 901874 h 1283918"/>
              <a:gd name="connsiteX38" fmla="*/ 970767 w 1260819"/>
              <a:gd name="connsiteY38" fmla="*/ 908137 h 1283918"/>
              <a:gd name="connsiteX39" fmla="*/ 958241 w 1260819"/>
              <a:gd name="connsiteY39" fmla="*/ 911268 h 1283918"/>
              <a:gd name="connsiteX40" fmla="*/ 948847 w 1260819"/>
              <a:gd name="connsiteY40" fmla="*/ 914400 h 1283918"/>
              <a:gd name="connsiteX41" fmla="*/ 936321 w 1260819"/>
              <a:gd name="connsiteY41" fmla="*/ 917531 h 1283918"/>
              <a:gd name="connsiteX42" fmla="*/ 905005 w 1260819"/>
              <a:gd name="connsiteY42" fmla="*/ 930057 h 1283918"/>
              <a:gd name="connsiteX43" fmla="*/ 886216 w 1260819"/>
              <a:gd name="connsiteY43" fmla="*/ 936320 h 1283918"/>
              <a:gd name="connsiteX44" fmla="*/ 867427 w 1260819"/>
              <a:gd name="connsiteY44" fmla="*/ 955109 h 1283918"/>
              <a:gd name="connsiteX45" fmla="*/ 851770 w 1260819"/>
              <a:gd name="connsiteY45" fmla="*/ 973899 h 1283918"/>
              <a:gd name="connsiteX46" fmla="*/ 842375 w 1260819"/>
              <a:gd name="connsiteY46" fmla="*/ 980162 h 1283918"/>
              <a:gd name="connsiteX47" fmla="*/ 823586 w 1260819"/>
              <a:gd name="connsiteY47" fmla="*/ 992688 h 1283918"/>
              <a:gd name="connsiteX48" fmla="*/ 804797 w 1260819"/>
              <a:gd name="connsiteY48" fmla="*/ 1011477 h 1283918"/>
              <a:gd name="connsiteX49" fmla="*/ 795403 w 1260819"/>
              <a:gd name="connsiteY49" fmla="*/ 1017740 h 1283918"/>
              <a:gd name="connsiteX50" fmla="*/ 776614 w 1260819"/>
              <a:gd name="connsiteY50" fmla="*/ 1036529 h 1283918"/>
              <a:gd name="connsiteX51" fmla="*/ 767219 w 1260819"/>
              <a:gd name="connsiteY51" fmla="*/ 1045923 h 1283918"/>
              <a:gd name="connsiteX52" fmla="*/ 739036 w 1260819"/>
              <a:gd name="connsiteY52" fmla="*/ 1064712 h 1283918"/>
              <a:gd name="connsiteX53" fmla="*/ 720247 w 1260819"/>
              <a:gd name="connsiteY53" fmla="*/ 1083501 h 1283918"/>
              <a:gd name="connsiteX54" fmla="*/ 701458 w 1260819"/>
              <a:gd name="connsiteY54" fmla="*/ 1096027 h 1283918"/>
              <a:gd name="connsiteX55" fmla="*/ 695195 w 1260819"/>
              <a:gd name="connsiteY55" fmla="*/ 1105422 h 1283918"/>
              <a:gd name="connsiteX56" fmla="*/ 688931 w 1260819"/>
              <a:gd name="connsiteY56" fmla="*/ 1111685 h 1283918"/>
              <a:gd name="connsiteX57" fmla="*/ 679537 w 1260819"/>
              <a:gd name="connsiteY57" fmla="*/ 1130474 h 1283918"/>
              <a:gd name="connsiteX58" fmla="*/ 657616 w 1260819"/>
              <a:gd name="connsiteY58" fmla="*/ 1139868 h 1283918"/>
              <a:gd name="connsiteX59" fmla="*/ 645090 w 1260819"/>
              <a:gd name="connsiteY59" fmla="*/ 1158657 h 1283918"/>
              <a:gd name="connsiteX60" fmla="*/ 638827 w 1260819"/>
              <a:gd name="connsiteY60" fmla="*/ 1168052 h 1283918"/>
              <a:gd name="connsiteX61" fmla="*/ 632564 w 1260819"/>
              <a:gd name="connsiteY61" fmla="*/ 1186841 h 1283918"/>
              <a:gd name="connsiteX62" fmla="*/ 629433 w 1260819"/>
              <a:gd name="connsiteY62" fmla="*/ 1202499 h 1283918"/>
              <a:gd name="connsiteX63" fmla="*/ 623170 w 1260819"/>
              <a:gd name="connsiteY63" fmla="*/ 1221288 h 1283918"/>
              <a:gd name="connsiteX64" fmla="*/ 610644 w 1260819"/>
              <a:gd name="connsiteY64" fmla="*/ 1240077 h 1283918"/>
              <a:gd name="connsiteX65" fmla="*/ 601249 w 1260819"/>
              <a:gd name="connsiteY65" fmla="*/ 1258866 h 1283918"/>
              <a:gd name="connsiteX66" fmla="*/ 585592 w 1260819"/>
              <a:gd name="connsiteY66" fmla="*/ 1283918 h 1283918"/>
              <a:gd name="connsiteX67" fmla="*/ 563671 w 1260819"/>
              <a:gd name="connsiteY67" fmla="*/ 1280786 h 1283918"/>
              <a:gd name="connsiteX68" fmla="*/ 557408 w 1260819"/>
              <a:gd name="connsiteY68" fmla="*/ 1271392 h 1283918"/>
              <a:gd name="connsiteX69" fmla="*/ 548014 w 1260819"/>
              <a:gd name="connsiteY69" fmla="*/ 1265129 h 1283918"/>
              <a:gd name="connsiteX70" fmla="*/ 541751 w 1260819"/>
              <a:gd name="connsiteY70" fmla="*/ 1255734 h 1283918"/>
              <a:gd name="connsiteX71" fmla="*/ 529225 w 1260819"/>
              <a:gd name="connsiteY71" fmla="*/ 1246340 h 1283918"/>
              <a:gd name="connsiteX72" fmla="*/ 522962 w 1260819"/>
              <a:gd name="connsiteY72" fmla="*/ 1255734 h 1283918"/>
              <a:gd name="connsiteX73" fmla="*/ 507304 w 1260819"/>
              <a:gd name="connsiteY73" fmla="*/ 1258866 h 1283918"/>
              <a:gd name="connsiteX74" fmla="*/ 469726 w 1260819"/>
              <a:gd name="connsiteY74" fmla="*/ 1265129 h 1283918"/>
              <a:gd name="connsiteX75" fmla="*/ 403964 w 1260819"/>
              <a:gd name="connsiteY75" fmla="*/ 1261997 h 1283918"/>
              <a:gd name="connsiteX76" fmla="*/ 385175 w 1260819"/>
              <a:gd name="connsiteY76" fmla="*/ 1255734 h 1283918"/>
              <a:gd name="connsiteX77" fmla="*/ 375781 w 1260819"/>
              <a:gd name="connsiteY77" fmla="*/ 1252603 h 1283918"/>
              <a:gd name="connsiteX78" fmla="*/ 366386 w 1260819"/>
              <a:gd name="connsiteY78" fmla="*/ 1249471 h 1283918"/>
              <a:gd name="connsiteX79" fmla="*/ 356992 w 1260819"/>
              <a:gd name="connsiteY79" fmla="*/ 1246340 h 1283918"/>
              <a:gd name="connsiteX80" fmla="*/ 347597 w 1260819"/>
              <a:gd name="connsiteY80" fmla="*/ 1240077 h 1283918"/>
              <a:gd name="connsiteX81" fmla="*/ 347597 w 1260819"/>
              <a:gd name="connsiteY81" fmla="*/ 1149263 h 1283918"/>
              <a:gd name="connsiteX82" fmla="*/ 350729 w 1260819"/>
              <a:gd name="connsiteY82" fmla="*/ 1139868 h 1283918"/>
              <a:gd name="connsiteX83" fmla="*/ 350729 w 1260819"/>
              <a:gd name="connsiteY83" fmla="*/ 1102290 h 1283918"/>
              <a:gd name="connsiteX84" fmla="*/ 360123 w 1260819"/>
              <a:gd name="connsiteY84" fmla="*/ 1092896 h 1283918"/>
              <a:gd name="connsiteX85" fmla="*/ 369518 w 1260819"/>
              <a:gd name="connsiteY85" fmla="*/ 1086633 h 1283918"/>
              <a:gd name="connsiteX86" fmla="*/ 372649 w 1260819"/>
              <a:gd name="connsiteY86" fmla="*/ 1061581 h 1283918"/>
              <a:gd name="connsiteX87" fmla="*/ 363255 w 1260819"/>
              <a:gd name="connsiteY87" fmla="*/ 1058449 h 1283918"/>
              <a:gd name="connsiteX88" fmla="*/ 353860 w 1260819"/>
              <a:gd name="connsiteY88" fmla="*/ 1061581 h 1283918"/>
              <a:gd name="connsiteX89" fmla="*/ 344466 w 1260819"/>
              <a:gd name="connsiteY89" fmla="*/ 1070975 h 1283918"/>
              <a:gd name="connsiteX90" fmla="*/ 335071 w 1260819"/>
              <a:gd name="connsiteY90" fmla="*/ 1064712 h 1283918"/>
              <a:gd name="connsiteX91" fmla="*/ 331940 w 1260819"/>
              <a:gd name="connsiteY91" fmla="*/ 1055318 h 1283918"/>
              <a:gd name="connsiteX92" fmla="*/ 341334 w 1260819"/>
              <a:gd name="connsiteY92" fmla="*/ 1036529 h 1283918"/>
              <a:gd name="connsiteX93" fmla="*/ 344466 w 1260819"/>
              <a:gd name="connsiteY93" fmla="*/ 1027134 h 1283918"/>
              <a:gd name="connsiteX94" fmla="*/ 328808 w 1260819"/>
              <a:gd name="connsiteY94" fmla="*/ 1008345 h 1283918"/>
              <a:gd name="connsiteX95" fmla="*/ 319414 w 1260819"/>
              <a:gd name="connsiteY95" fmla="*/ 1005214 h 1283918"/>
              <a:gd name="connsiteX96" fmla="*/ 322545 w 1260819"/>
              <a:gd name="connsiteY96" fmla="*/ 986425 h 1283918"/>
              <a:gd name="connsiteX97" fmla="*/ 338203 w 1260819"/>
              <a:gd name="connsiteY97" fmla="*/ 967635 h 1283918"/>
              <a:gd name="connsiteX98" fmla="*/ 344466 w 1260819"/>
              <a:gd name="connsiteY98" fmla="*/ 958241 h 1283918"/>
              <a:gd name="connsiteX99" fmla="*/ 347597 w 1260819"/>
              <a:gd name="connsiteY99" fmla="*/ 948846 h 1283918"/>
              <a:gd name="connsiteX100" fmla="*/ 325677 w 1260819"/>
              <a:gd name="connsiteY100" fmla="*/ 936320 h 1283918"/>
              <a:gd name="connsiteX101" fmla="*/ 313151 w 1260819"/>
              <a:gd name="connsiteY101" fmla="*/ 933189 h 1283918"/>
              <a:gd name="connsiteX102" fmla="*/ 306888 w 1260819"/>
              <a:gd name="connsiteY102" fmla="*/ 923794 h 1283918"/>
              <a:gd name="connsiteX103" fmla="*/ 297493 w 1260819"/>
              <a:gd name="connsiteY103" fmla="*/ 905005 h 1283918"/>
              <a:gd name="connsiteX104" fmla="*/ 288099 w 1260819"/>
              <a:gd name="connsiteY104" fmla="*/ 901874 h 1283918"/>
              <a:gd name="connsiteX105" fmla="*/ 278704 w 1260819"/>
              <a:gd name="connsiteY105" fmla="*/ 908137 h 1283918"/>
              <a:gd name="connsiteX106" fmla="*/ 269310 w 1260819"/>
              <a:gd name="connsiteY106" fmla="*/ 926926 h 1283918"/>
              <a:gd name="connsiteX107" fmla="*/ 244258 w 1260819"/>
              <a:gd name="connsiteY107" fmla="*/ 933189 h 1283918"/>
              <a:gd name="connsiteX108" fmla="*/ 216074 w 1260819"/>
              <a:gd name="connsiteY108" fmla="*/ 961372 h 1283918"/>
              <a:gd name="connsiteX109" fmla="*/ 206679 w 1260819"/>
              <a:gd name="connsiteY109" fmla="*/ 970767 h 1283918"/>
              <a:gd name="connsiteX110" fmla="*/ 178496 w 1260819"/>
              <a:gd name="connsiteY110" fmla="*/ 948846 h 1283918"/>
              <a:gd name="connsiteX111" fmla="*/ 169101 w 1260819"/>
              <a:gd name="connsiteY111" fmla="*/ 945715 h 1283918"/>
              <a:gd name="connsiteX112" fmla="*/ 156575 w 1260819"/>
              <a:gd name="connsiteY112" fmla="*/ 948846 h 1283918"/>
              <a:gd name="connsiteX113" fmla="*/ 153444 w 1260819"/>
              <a:gd name="connsiteY113" fmla="*/ 958241 h 1283918"/>
              <a:gd name="connsiteX114" fmla="*/ 140918 w 1260819"/>
              <a:gd name="connsiteY114" fmla="*/ 992688 h 1283918"/>
              <a:gd name="connsiteX115" fmla="*/ 131523 w 1260819"/>
              <a:gd name="connsiteY115" fmla="*/ 995819 h 1283918"/>
              <a:gd name="connsiteX116" fmla="*/ 122129 w 1260819"/>
              <a:gd name="connsiteY116" fmla="*/ 1002082 h 1283918"/>
              <a:gd name="connsiteX117" fmla="*/ 115866 w 1260819"/>
              <a:gd name="connsiteY117" fmla="*/ 1030266 h 1283918"/>
              <a:gd name="connsiteX118" fmla="*/ 109603 w 1260819"/>
              <a:gd name="connsiteY118" fmla="*/ 1020871 h 1283918"/>
              <a:gd name="connsiteX119" fmla="*/ 90814 w 1260819"/>
              <a:gd name="connsiteY119" fmla="*/ 1014608 h 1283918"/>
              <a:gd name="connsiteX120" fmla="*/ 84551 w 1260819"/>
              <a:gd name="connsiteY120" fmla="*/ 1005214 h 1283918"/>
              <a:gd name="connsiteX121" fmla="*/ 43841 w 1260819"/>
              <a:gd name="connsiteY121" fmla="*/ 995819 h 1283918"/>
              <a:gd name="connsiteX122" fmla="*/ 37578 w 1260819"/>
              <a:gd name="connsiteY122" fmla="*/ 986425 h 1283918"/>
              <a:gd name="connsiteX123" fmla="*/ 25052 w 1260819"/>
              <a:gd name="connsiteY123" fmla="*/ 942583 h 1283918"/>
              <a:gd name="connsiteX124" fmla="*/ 21921 w 1260819"/>
              <a:gd name="connsiteY124" fmla="*/ 917531 h 1283918"/>
              <a:gd name="connsiteX125" fmla="*/ 37578 w 1260819"/>
              <a:gd name="connsiteY125" fmla="*/ 914400 h 1283918"/>
              <a:gd name="connsiteX126" fmla="*/ 46973 w 1260819"/>
              <a:gd name="connsiteY126" fmla="*/ 908137 h 1283918"/>
              <a:gd name="connsiteX127" fmla="*/ 53236 w 1260819"/>
              <a:gd name="connsiteY127" fmla="*/ 898742 h 1283918"/>
              <a:gd name="connsiteX128" fmla="*/ 72025 w 1260819"/>
              <a:gd name="connsiteY128" fmla="*/ 892479 h 1283918"/>
              <a:gd name="connsiteX129" fmla="*/ 78288 w 1260819"/>
              <a:gd name="connsiteY129" fmla="*/ 883085 h 1283918"/>
              <a:gd name="connsiteX130" fmla="*/ 75156 w 1260819"/>
              <a:gd name="connsiteY130" fmla="*/ 873690 h 1283918"/>
              <a:gd name="connsiteX131" fmla="*/ 68893 w 1260819"/>
              <a:gd name="connsiteY131" fmla="*/ 864296 h 1283918"/>
              <a:gd name="connsiteX132" fmla="*/ 59499 w 1260819"/>
              <a:gd name="connsiteY132" fmla="*/ 861164 h 1283918"/>
              <a:gd name="connsiteX133" fmla="*/ 50104 w 1260819"/>
              <a:gd name="connsiteY133" fmla="*/ 854901 h 1283918"/>
              <a:gd name="connsiteX134" fmla="*/ 46973 w 1260819"/>
              <a:gd name="connsiteY134" fmla="*/ 823586 h 1283918"/>
              <a:gd name="connsiteX135" fmla="*/ 37578 w 1260819"/>
              <a:gd name="connsiteY135" fmla="*/ 820455 h 1283918"/>
              <a:gd name="connsiteX136" fmla="*/ 15658 w 1260819"/>
              <a:gd name="connsiteY136" fmla="*/ 817323 h 1283918"/>
              <a:gd name="connsiteX137" fmla="*/ 25052 w 1260819"/>
              <a:gd name="connsiteY137" fmla="*/ 798534 h 1283918"/>
              <a:gd name="connsiteX138" fmla="*/ 43841 w 1260819"/>
              <a:gd name="connsiteY138" fmla="*/ 786008 h 1283918"/>
              <a:gd name="connsiteX139" fmla="*/ 31315 w 1260819"/>
              <a:gd name="connsiteY139" fmla="*/ 782877 h 1283918"/>
              <a:gd name="connsiteX140" fmla="*/ 12526 w 1260819"/>
              <a:gd name="connsiteY140" fmla="*/ 779745 h 1283918"/>
              <a:gd name="connsiteX141" fmla="*/ 15658 w 1260819"/>
              <a:gd name="connsiteY141" fmla="*/ 748430 h 1283918"/>
              <a:gd name="connsiteX142" fmla="*/ 21921 w 1260819"/>
              <a:gd name="connsiteY142" fmla="*/ 717115 h 1283918"/>
              <a:gd name="connsiteX143" fmla="*/ 0 w 1260819"/>
              <a:gd name="connsiteY143" fmla="*/ 701457 h 1283918"/>
              <a:gd name="connsiteX144" fmla="*/ 12526 w 1260819"/>
              <a:gd name="connsiteY144" fmla="*/ 679537 h 1283918"/>
              <a:gd name="connsiteX145" fmla="*/ 31315 w 1260819"/>
              <a:gd name="connsiteY145" fmla="*/ 673274 h 1283918"/>
              <a:gd name="connsiteX146" fmla="*/ 40710 w 1260819"/>
              <a:gd name="connsiteY146" fmla="*/ 667011 h 1283918"/>
              <a:gd name="connsiteX147" fmla="*/ 50104 w 1260819"/>
              <a:gd name="connsiteY147" fmla="*/ 657616 h 1283918"/>
              <a:gd name="connsiteX148" fmla="*/ 68893 w 1260819"/>
              <a:gd name="connsiteY148" fmla="*/ 651353 h 1283918"/>
              <a:gd name="connsiteX149" fmla="*/ 87682 w 1260819"/>
              <a:gd name="connsiteY149" fmla="*/ 645090 h 1283918"/>
              <a:gd name="connsiteX150" fmla="*/ 106471 w 1260819"/>
              <a:gd name="connsiteY150" fmla="*/ 632564 h 1283918"/>
              <a:gd name="connsiteX151" fmla="*/ 115866 w 1260819"/>
              <a:gd name="connsiteY151" fmla="*/ 629433 h 1283918"/>
              <a:gd name="connsiteX152" fmla="*/ 144049 w 1260819"/>
              <a:gd name="connsiteY152" fmla="*/ 616907 h 1283918"/>
              <a:gd name="connsiteX153" fmla="*/ 153444 w 1260819"/>
              <a:gd name="connsiteY153" fmla="*/ 613775 h 1283918"/>
              <a:gd name="connsiteX154" fmla="*/ 175364 w 1260819"/>
              <a:gd name="connsiteY154" fmla="*/ 591855 h 1283918"/>
              <a:gd name="connsiteX155" fmla="*/ 191022 w 1260819"/>
              <a:gd name="connsiteY155" fmla="*/ 613775 h 1283918"/>
              <a:gd name="connsiteX156" fmla="*/ 200416 w 1260819"/>
              <a:gd name="connsiteY156" fmla="*/ 610644 h 1283918"/>
              <a:gd name="connsiteX157" fmla="*/ 219205 w 1260819"/>
              <a:gd name="connsiteY157" fmla="*/ 616907 h 1283918"/>
              <a:gd name="connsiteX158" fmla="*/ 263047 w 1260819"/>
              <a:gd name="connsiteY158" fmla="*/ 613775 h 1283918"/>
              <a:gd name="connsiteX159" fmla="*/ 275573 w 1260819"/>
              <a:gd name="connsiteY159" fmla="*/ 598118 h 1283918"/>
              <a:gd name="connsiteX160" fmla="*/ 281836 w 1260819"/>
              <a:gd name="connsiteY160" fmla="*/ 573066 h 1283918"/>
              <a:gd name="connsiteX161" fmla="*/ 288099 w 1260819"/>
              <a:gd name="connsiteY161" fmla="*/ 563671 h 1283918"/>
              <a:gd name="connsiteX162" fmla="*/ 297493 w 1260819"/>
              <a:gd name="connsiteY162" fmla="*/ 560540 h 1283918"/>
              <a:gd name="connsiteX163" fmla="*/ 328808 w 1260819"/>
              <a:gd name="connsiteY163" fmla="*/ 557408 h 1283918"/>
              <a:gd name="connsiteX164" fmla="*/ 347597 w 1260819"/>
              <a:gd name="connsiteY164" fmla="*/ 551145 h 1283918"/>
              <a:gd name="connsiteX165" fmla="*/ 356992 w 1260819"/>
              <a:gd name="connsiteY165" fmla="*/ 544882 h 1283918"/>
              <a:gd name="connsiteX166" fmla="*/ 366386 w 1260819"/>
              <a:gd name="connsiteY166" fmla="*/ 541751 h 1283918"/>
              <a:gd name="connsiteX167" fmla="*/ 385175 w 1260819"/>
              <a:gd name="connsiteY167" fmla="*/ 529225 h 1283918"/>
              <a:gd name="connsiteX168" fmla="*/ 422753 w 1260819"/>
              <a:gd name="connsiteY168" fmla="*/ 516699 h 1283918"/>
              <a:gd name="connsiteX169" fmla="*/ 432148 w 1260819"/>
              <a:gd name="connsiteY169" fmla="*/ 513567 h 1283918"/>
              <a:gd name="connsiteX170" fmla="*/ 460331 w 1260819"/>
              <a:gd name="connsiteY170" fmla="*/ 497909 h 1283918"/>
              <a:gd name="connsiteX171" fmla="*/ 466595 w 1260819"/>
              <a:gd name="connsiteY171" fmla="*/ 491646 h 1283918"/>
              <a:gd name="connsiteX172" fmla="*/ 485384 w 1260819"/>
              <a:gd name="connsiteY172" fmla="*/ 482252 h 1283918"/>
              <a:gd name="connsiteX173" fmla="*/ 501041 w 1260819"/>
              <a:gd name="connsiteY173" fmla="*/ 463463 h 1283918"/>
              <a:gd name="connsiteX174" fmla="*/ 510436 w 1260819"/>
              <a:gd name="connsiteY174" fmla="*/ 457200 h 1283918"/>
              <a:gd name="connsiteX175" fmla="*/ 513567 w 1260819"/>
              <a:gd name="connsiteY175" fmla="*/ 447805 h 1283918"/>
              <a:gd name="connsiteX176" fmla="*/ 522962 w 1260819"/>
              <a:gd name="connsiteY176" fmla="*/ 441542 h 1283918"/>
              <a:gd name="connsiteX177" fmla="*/ 532356 w 1260819"/>
              <a:gd name="connsiteY177" fmla="*/ 432148 h 1283918"/>
              <a:gd name="connsiteX178" fmla="*/ 544882 w 1260819"/>
              <a:gd name="connsiteY178" fmla="*/ 347597 h 1283918"/>
              <a:gd name="connsiteX179" fmla="*/ 554277 w 1260819"/>
              <a:gd name="connsiteY179" fmla="*/ 344466 h 1283918"/>
              <a:gd name="connsiteX180" fmla="*/ 569934 w 1260819"/>
              <a:gd name="connsiteY180" fmla="*/ 341334 h 1283918"/>
              <a:gd name="connsiteX181" fmla="*/ 585592 w 1260819"/>
              <a:gd name="connsiteY181" fmla="*/ 322545 h 1283918"/>
              <a:gd name="connsiteX182" fmla="*/ 594986 w 1260819"/>
              <a:gd name="connsiteY182" fmla="*/ 313151 h 1283918"/>
              <a:gd name="connsiteX183" fmla="*/ 638827 w 1260819"/>
              <a:gd name="connsiteY183" fmla="*/ 310019 h 1283918"/>
              <a:gd name="connsiteX184" fmla="*/ 641959 w 1260819"/>
              <a:gd name="connsiteY184" fmla="*/ 300625 h 1283918"/>
              <a:gd name="connsiteX185" fmla="*/ 635696 w 1260819"/>
              <a:gd name="connsiteY185" fmla="*/ 291230 h 1283918"/>
              <a:gd name="connsiteX186" fmla="*/ 629433 w 1260819"/>
              <a:gd name="connsiteY186" fmla="*/ 269309 h 1283918"/>
              <a:gd name="connsiteX187" fmla="*/ 623170 w 1260819"/>
              <a:gd name="connsiteY187" fmla="*/ 259915 h 1283918"/>
              <a:gd name="connsiteX188" fmla="*/ 626301 w 1260819"/>
              <a:gd name="connsiteY188" fmla="*/ 241126 h 1283918"/>
              <a:gd name="connsiteX189" fmla="*/ 645090 w 1260819"/>
              <a:gd name="connsiteY189" fmla="*/ 222337 h 1283918"/>
              <a:gd name="connsiteX190" fmla="*/ 648222 w 1260819"/>
              <a:gd name="connsiteY190" fmla="*/ 212942 h 1283918"/>
              <a:gd name="connsiteX191" fmla="*/ 667011 w 1260819"/>
              <a:gd name="connsiteY191" fmla="*/ 194153 h 1283918"/>
              <a:gd name="connsiteX192" fmla="*/ 676405 w 1260819"/>
              <a:gd name="connsiteY192" fmla="*/ 165970 h 1283918"/>
              <a:gd name="connsiteX193" fmla="*/ 679537 w 1260819"/>
              <a:gd name="connsiteY193" fmla="*/ 156575 h 1283918"/>
              <a:gd name="connsiteX194" fmla="*/ 670142 w 1260819"/>
              <a:gd name="connsiteY194" fmla="*/ 144049 h 1283918"/>
              <a:gd name="connsiteX195" fmla="*/ 667011 w 1260819"/>
              <a:gd name="connsiteY195" fmla="*/ 106471 h 1283918"/>
              <a:gd name="connsiteX196" fmla="*/ 685800 w 1260819"/>
              <a:gd name="connsiteY196" fmla="*/ 87682 h 1283918"/>
              <a:gd name="connsiteX197" fmla="*/ 701458 w 1260819"/>
              <a:gd name="connsiteY197" fmla="*/ 72025 h 1283918"/>
              <a:gd name="connsiteX198" fmla="*/ 720247 w 1260819"/>
              <a:gd name="connsiteY198" fmla="*/ 65762 h 1283918"/>
              <a:gd name="connsiteX199" fmla="*/ 732773 w 1260819"/>
              <a:gd name="connsiteY199" fmla="*/ 46972 h 1283918"/>
              <a:gd name="connsiteX200" fmla="*/ 735904 w 1260819"/>
              <a:gd name="connsiteY200" fmla="*/ 37578 h 1283918"/>
              <a:gd name="connsiteX201" fmla="*/ 748430 w 1260819"/>
              <a:gd name="connsiteY201" fmla="*/ 18789 h 1283918"/>
              <a:gd name="connsiteX202" fmla="*/ 767219 w 1260819"/>
              <a:gd name="connsiteY202" fmla="*/ 6263 h 1283918"/>
              <a:gd name="connsiteX203" fmla="*/ 776614 w 1260819"/>
              <a:gd name="connsiteY203" fmla="*/ 0 h 1283918"/>
              <a:gd name="connsiteX204" fmla="*/ 814192 w 1260819"/>
              <a:gd name="connsiteY204" fmla="*/ 9394 h 1283918"/>
              <a:gd name="connsiteX205" fmla="*/ 817323 w 1260819"/>
              <a:gd name="connsiteY205" fmla="*/ 21920 h 1283918"/>
              <a:gd name="connsiteX206" fmla="*/ 820455 w 1260819"/>
              <a:gd name="connsiteY206" fmla="*/ 62630 h 1283918"/>
              <a:gd name="connsiteX207" fmla="*/ 823586 w 1260819"/>
              <a:gd name="connsiteY207" fmla="*/ 72025 h 1283918"/>
              <a:gd name="connsiteX208" fmla="*/ 839244 w 1260819"/>
              <a:gd name="connsiteY208" fmla="*/ 65762 h 1283918"/>
              <a:gd name="connsiteX209" fmla="*/ 858033 w 1260819"/>
              <a:gd name="connsiteY209" fmla="*/ 68893 h 1283918"/>
              <a:gd name="connsiteX210" fmla="*/ 883084 w 1260819"/>
              <a:gd name="connsiteY210" fmla="*/ 75156 h 1283918"/>
              <a:gd name="connsiteX211" fmla="*/ 886216 w 1260819"/>
              <a:gd name="connsiteY211" fmla="*/ 93945 h 1283918"/>
              <a:gd name="connsiteX212" fmla="*/ 914400 w 1260819"/>
              <a:gd name="connsiteY212" fmla="*/ 118997 h 1283918"/>
              <a:gd name="connsiteX213" fmla="*/ 945715 w 1260819"/>
              <a:gd name="connsiteY213" fmla="*/ 137786 h 1283918"/>
              <a:gd name="connsiteX214" fmla="*/ 955110 w 1260819"/>
              <a:gd name="connsiteY214" fmla="*/ 144049 h 1283918"/>
              <a:gd name="connsiteX215" fmla="*/ 973899 w 1260819"/>
              <a:gd name="connsiteY215" fmla="*/ 162838 h 1283918"/>
              <a:gd name="connsiteX216" fmla="*/ 992688 w 1260819"/>
              <a:gd name="connsiteY216" fmla="*/ 178496 h 1283918"/>
              <a:gd name="connsiteX217" fmla="*/ 1020871 w 1260819"/>
              <a:gd name="connsiteY217" fmla="*/ 178496 h 1283918"/>
              <a:gd name="connsiteX218" fmla="*/ 1030266 w 1260819"/>
              <a:gd name="connsiteY218" fmla="*/ 187890 h 1283918"/>
              <a:gd name="connsiteX219" fmla="*/ 1036529 w 1260819"/>
              <a:gd name="connsiteY219" fmla="*/ 206679 h 1283918"/>
              <a:gd name="connsiteX220" fmla="*/ 1039660 w 1260819"/>
              <a:gd name="connsiteY220" fmla="*/ 219205 h 1283918"/>
              <a:gd name="connsiteX221" fmla="*/ 1052186 w 1260819"/>
              <a:gd name="connsiteY221" fmla="*/ 237994 h 1283918"/>
              <a:gd name="connsiteX222" fmla="*/ 1058449 w 1260819"/>
              <a:gd name="connsiteY222" fmla="*/ 247389 h 1283918"/>
              <a:gd name="connsiteX223" fmla="*/ 1067844 w 1260819"/>
              <a:gd name="connsiteY223" fmla="*/ 253652 h 1283918"/>
              <a:gd name="connsiteX224" fmla="*/ 1070975 w 1260819"/>
              <a:gd name="connsiteY224" fmla="*/ 263046 h 1283918"/>
              <a:gd name="connsiteX225" fmla="*/ 1077238 w 1260819"/>
              <a:gd name="connsiteY225" fmla="*/ 272441 h 1283918"/>
              <a:gd name="connsiteX226" fmla="*/ 1083501 w 1260819"/>
              <a:gd name="connsiteY226" fmla="*/ 297493 h 1283918"/>
              <a:gd name="connsiteX227" fmla="*/ 1108553 w 1260819"/>
              <a:gd name="connsiteY227" fmla="*/ 319414 h 1283918"/>
              <a:gd name="connsiteX228" fmla="*/ 1117948 w 1260819"/>
              <a:gd name="connsiteY228" fmla="*/ 322545 h 1283918"/>
              <a:gd name="connsiteX229" fmla="*/ 1121079 w 1260819"/>
              <a:gd name="connsiteY229" fmla="*/ 331940 h 1283918"/>
              <a:gd name="connsiteX230" fmla="*/ 1130474 w 1260819"/>
              <a:gd name="connsiteY230" fmla="*/ 335071 h 1283918"/>
              <a:gd name="connsiteX231" fmla="*/ 1174315 w 1260819"/>
              <a:gd name="connsiteY231" fmla="*/ 338203 h 1283918"/>
              <a:gd name="connsiteX232" fmla="*/ 1183710 w 1260819"/>
              <a:gd name="connsiteY232" fmla="*/ 341334 h 1283918"/>
              <a:gd name="connsiteX233" fmla="*/ 1218156 w 1260819"/>
              <a:gd name="connsiteY233" fmla="*/ 331940 h 1283918"/>
              <a:gd name="connsiteX234" fmla="*/ 1227551 w 1260819"/>
              <a:gd name="connsiteY234" fmla="*/ 328808 h 1283918"/>
              <a:gd name="connsiteX235" fmla="*/ 1236945 w 1260819"/>
              <a:gd name="connsiteY235" fmla="*/ 331940 h 1283918"/>
              <a:gd name="connsiteX236" fmla="*/ 1224419 w 1260819"/>
              <a:gd name="connsiteY236" fmla="*/ 356992 h 1283918"/>
              <a:gd name="connsiteX237" fmla="*/ 1227551 w 1260819"/>
              <a:gd name="connsiteY237" fmla="*/ 382044 h 1283918"/>
              <a:gd name="connsiteX238" fmla="*/ 1233814 w 1260819"/>
              <a:gd name="connsiteY238" fmla="*/ 391438 h 1283918"/>
              <a:gd name="connsiteX239" fmla="*/ 1236945 w 1260819"/>
              <a:gd name="connsiteY239" fmla="*/ 400833 h 1283918"/>
              <a:gd name="connsiteX240" fmla="*/ 1243208 w 1260819"/>
              <a:gd name="connsiteY240" fmla="*/ 410227 h 1283918"/>
              <a:gd name="connsiteX241" fmla="*/ 1249471 w 1260819"/>
              <a:gd name="connsiteY241" fmla="*/ 429016 h 1283918"/>
              <a:gd name="connsiteX242" fmla="*/ 1246340 w 1260819"/>
              <a:gd name="connsiteY242" fmla="*/ 447805 h 1283918"/>
              <a:gd name="connsiteX243" fmla="*/ 1227551 w 1260819"/>
              <a:gd name="connsiteY243" fmla="*/ 460331 h 1283918"/>
              <a:gd name="connsiteX244" fmla="*/ 1218156 w 1260819"/>
              <a:gd name="connsiteY244" fmla="*/ 479120 h 1283918"/>
              <a:gd name="connsiteX245" fmla="*/ 1227551 w 1260819"/>
              <a:gd name="connsiteY245" fmla="*/ 485383 h 1283918"/>
              <a:gd name="connsiteX246" fmla="*/ 1258866 w 1260819"/>
              <a:gd name="connsiteY246" fmla="*/ 491646 h 1283918"/>
              <a:gd name="connsiteX0" fmla="*/ 1258866 w 1260819"/>
              <a:gd name="connsiteY0" fmla="*/ 491646 h 1283918"/>
              <a:gd name="connsiteX1" fmla="*/ 1255734 w 1260819"/>
              <a:gd name="connsiteY1" fmla="*/ 507304 h 1283918"/>
              <a:gd name="connsiteX2" fmla="*/ 1246340 w 1260819"/>
              <a:gd name="connsiteY2" fmla="*/ 510435 h 1283918"/>
              <a:gd name="connsiteX3" fmla="*/ 1205630 w 1260819"/>
              <a:gd name="connsiteY3" fmla="*/ 507304 h 1283918"/>
              <a:gd name="connsiteX4" fmla="*/ 1196236 w 1260819"/>
              <a:gd name="connsiteY4" fmla="*/ 510435 h 1283918"/>
              <a:gd name="connsiteX5" fmla="*/ 1193104 w 1260819"/>
              <a:gd name="connsiteY5" fmla="*/ 522962 h 1283918"/>
              <a:gd name="connsiteX6" fmla="*/ 1189973 w 1260819"/>
              <a:gd name="connsiteY6" fmla="*/ 532356 h 1283918"/>
              <a:gd name="connsiteX7" fmla="*/ 1180578 w 1260819"/>
              <a:gd name="connsiteY7" fmla="*/ 538619 h 1283918"/>
              <a:gd name="connsiteX8" fmla="*/ 1171184 w 1260819"/>
              <a:gd name="connsiteY8" fmla="*/ 548014 h 1283918"/>
              <a:gd name="connsiteX9" fmla="*/ 1161789 w 1260819"/>
              <a:gd name="connsiteY9" fmla="*/ 554277 h 1283918"/>
              <a:gd name="connsiteX10" fmla="*/ 1143000 w 1260819"/>
              <a:gd name="connsiteY10" fmla="*/ 560540 h 1283918"/>
              <a:gd name="connsiteX11" fmla="*/ 1117948 w 1260819"/>
              <a:gd name="connsiteY11" fmla="*/ 557408 h 1283918"/>
              <a:gd name="connsiteX12" fmla="*/ 1108553 w 1260819"/>
              <a:gd name="connsiteY12" fmla="*/ 551145 h 1283918"/>
              <a:gd name="connsiteX13" fmla="*/ 1105422 w 1260819"/>
              <a:gd name="connsiteY13" fmla="*/ 560540 h 1283918"/>
              <a:gd name="connsiteX14" fmla="*/ 1102290 w 1260819"/>
              <a:gd name="connsiteY14" fmla="*/ 594986 h 1283918"/>
              <a:gd name="connsiteX15" fmla="*/ 1092896 w 1260819"/>
              <a:gd name="connsiteY15" fmla="*/ 601249 h 1283918"/>
              <a:gd name="connsiteX16" fmla="*/ 1074107 w 1260819"/>
              <a:gd name="connsiteY16" fmla="*/ 610644 h 1283918"/>
              <a:gd name="connsiteX17" fmla="*/ 1070975 w 1260819"/>
              <a:gd name="connsiteY17" fmla="*/ 663879 h 1283918"/>
              <a:gd name="connsiteX18" fmla="*/ 1067844 w 1260819"/>
              <a:gd name="connsiteY18" fmla="*/ 673274 h 1283918"/>
              <a:gd name="connsiteX19" fmla="*/ 1092896 w 1260819"/>
              <a:gd name="connsiteY19" fmla="*/ 682668 h 1283918"/>
              <a:gd name="connsiteX20" fmla="*/ 1096027 w 1260819"/>
              <a:gd name="connsiteY20" fmla="*/ 692063 h 1283918"/>
              <a:gd name="connsiteX21" fmla="*/ 1117948 w 1260819"/>
              <a:gd name="connsiteY21" fmla="*/ 701457 h 1283918"/>
              <a:gd name="connsiteX22" fmla="*/ 1127342 w 1260819"/>
              <a:gd name="connsiteY22" fmla="*/ 720246 h 1283918"/>
              <a:gd name="connsiteX23" fmla="*/ 1139868 w 1260819"/>
              <a:gd name="connsiteY23" fmla="*/ 723378 h 1283918"/>
              <a:gd name="connsiteX24" fmla="*/ 1146131 w 1260819"/>
              <a:gd name="connsiteY24" fmla="*/ 732772 h 1283918"/>
              <a:gd name="connsiteX25" fmla="*/ 1136737 w 1260819"/>
              <a:gd name="connsiteY25" fmla="*/ 751562 h 1283918"/>
              <a:gd name="connsiteX26" fmla="*/ 1127342 w 1260819"/>
              <a:gd name="connsiteY26" fmla="*/ 770351 h 1283918"/>
              <a:gd name="connsiteX27" fmla="*/ 1117948 w 1260819"/>
              <a:gd name="connsiteY27" fmla="*/ 789140 h 1283918"/>
              <a:gd name="connsiteX28" fmla="*/ 1108553 w 1260819"/>
              <a:gd name="connsiteY28" fmla="*/ 807929 h 1283918"/>
              <a:gd name="connsiteX29" fmla="*/ 1092896 w 1260819"/>
              <a:gd name="connsiteY29" fmla="*/ 836112 h 1283918"/>
              <a:gd name="connsiteX30" fmla="*/ 1074107 w 1260819"/>
              <a:gd name="connsiteY30" fmla="*/ 851770 h 1283918"/>
              <a:gd name="connsiteX31" fmla="*/ 1070975 w 1260819"/>
              <a:gd name="connsiteY31" fmla="*/ 867427 h 1283918"/>
              <a:gd name="connsiteX32" fmla="*/ 1067844 w 1260819"/>
              <a:gd name="connsiteY32" fmla="*/ 876822 h 1283918"/>
              <a:gd name="connsiteX33" fmla="*/ 1039660 w 1260819"/>
              <a:gd name="connsiteY33" fmla="*/ 879953 h 1283918"/>
              <a:gd name="connsiteX34" fmla="*/ 1011477 w 1260819"/>
              <a:gd name="connsiteY34" fmla="*/ 886216 h 1283918"/>
              <a:gd name="connsiteX35" fmla="*/ 1002082 w 1260819"/>
              <a:gd name="connsiteY35" fmla="*/ 892479 h 1283918"/>
              <a:gd name="connsiteX36" fmla="*/ 992688 w 1260819"/>
              <a:gd name="connsiteY36" fmla="*/ 895611 h 1283918"/>
              <a:gd name="connsiteX37" fmla="*/ 980162 w 1260819"/>
              <a:gd name="connsiteY37" fmla="*/ 901874 h 1283918"/>
              <a:gd name="connsiteX38" fmla="*/ 970767 w 1260819"/>
              <a:gd name="connsiteY38" fmla="*/ 908137 h 1283918"/>
              <a:gd name="connsiteX39" fmla="*/ 958241 w 1260819"/>
              <a:gd name="connsiteY39" fmla="*/ 911268 h 1283918"/>
              <a:gd name="connsiteX40" fmla="*/ 948847 w 1260819"/>
              <a:gd name="connsiteY40" fmla="*/ 914400 h 1283918"/>
              <a:gd name="connsiteX41" fmla="*/ 936321 w 1260819"/>
              <a:gd name="connsiteY41" fmla="*/ 917531 h 1283918"/>
              <a:gd name="connsiteX42" fmla="*/ 905005 w 1260819"/>
              <a:gd name="connsiteY42" fmla="*/ 930057 h 1283918"/>
              <a:gd name="connsiteX43" fmla="*/ 886216 w 1260819"/>
              <a:gd name="connsiteY43" fmla="*/ 936320 h 1283918"/>
              <a:gd name="connsiteX44" fmla="*/ 867427 w 1260819"/>
              <a:gd name="connsiteY44" fmla="*/ 955109 h 1283918"/>
              <a:gd name="connsiteX45" fmla="*/ 851770 w 1260819"/>
              <a:gd name="connsiteY45" fmla="*/ 973899 h 1283918"/>
              <a:gd name="connsiteX46" fmla="*/ 842375 w 1260819"/>
              <a:gd name="connsiteY46" fmla="*/ 980162 h 1283918"/>
              <a:gd name="connsiteX47" fmla="*/ 823586 w 1260819"/>
              <a:gd name="connsiteY47" fmla="*/ 992688 h 1283918"/>
              <a:gd name="connsiteX48" fmla="*/ 804797 w 1260819"/>
              <a:gd name="connsiteY48" fmla="*/ 1011477 h 1283918"/>
              <a:gd name="connsiteX49" fmla="*/ 795403 w 1260819"/>
              <a:gd name="connsiteY49" fmla="*/ 1017740 h 1283918"/>
              <a:gd name="connsiteX50" fmla="*/ 776614 w 1260819"/>
              <a:gd name="connsiteY50" fmla="*/ 1036529 h 1283918"/>
              <a:gd name="connsiteX51" fmla="*/ 767219 w 1260819"/>
              <a:gd name="connsiteY51" fmla="*/ 1045923 h 1283918"/>
              <a:gd name="connsiteX52" fmla="*/ 739036 w 1260819"/>
              <a:gd name="connsiteY52" fmla="*/ 1064712 h 1283918"/>
              <a:gd name="connsiteX53" fmla="*/ 720247 w 1260819"/>
              <a:gd name="connsiteY53" fmla="*/ 1083501 h 1283918"/>
              <a:gd name="connsiteX54" fmla="*/ 701458 w 1260819"/>
              <a:gd name="connsiteY54" fmla="*/ 1096027 h 1283918"/>
              <a:gd name="connsiteX55" fmla="*/ 695195 w 1260819"/>
              <a:gd name="connsiteY55" fmla="*/ 1105422 h 1283918"/>
              <a:gd name="connsiteX56" fmla="*/ 688931 w 1260819"/>
              <a:gd name="connsiteY56" fmla="*/ 1111685 h 1283918"/>
              <a:gd name="connsiteX57" fmla="*/ 679537 w 1260819"/>
              <a:gd name="connsiteY57" fmla="*/ 1130474 h 1283918"/>
              <a:gd name="connsiteX58" fmla="*/ 657616 w 1260819"/>
              <a:gd name="connsiteY58" fmla="*/ 1139868 h 1283918"/>
              <a:gd name="connsiteX59" fmla="*/ 645090 w 1260819"/>
              <a:gd name="connsiteY59" fmla="*/ 1158657 h 1283918"/>
              <a:gd name="connsiteX60" fmla="*/ 638827 w 1260819"/>
              <a:gd name="connsiteY60" fmla="*/ 1168052 h 1283918"/>
              <a:gd name="connsiteX61" fmla="*/ 632564 w 1260819"/>
              <a:gd name="connsiteY61" fmla="*/ 1186841 h 1283918"/>
              <a:gd name="connsiteX62" fmla="*/ 629433 w 1260819"/>
              <a:gd name="connsiteY62" fmla="*/ 1202499 h 1283918"/>
              <a:gd name="connsiteX63" fmla="*/ 623170 w 1260819"/>
              <a:gd name="connsiteY63" fmla="*/ 1221288 h 1283918"/>
              <a:gd name="connsiteX64" fmla="*/ 610644 w 1260819"/>
              <a:gd name="connsiteY64" fmla="*/ 1240077 h 1283918"/>
              <a:gd name="connsiteX65" fmla="*/ 601249 w 1260819"/>
              <a:gd name="connsiteY65" fmla="*/ 1258866 h 1283918"/>
              <a:gd name="connsiteX66" fmla="*/ 585592 w 1260819"/>
              <a:gd name="connsiteY66" fmla="*/ 1283918 h 1283918"/>
              <a:gd name="connsiteX67" fmla="*/ 563671 w 1260819"/>
              <a:gd name="connsiteY67" fmla="*/ 1280786 h 1283918"/>
              <a:gd name="connsiteX68" fmla="*/ 557408 w 1260819"/>
              <a:gd name="connsiteY68" fmla="*/ 1271392 h 1283918"/>
              <a:gd name="connsiteX69" fmla="*/ 548014 w 1260819"/>
              <a:gd name="connsiteY69" fmla="*/ 1265129 h 1283918"/>
              <a:gd name="connsiteX70" fmla="*/ 541751 w 1260819"/>
              <a:gd name="connsiteY70" fmla="*/ 1255734 h 1283918"/>
              <a:gd name="connsiteX71" fmla="*/ 529225 w 1260819"/>
              <a:gd name="connsiteY71" fmla="*/ 1246340 h 1283918"/>
              <a:gd name="connsiteX72" fmla="*/ 522962 w 1260819"/>
              <a:gd name="connsiteY72" fmla="*/ 1255734 h 1283918"/>
              <a:gd name="connsiteX73" fmla="*/ 507304 w 1260819"/>
              <a:gd name="connsiteY73" fmla="*/ 1258866 h 1283918"/>
              <a:gd name="connsiteX74" fmla="*/ 469726 w 1260819"/>
              <a:gd name="connsiteY74" fmla="*/ 1265129 h 1283918"/>
              <a:gd name="connsiteX75" fmla="*/ 403964 w 1260819"/>
              <a:gd name="connsiteY75" fmla="*/ 1261997 h 1283918"/>
              <a:gd name="connsiteX76" fmla="*/ 385175 w 1260819"/>
              <a:gd name="connsiteY76" fmla="*/ 1255734 h 1283918"/>
              <a:gd name="connsiteX77" fmla="*/ 375781 w 1260819"/>
              <a:gd name="connsiteY77" fmla="*/ 1252603 h 1283918"/>
              <a:gd name="connsiteX78" fmla="*/ 366386 w 1260819"/>
              <a:gd name="connsiteY78" fmla="*/ 1249471 h 1283918"/>
              <a:gd name="connsiteX79" fmla="*/ 356992 w 1260819"/>
              <a:gd name="connsiteY79" fmla="*/ 1246340 h 1283918"/>
              <a:gd name="connsiteX80" fmla="*/ 347597 w 1260819"/>
              <a:gd name="connsiteY80" fmla="*/ 1240077 h 1283918"/>
              <a:gd name="connsiteX81" fmla="*/ 347597 w 1260819"/>
              <a:gd name="connsiteY81" fmla="*/ 1149263 h 1283918"/>
              <a:gd name="connsiteX82" fmla="*/ 350729 w 1260819"/>
              <a:gd name="connsiteY82" fmla="*/ 1139868 h 1283918"/>
              <a:gd name="connsiteX83" fmla="*/ 350729 w 1260819"/>
              <a:gd name="connsiteY83" fmla="*/ 1102290 h 1283918"/>
              <a:gd name="connsiteX84" fmla="*/ 360123 w 1260819"/>
              <a:gd name="connsiteY84" fmla="*/ 1092896 h 1283918"/>
              <a:gd name="connsiteX85" fmla="*/ 369518 w 1260819"/>
              <a:gd name="connsiteY85" fmla="*/ 1086633 h 1283918"/>
              <a:gd name="connsiteX86" fmla="*/ 372649 w 1260819"/>
              <a:gd name="connsiteY86" fmla="*/ 1061581 h 1283918"/>
              <a:gd name="connsiteX87" fmla="*/ 363255 w 1260819"/>
              <a:gd name="connsiteY87" fmla="*/ 1058449 h 1283918"/>
              <a:gd name="connsiteX88" fmla="*/ 353860 w 1260819"/>
              <a:gd name="connsiteY88" fmla="*/ 1061581 h 1283918"/>
              <a:gd name="connsiteX89" fmla="*/ 344466 w 1260819"/>
              <a:gd name="connsiteY89" fmla="*/ 1070975 h 1283918"/>
              <a:gd name="connsiteX90" fmla="*/ 335071 w 1260819"/>
              <a:gd name="connsiteY90" fmla="*/ 1064712 h 1283918"/>
              <a:gd name="connsiteX91" fmla="*/ 331940 w 1260819"/>
              <a:gd name="connsiteY91" fmla="*/ 1055318 h 1283918"/>
              <a:gd name="connsiteX92" fmla="*/ 341334 w 1260819"/>
              <a:gd name="connsiteY92" fmla="*/ 1036529 h 1283918"/>
              <a:gd name="connsiteX93" fmla="*/ 344466 w 1260819"/>
              <a:gd name="connsiteY93" fmla="*/ 1027134 h 1283918"/>
              <a:gd name="connsiteX94" fmla="*/ 328808 w 1260819"/>
              <a:gd name="connsiteY94" fmla="*/ 1008345 h 1283918"/>
              <a:gd name="connsiteX95" fmla="*/ 319414 w 1260819"/>
              <a:gd name="connsiteY95" fmla="*/ 1005214 h 1283918"/>
              <a:gd name="connsiteX96" fmla="*/ 322545 w 1260819"/>
              <a:gd name="connsiteY96" fmla="*/ 986425 h 1283918"/>
              <a:gd name="connsiteX97" fmla="*/ 338203 w 1260819"/>
              <a:gd name="connsiteY97" fmla="*/ 967635 h 1283918"/>
              <a:gd name="connsiteX98" fmla="*/ 344466 w 1260819"/>
              <a:gd name="connsiteY98" fmla="*/ 958241 h 1283918"/>
              <a:gd name="connsiteX99" fmla="*/ 347597 w 1260819"/>
              <a:gd name="connsiteY99" fmla="*/ 948846 h 1283918"/>
              <a:gd name="connsiteX100" fmla="*/ 325677 w 1260819"/>
              <a:gd name="connsiteY100" fmla="*/ 936320 h 1283918"/>
              <a:gd name="connsiteX101" fmla="*/ 313151 w 1260819"/>
              <a:gd name="connsiteY101" fmla="*/ 933189 h 1283918"/>
              <a:gd name="connsiteX102" fmla="*/ 306888 w 1260819"/>
              <a:gd name="connsiteY102" fmla="*/ 923794 h 1283918"/>
              <a:gd name="connsiteX103" fmla="*/ 297493 w 1260819"/>
              <a:gd name="connsiteY103" fmla="*/ 905005 h 1283918"/>
              <a:gd name="connsiteX104" fmla="*/ 288099 w 1260819"/>
              <a:gd name="connsiteY104" fmla="*/ 901874 h 1283918"/>
              <a:gd name="connsiteX105" fmla="*/ 278704 w 1260819"/>
              <a:gd name="connsiteY105" fmla="*/ 908137 h 1283918"/>
              <a:gd name="connsiteX106" fmla="*/ 269310 w 1260819"/>
              <a:gd name="connsiteY106" fmla="*/ 926926 h 1283918"/>
              <a:gd name="connsiteX107" fmla="*/ 244258 w 1260819"/>
              <a:gd name="connsiteY107" fmla="*/ 933189 h 1283918"/>
              <a:gd name="connsiteX108" fmla="*/ 216074 w 1260819"/>
              <a:gd name="connsiteY108" fmla="*/ 961372 h 1283918"/>
              <a:gd name="connsiteX109" fmla="*/ 206679 w 1260819"/>
              <a:gd name="connsiteY109" fmla="*/ 970767 h 1283918"/>
              <a:gd name="connsiteX110" fmla="*/ 178496 w 1260819"/>
              <a:gd name="connsiteY110" fmla="*/ 948846 h 1283918"/>
              <a:gd name="connsiteX111" fmla="*/ 169101 w 1260819"/>
              <a:gd name="connsiteY111" fmla="*/ 945715 h 1283918"/>
              <a:gd name="connsiteX112" fmla="*/ 156575 w 1260819"/>
              <a:gd name="connsiteY112" fmla="*/ 948846 h 1283918"/>
              <a:gd name="connsiteX113" fmla="*/ 153444 w 1260819"/>
              <a:gd name="connsiteY113" fmla="*/ 958241 h 1283918"/>
              <a:gd name="connsiteX114" fmla="*/ 140918 w 1260819"/>
              <a:gd name="connsiteY114" fmla="*/ 992688 h 1283918"/>
              <a:gd name="connsiteX115" fmla="*/ 131523 w 1260819"/>
              <a:gd name="connsiteY115" fmla="*/ 995819 h 1283918"/>
              <a:gd name="connsiteX116" fmla="*/ 122129 w 1260819"/>
              <a:gd name="connsiteY116" fmla="*/ 1002082 h 1283918"/>
              <a:gd name="connsiteX117" fmla="*/ 115866 w 1260819"/>
              <a:gd name="connsiteY117" fmla="*/ 1030266 h 1283918"/>
              <a:gd name="connsiteX118" fmla="*/ 109603 w 1260819"/>
              <a:gd name="connsiteY118" fmla="*/ 1020871 h 1283918"/>
              <a:gd name="connsiteX119" fmla="*/ 90814 w 1260819"/>
              <a:gd name="connsiteY119" fmla="*/ 1014608 h 1283918"/>
              <a:gd name="connsiteX120" fmla="*/ 84551 w 1260819"/>
              <a:gd name="connsiteY120" fmla="*/ 1005214 h 1283918"/>
              <a:gd name="connsiteX121" fmla="*/ 43841 w 1260819"/>
              <a:gd name="connsiteY121" fmla="*/ 995819 h 1283918"/>
              <a:gd name="connsiteX122" fmla="*/ 37578 w 1260819"/>
              <a:gd name="connsiteY122" fmla="*/ 986425 h 1283918"/>
              <a:gd name="connsiteX123" fmla="*/ 25052 w 1260819"/>
              <a:gd name="connsiteY123" fmla="*/ 942583 h 1283918"/>
              <a:gd name="connsiteX124" fmla="*/ 21921 w 1260819"/>
              <a:gd name="connsiteY124" fmla="*/ 917531 h 1283918"/>
              <a:gd name="connsiteX125" fmla="*/ 37578 w 1260819"/>
              <a:gd name="connsiteY125" fmla="*/ 914400 h 1283918"/>
              <a:gd name="connsiteX126" fmla="*/ 46973 w 1260819"/>
              <a:gd name="connsiteY126" fmla="*/ 908137 h 1283918"/>
              <a:gd name="connsiteX127" fmla="*/ 53236 w 1260819"/>
              <a:gd name="connsiteY127" fmla="*/ 898742 h 1283918"/>
              <a:gd name="connsiteX128" fmla="*/ 72025 w 1260819"/>
              <a:gd name="connsiteY128" fmla="*/ 892479 h 1283918"/>
              <a:gd name="connsiteX129" fmla="*/ 78288 w 1260819"/>
              <a:gd name="connsiteY129" fmla="*/ 883085 h 1283918"/>
              <a:gd name="connsiteX130" fmla="*/ 75156 w 1260819"/>
              <a:gd name="connsiteY130" fmla="*/ 873690 h 1283918"/>
              <a:gd name="connsiteX131" fmla="*/ 68893 w 1260819"/>
              <a:gd name="connsiteY131" fmla="*/ 864296 h 1283918"/>
              <a:gd name="connsiteX132" fmla="*/ 59499 w 1260819"/>
              <a:gd name="connsiteY132" fmla="*/ 861164 h 1283918"/>
              <a:gd name="connsiteX133" fmla="*/ 50104 w 1260819"/>
              <a:gd name="connsiteY133" fmla="*/ 854901 h 1283918"/>
              <a:gd name="connsiteX134" fmla="*/ 46973 w 1260819"/>
              <a:gd name="connsiteY134" fmla="*/ 823586 h 1283918"/>
              <a:gd name="connsiteX135" fmla="*/ 37578 w 1260819"/>
              <a:gd name="connsiteY135" fmla="*/ 820455 h 1283918"/>
              <a:gd name="connsiteX136" fmla="*/ 15658 w 1260819"/>
              <a:gd name="connsiteY136" fmla="*/ 817323 h 1283918"/>
              <a:gd name="connsiteX137" fmla="*/ 25052 w 1260819"/>
              <a:gd name="connsiteY137" fmla="*/ 798534 h 1283918"/>
              <a:gd name="connsiteX138" fmla="*/ 43841 w 1260819"/>
              <a:gd name="connsiteY138" fmla="*/ 786008 h 1283918"/>
              <a:gd name="connsiteX139" fmla="*/ 31315 w 1260819"/>
              <a:gd name="connsiteY139" fmla="*/ 782877 h 1283918"/>
              <a:gd name="connsiteX140" fmla="*/ 12526 w 1260819"/>
              <a:gd name="connsiteY140" fmla="*/ 779745 h 1283918"/>
              <a:gd name="connsiteX141" fmla="*/ 15658 w 1260819"/>
              <a:gd name="connsiteY141" fmla="*/ 748430 h 1283918"/>
              <a:gd name="connsiteX142" fmla="*/ 21921 w 1260819"/>
              <a:gd name="connsiteY142" fmla="*/ 717115 h 1283918"/>
              <a:gd name="connsiteX143" fmla="*/ 0 w 1260819"/>
              <a:gd name="connsiteY143" fmla="*/ 701457 h 1283918"/>
              <a:gd name="connsiteX144" fmla="*/ 12526 w 1260819"/>
              <a:gd name="connsiteY144" fmla="*/ 679537 h 1283918"/>
              <a:gd name="connsiteX145" fmla="*/ 31315 w 1260819"/>
              <a:gd name="connsiteY145" fmla="*/ 673274 h 1283918"/>
              <a:gd name="connsiteX146" fmla="*/ 40710 w 1260819"/>
              <a:gd name="connsiteY146" fmla="*/ 667011 h 1283918"/>
              <a:gd name="connsiteX147" fmla="*/ 50104 w 1260819"/>
              <a:gd name="connsiteY147" fmla="*/ 657616 h 1283918"/>
              <a:gd name="connsiteX148" fmla="*/ 68893 w 1260819"/>
              <a:gd name="connsiteY148" fmla="*/ 651353 h 1283918"/>
              <a:gd name="connsiteX149" fmla="*/ 87682 w 1260819"/>
              <a:gd name="connsiteY149" fmla="*/ 645090 h 1283918"/>
              <a:gd name="connsiteX150" fmla="*/ 106471 w 1260819"/>
              <a:gd name="connsiteY150" fmla="*/ 632564 h 1283918"/>
              <a:gd name="connsiteX151" fmla="*/ 115866 w 1260819"/>
              <a:gd name="connsiteY151" fmla="*/ 629433 h 1283918"/>
              <a:gd name="connsiteX152" fmla="*/ 144049 w 1260819"/>
              <a:gd name="connsiteY152" fmla="*/ 616907 h 1283918"/>
              <a:gd name="connsiteX153" fmla="*/ 153444 w 1260819"/>
              <a:gd name="connsiteY153" fmla="*/ 613775 h 1283918"/>
              <a:gd name="connsiteX154" fmla="*/ 175364 w 1260819"/>
              <a:gd name="connsiteY154" fmla="*/ 591855 h 1283918"/>
              <a:gd name="connsiteX155" fmla="*/ 191022 w 1260819"/>
              <a:gd name="connsiteY155" fmla="*/ 613775 h 1283918"/>
              <a:gd name="connsiteX156" fmla="*/ 200416 w 1260819"/>
              <a:gd name="connsiteY156" fmla="*/ 610644 h 1283918"/>
              <a:gd name="connsiteX157" fmla="*/ 219205 w 1260819"/>
              <a:gd name="connsiteY157" fmla="*/ 616907 h 1283918"/>
              <a:gd name="connsiteX158" fmla="*/ 263047 w 1260819"/>
              <a:gd name="connsiteY158" fmla="*/ 613775 h 1283918"/>
              <a:gd name="connsiteX159" fmla="*/ 275573 w 1260819"/>
              <a:gd name="connsiteY159" fmla="*/ 598118 h 1283918"/>
              <a:gd name="connsiteX160" fmla="*/ 281836 w 1260819"/>
              <a:gd name="connsiteY160" fmla="*/ 573066 h 1283918"/>
              <a:gd name="connsiteX161" fmla="*/ 288099 w 1260819"/>
              <a:gd name="connsiteY161" fmla="*/ 563671 h 1283918"/>
              <a:gd name="connsiteX162" fmla="*/ 297493 w 1260819"/>
              <a:gd name="connsiteY162" fmla="*/ 560540 h 1283918"/>
              <a:gd name="connsiteX163" fmla="*/ 328808 w 1260819"/>
              <a:gd name="connsiteY163" fmla="*/ 557408 h 1283918"/>
              <a:gd name="connsiteX164" fmla="*/ 347597 w 1260819"/>
              <a:gd name="connsiteY164" fmla="*/ 551145 h 1283918"/>
              <a:gd name="connsiteX165" fmla="*/ 356992 w 1260819"/>
              <a:gd name="connsiteY165" fmla="*/ 544882 h 1283918"/>
              <a:gd name="connsiteX166" fmla="*/ 366386 w 1260819"/>
              <a:gd name="connsiteY166" fmla="*/ 541751 h 1283918"/>
              <a:gd name="connsiteX167" fmla="*/ 385175 w 1260819"/>
              <a:gd name="connsiteY167" fmla="*/ 529225 h 1283918"/>
              <a:gd name="connsiteX168" fmla="*/ 422753 w 1260819"/>
              <a:gd name="connsiteY168" fmla="*/ 516699 h 1283918"/>
              <a:gd name="connsiteX169" fmla="*/ 432148 w 1260819"/>
              <a:gd name="connsiteY169" fmla="*/ 513567 h 1283918"/>
              <a:gd name="connsiteX170" fmla="*/ 460331 w 1260819"/>
              <a:gd name="connsiteY170" fmla="*/ 497909 h 1283918"/>
              <a:gd name="connsiteX171" fmla="*/ 466595 w 1260819"/>
              <a:gd name="connsiteY171" fmla="*/ 491646 h 1283918"/>
              <a:gd name="connsiteX172" fmla="*/ 485384 w 1260819"/>
              <a:gd name="connsiteY172" fmla="*/ 482252 h 1283918"/>
              <a:gd name="connsiteX173" fmla="*/ 501041 w 1260819"/>
              <a:gd name="connsiteY173" fmla="*/ 463463 h 1283918"/>
              <a:gd name="connsiteX174" fmla="*/ 510436 w 1260819"/>
              <a:gd name="connsiteY174" fmla="*/ 457200 h 1283918"/>
              <a:gd name="connsiteX175" fmla="*/ 513567 w 1260819"/>
              <a:gd name="connsiteY175" fmla="*/ 447805 h 1283918"/>
              <a:gd name="connsiteX176" fmla="*/ 522962 w 1260819"/>
              <a:gd name="connsiteY176" fmla="*/ 441542 h 1283918"/>
              <a:gd name="connsiteX177" fmla="*/ 532356 w 1260819"/>
              <a:gd name="connsiteY177" fmla="*/ 432148 h 1283918"/>
              <a:gd name="connsiteX178" fmla="*/ 544882 w 1260819"/>
              <a:gd name="connsiteY178" fmla="*/ 347597 h 1283918"/>
              <a:gd name="connsiteX179" fmla="*/ 554277 w 1260819"/>
              <a:gd name="connsiteY179" fmla="*/ 344466 h 1283918"/>
              <a:gd name="connsiteX180" fmla="*/ 569934 w 1260819"/>
              <a:gd name="connsiteY180" fmla="*/ 341334 h 1283918"/>
              <a:gd name="connsiteX181" fmla="*/ 585592 w 1260819"/>
              <a:gd name="connsiteY181" fmla="*/ 322545 h 1283918"/>
              <a:gd name="connsiteX182" fmla="*/ 594986 w 1260819"/>
              <a:gd name="connsiteY182" fmla="*/ 313151 h 1283918"/>
              <a:gd name="connsiteX183" fmla="*/ 638827 w 1260819"/>
              <a:gd name="connsiteY183" fmla="*/ 310019 h 1283918"/>
              <a:gd name="connsiteX184" fmla="*/ 641959 w 1260819"/>
              <a:gd name="connsiteY184" fmla="*/ 300625 h 1283918"/>
              <a:gd name="connsiteX185" fmla="*/ 635696 w 1260819"/>
              <a:gd name="connsiteY185" fmla="*/ 291230 h 1283918"/>
              <a:gd name="connsiteX186" fmla="*/ 629433 w 1260819"/>
              <a:gd name="connsiteY186" fmla="*/ 269309 h 1283918"/>
              <a:gd name="connsiteX187" fmla="*/ 623170 w 1260819"/>
              <a:gd name="connsiteY187" fmla="*/ 259915 h 1283918"/>
              <a:gd name="connsiteX188" fmla="*/ 626301 w 1260819"/>
              <a:gd name="connsiteY188" fmla="*/ 241126 h 1283918"/>
              <a:gd name="connsiteX189" fmla="*/ 645090 w 1260819"/>
              <a:gd name="connsiteY189" fmla="*/ 222337 h 1283918"/>
              <a:gd name="connsiteX190" fmla="*/ 648222 w 1260819"/>
              <a:gd name="connsiteY190" fmla="*/ 212942 h 1283918"/>
              <a:gd name="connsiteX191" fmla="*/ 667011 w 1260819"/>
              <a:gd name="connsiteY191" fmla="*/ 194153 h 1283918"/>
              <a:gd name="connsiteX192" fmla="*/ 676405 w 1260819"/>
              <a:gd name="connsiteY192" fmla="*/ 165970 h 1283918"/>
              <a:gd name="connsiteX193" fmla="*/ 679537 w 1260819"/>
              <a:gd name="connsiteY193" fmla="*/ 156575 h 1283918"/>
              <a:gd name="connsiteX194" fmla="*/ 670142 w 1260819"/>
              <a:gd name="connsiteY194" fmla="*/ 144049 h 1283918"/>
              <a:gd name="connsiteX195" fmla="*/ 667011 w 1260819"/>
              <a:gd name="connsiteY195" fmla="*/ 106471 h 1283918"/>
              <a:gd name="connsiteX196" fmla="*/ 685800 w 1260819"/>
              <a:gd name="connsiteY196" fmla="*/ 87682 h 1283918"/>
              <a:gd name="connsiteX197" fmla="*/ 701458 w 1260819"/>
              <a:gd name="connsiteY197" fmla="*/ 72025 h 1283918"/>
              <a:gd name="connsiteX198" fmla="*/ 720247 w 1260819"/>
              <a:gd name="connsiteY198" fmla="*/ 65762 h 1283918"/>
              <a:gd name="connsiteX199" fmla="*/ 732773 w 1260819"/>
              <a:gd name="connsiteY199" fmla="*/ 46972 h 1283918"/>
              <a:gd name="connsiteX200" fmla="*/ 735904 w 1260819"/>
              <a:gd name="connsiteY200" fmla="*/ 37578 h 1283918"/>
              <a:gd name="connsiteX201" fmla="*/ 748430 w 1260819"/>
              <a:gd name="connsiteY201" fmla="*/ 18789 h 1283918"/>
              <a:gd name="connsiteX202" fmla="*/ 767219 w 1260819"/>
              <a:gd name="connsiteY202" fmla="*/ 6263 h 1283918"/>
              <a:gd name="connsiteX203" fmla="*/ 776614 w 1260819"/>
              <a:gd name="connsiteY203" fmla="*/ 0 h 1283918"/>
              <a:gd name="connsiteX204" fmla="*/ 814192 w 1260819"/>
              <a:gd name="connsiteY204" fmla="*/ 9394 h 1283918"/>
              <a:gd name="connsiteX205" fmla="*/ 817323 w 1260819"/>
              <a:gd name="connsiteY205" fmla="*/ 21920 h 1283918"/>
              <a:gd name="connsiteX206" fmla="*/ 820455 w 1260819"/>
              <a:gd name="connsiteY206" fmla="*/ 62630 h 1283918"/>
              <a:gd name="connsiteX207" fmla="*/ 823586 w 1260819"/>
              <a:gd name="connsiteY207" fmla="*/ 72025 h 1283918"/>
              <a:gd name="connsiteX208" fmla="*/ 839244 w 1260819"/>
              <a:gd name="connsiteY208" fmla="*/ 65762 h 1283918"/>
              <a:gd name="connsiteX209" fmla="*/ 858033 w 1260819"/>
              <a:gd name="connsiteY209" fmla="*/ 68893 h 1283918"/>
              <a:gd name="connsiteX210" fmla="*/ 883084 w 1260819"/>
              <a:gd name="connsiteY210" fmla="*/ 75156 h 1283918"/>
              <a:gd name="connsiteX211" fmla="*/ 886216 w 1260819"/>
              <a:gd name="connsiteY211" fmla="*/ 93945 h 1283918"/>
              <a:gd name="connsiteX212" fmla="*/ 914400 w 1260819"/>
              <a:gd name="connsiteY212" fmla="*/ 118997 h 1283918"/>
              <a:gd name="connsiteX213" fmla="*/ 945715 w 1260819"/>
              <a:gd name="connsiteY213" fmla="*/ 137786 h 1283918"/>
              <a:gd name="connsiteX214" fmla="*/ 955110 w 1260819"/>
              <a:gd name="connsiteY214" fmla="*/ 144049 h 1283918"/>
              <a:gd name="connsiteX215" fmla="*/ 973899 w 1260819"/>
              <a:gd name="connsiteY215" fmla="*/ 162838 h 1283918"/>
              <a:gd name="connsiteX216" fmla="*/ 992688 w 1260819"/>
              <a:gd name="connsiteY216" fmla="*/ 178496 h 1283918"/>
              <a:gd name="connsiteX217" fmla="*/ 1020871 w 1260819"/>
              <a:gd name="connsiteY217" fmla="*/ 178496 h 1283918"/>
              <a:gd name="connsiteX218" fmla="*/ 1030266 w 1260819"/>
              <a:gd name="connsiteY218" fmla="*/ 187890 h 1283918"/>
              <a:gd name="connsiteX219" fmla="*/ 1036529 w 1260819"/>
              <a:gd name="connsiteY219" fmla="*/ 206679 h 1283918"/>
              <a:gd name="connsiteX220" fmla="*/ 1039660 w 1260819"/>
              <a:gd name="connsiteY220" fmla="*/ 219205 h 1283918"/>
              <a:gd name="connsiteX221" fmla="*/ 1052186 w 1260819"/>
              <a:gd name="connsiteY221" fmla="*/ 237994 h 1283918"/>
              <a:gd name="connsiteX222" fmla="*/ 1058449 w 1260819"/>
              <a:gd name="connsiteY222" fmla="*/ 247389 h 1283918"/>
              <a:gd name="connsiteX223" fmla="*/ 1067844 w 1260819"/>
              <a:gd name="connsiteY223" fmla="*/ 253652 h 1283918"/>
              <a:gd name="connsiteX224" fmla="*/ 1070975 w 1260819"/>
              <a:gd name="connsiteY224" fmla="*/ 263046 h 1283918"/>
              <a:gd name="connsiteX225" fmla="*/ 1077238 w 1260819"/>
              <a:gd name="connsiteY225" fmla="*/ 272441 h 1283918"/>
              <a:gd name="connsiteX226" fmla="*/ 1083501 w 1260819"/>
              <a:gd name="connsiteY226" fmla="*/ 297493 h 1283918"/>
              <a:gd name="connsiteX227" fmla="*/ 1108553 w 1260819"/>
              <a:gd name="connsiteY227" fmla="*/ 319414 h 1283918"/>
              <a:gd name="connsiteX228" fmla="*/ 1117948 w 1260819"/>
              <a:gd name="connsiteY228" fmla="*/ 322545 h 1283918"/>
              <a:gd name="connsiteX229" fmla="*/ 1121079 w 1260819"/>
              <a:gd name="connsiteY229" fmla="*/ 331940 h 1283918"/>
              <a:gd name="connsiteX230" fmla="*/ 1130474 w 1260819"/>
              <a:gd name="connsiteY230" fmla="*/ 335071 h 1283918"/>
              <a:gd name="connsiteX231" fmla="*/ 1146131 w 1260819"/>
              <a:gd name="connsiteY231" fmla="*/ 322545 h 1283918"/>
              <a:gd name="connsiteX232" fmla="*/ 1174315 w 1260819"/>
              <a:gd name="connsiteY232" fmla="*/ 338203 h 1283918"/>
              <a:gd name="connsiteX233" fmla="*/ 1183710 w 1260819"/>
              <a:gd name="connsiteY233" fmla="*/ 341334 h 1283918"/>
              <a:gd name="connsiteX234" fmla="*/ 1218156 w 1260819"/>
              <a:gd name="connsiteY234" fmla="*/ 331940 h 1283918"/>
              <a:gd name="connsiteX235" fmla="*/ 1227551 w 1260819"/>
              <a:gd name="connsiteY235" fmla="*/ 328808 h 1283918"/>
              <a:gd name="connsiteX236" fmla="*/ 1236945 w 1260819"/>
              <a:gd name="connsiteY236" fmla="*/ 331940 h 1283918"/>
              <a:gd name="connsiteX237" fmla="*/ 1224419 w 1260819"/>
              <a:gd name="connsiteY237" fmla="*/ 356992 h 1283918"/>
              <a:gd name="connsiteX238" fmla="*/ 1227551 w 1260819"/>
              <a:gd name="connsiteY238" fmla="*/ 382044 h 1283918"/>
              <a:gd name="connsiteX239" fmla="*/ 1233814 w 1260819"/>
              <a:gd name="connsiteY239" fmla="*/ 391438 h 1283918"/>
              <a:gd name="connsiteX240" fmla="*/ 1236945 w 1260819"/>
              <a:gd name="connsiteY240" fmla="*/ 400833 h 1283918"/>
              <a:gd name="connsiteX241" fmla="*/ 1243208 w 1260819"/>
              <a:gd name="connsiteY241" fmla="*/ 410227 h 1283918"/>
              <a:gd name="connsiteX242" fmla="*/ 1249471 w 1260819"/>
              <a:gd name="connsiteY242" fmla="*/ 429016 h 1283918"/>
              <a:gd name="connsiteX243" fmla="*/ 1246340 w 1260819"/>
              <a:gd name="connsiteY243" fmla="*/ 447805 h 1283918"/>
              <a:gd name="connsiteX244" fmla="*/ 1227551 w 1260819"/>
              <a:gd name="connsiteY244" fmla="*/ 460331 h 1283918"/>
              <a:gd name="connsiteX245" fmla="*/ 1218156 w 1260819"/>
              <a:gd name="connsiteY245" fmla="*/ 479120 h 1283918"/>
              <a:gd name="connsiteX246" fmla="*/ 1227551 w 1260819"/>
              <a:gd name="connsiteY246" fmla="*/ 485383 h 1283918"/>
              <a:gd name="connsiteX247" fmla="*/ 1258866 w 1260819"/>
              <a:gd name="connsiteY247" fmla="*/ 491646 h 1283918"/>
              <a:gd name="connsiteX0" fmla="*/ 1258866 w 1260819"/>
              <a:gd name="connsiteY0" fmla="*/ 491646 h 1283918"/>
              <a:gd name="connsiteX1" fmla="*/ 1255734 w 1260819"/>
              <a:gd name="connsiteY1" fmla="*/ 507304 h 1283918"/>
              <a:gd name="connsiteX2" fmla="*/ 1246340 w 1260819"/>
              <a:gd name="connsiteY2" fmla="*/ 510435 h 1283918"/>
              <a:gd name="connsiteX3" fmla="*/ 1205630 w 1260819"/>
              <a:gd name="connsiteY3" fmla="*/ 507304 h 1283918"/>
              <a:gd name="connsiteX4" fmla="*/ 1196236 w 1260819"/>
              <a:gd name="connsiteY4" fmla="*/ 510435 h 1283918"/>
              <a:gd name="connsiteX5" fmla="*/ 1193104 w 1260819"/>
              <a:gd name="connsiteY5" fmla="*/ 522962 h 1283918"/>
              <a:gd name="connsiteX6" fmla="*/ 1189973 w 1260819"/>
              <a:gd name="connsiteY6" fmla="*/ 532356 h 1283918"/>
              <a:gd name="connsiteX7" fmla="*/ 1180578 w 1260819"/>
              <a:gd name="connsiteY7" fmla="*/ 538619 h 1283918"/>
              <a:gd name="connsiteX8" fmla="*/ 1171184 w 1260819"/>
              <a:gd name="connsiteY8" fmla="*/ 548014 h 1283918"/>
              <a:gd name="connsiteX9" fmla="*/ 1161789 w 1260819"/>
              <a:gd name="connsiteY9" fmla="*/ 554277 h 1283918"/>
              <a:gd name="connsiteX10" fmla="*/ 1143000 w 1260819"/>
              <a:gd name="connsiteY10" fmla="*/ 560540 h 1283918"/>
              <a:gd name="connsiteX11" fmla="*/ 1117948 w 1260819"/>
              <a:gd name="connsiteY11" fmla="*/ 557408 h 1283918"/>
              <a:gd name="connsiteX12" fmla="*/ 1108553 w 1260819"/>
              <a:gd name="connsiteY12" fmla="*/ 551145 h 1283918"/>
              <a:gd name="connsiteX13" fmla="*/ 1105422 w 1260819"/>
              <a:gd name="connsiteY13" fmla="*/ 560540 h 1283918"/>
              <a:gd name="connsiteX14" fmla="*/ 1102290 w 1260819"/>
              <a:gd name="connsiteY14" fmla="*/ 594986 h 1283918"/>
              <a:gd name="connsiteX15" fmla="*/ 1092896 w 1260819"/>
              <a:gd name="connsiteY15" fmla="*/ 601249 h 1283918"/>
              <a:gd name="connsiteX16" fmla="*/ 1074107 w 1260819"/>
              <a:gd name="connsiteY16" fmla="*/ 610644 h 1283918"/>
              <a:gd name="connsiteX17" fmla="*/ 1070975 w 1260819"/>
              <a:gd name="connsiteY17" fmla="*/ 663879 h 1283918"/>
              <a:gd name="connsiteX18" fmla="*/ 1067844 w 1260819"/>
              <a:gd name="connsiteY18" fmla="*/ 673274 h 1283918"/>
              <a:gd name="connsiteX19" fmla="*/ 1092896 w 1260819"/>
              <a:gd name="connsiteY19" fmla="*/ 682668 h 1283918"/>
              <a:gd name="connsiteX20" fmla="*/ 1096027 w 1260819"/>
              <a:gd name="connsiteY20" fmla="*/ 692063 h 1283918"/>
              <a:gd name="connsiteX21" fmla="*/ 1117948 w 1260819"/>
              <a:gd name="connsiteY21" fmla="*/ 701457 h 1283918"/>
              <a:gd name="connsiteX22" fmla="*/ 1127342 w 1260819"/>
              <a:gd name="connsiteY22" fmla="*/ 720246 h 1283918"/>
              <a:gd name="connsiteX23" fmla="*/ 1139868 w 1260819"/>
              <a:gd name="connsiteY23" fmla="*/ 723378 h 1283918"/>
              <a:gd name="connsiteX24" fmla="*/ 1146131 w 1260819"/>
              <a:gd name="connsiteY24" fmla="*/ 732772 h 1283918"/>
              <a:gd name="connsiteX25" fmla="*/ 1136737 w 1260819"/>
              <a:gd name="connsiteY25" fmla="*/ 751562 h 1283918"/>
              <a:gd name="connsiteX26" fmla="*/ 1127342 w 1260819"/>
              <a:gd name="connsiteY26" fmla="*/ 770351 h 1283918"/>
              <a:gd name="connsiteX27" fmla="*/ 1117948 w 1260819"/>
              <a:gd name="connsiteY27" fmla="*/ 789140 h 1283918"/>
              <a:gd name="connsiteX28" fmla="*/ 1108553 w 1260819"/>
              <a:gd name="connsiteY28" fmla="*/ 807929 h 1283918"/>
              <a:gd name="connsiteX29" fmla="*/ 1092896 w 1260819"/>
              <a:gd name="connsiteY29" fmla="*/ 836112 h 1283918"/>
              <a:gd name="connsiteX30" fmla="*/ 1074107 w 1260819"/>
              <a:gd name="connsiteY30" fmla="*/ 851770 h 1283918"/>
              <a:gd name="connsiteX31" fmla="*/ 1070975 w 1260819"/>
              <a:gd name="connsiteY31" fmla="*/ 867427 h 1283918"/>
              <a:gd name="connsiteX32" fmla="*/ 1067844 w 1260819"/>
              <a:gd name="connsiteY32" fmla="*/ 876822 h 1283918"/>
              <a:gd name="connsiteX33" fmla="*/ 1039660 w 1260819"/>
              <a:gd name="connsiteY33" fmla="*/ 879953 h 1283918"/>
              <a:gd name="connsiteX34" fmla="*/ 1011477 w 1260819"/>
              <a:gd name="connsiteY34" fmla="*/ 886216 h 1283918"/>
              <a:gd name="connsiteX35" fmla="*/ 1002082 w 1260819"/>
              <a:gd name="connsiteY35" fmla="*/ 892479 h 1283918"/>
              <a:gd name="connsiteX36" fmla="*/ 992688 w 1260819"/>
              <a:gd name="connsiteY36" fmla="*/ 895611 h 1283918"/>
              <a:gd name="connsiteX37" fmla="*/ 980162 w 1260819"/>
              <a:gd name="connsiteY37" fmla="*/ 901874 h 1283918"/>
              <a:gd name="connsiteX38" fmla="*/ 970767 w 1260819"/>
              <a:gd name="connsiteY38" fmla="*/ 908137 h 1283918"/>
              <a:gd name="connsiteX39" fmla="*/ 958241 w 1260819"/>
              <a:gd name="connsiteY39" fmla="*/ 911268 h 1283918"/>
              <a:gd name="connsiteX40" fmla="*/ 948847 w 1260819"/>
              <a:gd name="connsiteY40" fmla="*/ 914400 h 1283918"/>
              <a:gd name="connsiteX41" fmla="*/ 936321 w 1260819"/>
              <a:gd name="connsiteY41" fmla="*/ 917531 h 1283918"/>
              <a:gd name="connsiteX42" fmla="*/ 905005 w 1260819"/>
              <a:gd name="connsiteY42" fmla="*/ 930057 h 1283918"/>
              <a:gd name="connsiteX43" fmla="*/ 886216 w 1260819"/>
              <a:gd name="connsiteY43" fmla="*/ 936320 h 1283918"/>
              <a:gd name="connsiteX44" fmla="*/ 867427 w 1260819"/>
              <a:gd name="connsiteY44" fmla="*/ 955109 h 1283918"/>
              <a:gd name="connsiteX45" fmla="*/ 851770 w 1260819"/>
              <a:gd name="connsiteY45" fmla="*/ 973899 h 1283918"/>
              <a:gd name="connsiteX46" fmla="*/ 842375 w 1260819"/>
              <a:gd name="connsiteY46" fmla="*/ 980162 h 1283918"/>
              <a:gd name="connsiteX47" fmla="*/ 823586 w 1260819"/>
              <a:gd name="connsiteY47" fmla="*/ 992688 h 1283918"/>
              <a:gd name="connsiteX48" fmla="*/ 804797 w 1260819"/>
              <a:gd name="connsiteY48" fmla="*/ 1011477 h 1283918"/>
              <a:gd name="connsiteX49" fmla="*/ 795403 w 1260819"/>
              <a:gd name="connsiteY49" fmla="*/ 1017740 h 1283918"/>
              <a:gd name="connsiteX50" fmla="*/ 776614 w 1260819"/>
              <a:gd name="connsiteY50" fmla="*/ 1036529 h 1283918"/>
              <a:gd name="connsiteX51" fmla="*/ 767219 w 1260819"/>
              <a:gd name="connsiteY51" fmla="*/ 1045923 h 1283918"/>
              <a:gd name="connsiteX52" fmla="*/ 739036 w 1260819"/>
              <a:gd name="connsiteY52" fmla="*/ 1064712 h 1283918"/>
              <a:gd name="connsiteX53" fmla="*/ 720247 w 1260819"/>
              <a:gd name="connsiteY53" fmla="*/ 1083501 h 1283918"/>
              <a:gd name="connsiteX54" fmla="*/ 701458 w 1260819"/>
              <a:gd name="connsiteY54" fmla="*/ 1096027 h 1283918"/>
              <a:gd name="connsiteX55" fmla="*/ 695195 w 1260819"/>
              <a:gd name="connsiteY55" fmla="*/ 1105422 h 1283918"/>
              <a:gd name="connsiteX56" fmla="*/ 688931 w 1260819"/>
              <a:gd name="connsiteY56" fmla="*/ 1111685 h 1283918"/>
              <a:gd name="connsiteX57" fmla="*/ 679537 w 1260819"/>
              <a:gd name="connsiteY57" fmla="*/ 1130474 h 1283918"/>
              <a:gd name="connsiteX58" fmla="*/ 657616 w 1260819"/>
              <a:gd name="connsiteY58" fmla="*/ 1139868 h 1283918"/>
              <a:gd name="connsiteX59" fmla="*/ 645090 w 1260819"/>
              <a:gd name="connsiteY59" fmla="*/ 1158657 h 1283918"/>
              <a:gd name="connsiteX60" fmla="*/ 638827 w 1260819"/>
              <a:gd name="connsiteY60" fmla="*/ 1168052 h 1283918"/>
              <a:gd name="connsiteX61" fmla="*/ 632564 w 1260819"/>
              <a:gd name="connsiteY61" fmla="*/ 1186841 h 1283918"/>
              <a:gd name="connsiteX62" fmla="*/ 629433 w 1260819"/>
              <a:gd name="connsiteY62" fmla="*/ 1202499 h 1283918"/>
              <a:gd name="connsiteX63" fmla="*/ 623170 w 1260819"/>
              <a:gd name="connsiteY63" fmla="*/ 1221288 h 1283918"/>
              <a:gd name="connsiteX64" fmla="*/ 610644 w 1260819"/>
              <a:gd name="connsiteY64" fmla="*/ 1240077 h 1283918"/>
              <a:gd name="connsiteX65" fmla="*/ 601249 w 1260819"/>
              <a:gd name="connsiteY65" fmla="*/ 1258866 h 1283918"/>
              <a:gd name="connsiteX66" fmla="*/ 585592 w 1260819"/>
              <a:gd name="connsiteY66" fmla="*/ 1283918 h 1283918"/>
              <a:gd name="connsiteX67" fmla="*/ 563671 w 1260819"/>
              <a:gd name="connsiteY67" fmla="*/ 1280786 h 1283918"/>
              <a:gd name="connsiteX68" fmla="*/ 557408 w 1260819"/>
              <a:gd name="connsiteY68" fmla="*/ 1271392 h 1283918"/>
              <a:gd name="connsiteX69" fmla="*/ 548014 w 1260819"/>
              <a:gd name="connsiteY69" fmla="*/ 1265129 h 1283918"/>
              <a:gd name="connsiteX70" fmla="*/ 541751 w 1260819"/>
              <a:gd name="connsiteY70" fmla="*/ 1255734 h 1283918"/>
              <a:gd name="connsiteX71" fmla="*/ 529225 w 1260819"/>
              <a:gd name="connsiteY71" fmla="*/ 1246340 h 1283918"/>
              <a:gd name="connsiteX72" fmla="*/ 522962 w 1260819"/>
              <a:gd name="connsiteY72" fmla="*/ 1255734 h 1283918"/>
              <a:gd name="connsiteX73" fmla="*/ 507304 w 1260819"/>
              <a:gd name="connsiteY73" fmla="*/ 1258866 h 1283918"/>
              <a:gd name="connsiteX74" fmla="*/ 469726 w 1260819"/>
              <a:gd name="connsiteY74" fmla="*/ 1265129 h 1283918"/>
              <a:gd name="connsiteX75" fmla="*/ 403964 w 1260819"/>
              <a:gd name="connsiteY75" fmla="*/ 1261997 h 1283918"/>
              <a:gd name="connsiteX76" fmla="*/ 385175 w 1260819"/>
              <a:gd name="connsiteY76" fmla="*/ 1255734 h 1283918"/>
              <a:gd name="connsiteX77" fmla="*/ 375781 w 1260819"/>
              <a:gd name="connsiteY77" fmla="*/ 1252603 h 1283918"/>
              <a:gd name="connsiteX78" fmla="*/ 366386 w 1260819"/>
              <a:gd name="connsiteY78" fmla="*/ 1249471 h 1283918"/>
              <a:gd name="connsiteX79" fmla="*/ 356992 w 1260819"/>
              <a:gd name="connsiteY79" fmla="*/ 1246340 h 1283918"/>
              <a:gd name="connsiteX80" fmla="*/ 347597 w 1260819"/>
              <a:gd name="connsiteY80" fmla="*/ 1240077 h 1283918"/>
              <a:gd name="connsiteX81" fmla="*/ 347597 w 1260819"/>
              <a:gd name="connsiteY81" fmla="*/ 1149263 h 1283918"/>
              <a:gd name="connsiteX82" fmla="*/ 350729 w 1260819"/>
              <a:gd name="connsiteY82" fmla="*/ 1139868 h 1283918"/>
              <a:gd name="connsiteX83" fmla="*/ 350729 w 1260819"/>
              <a:gd name="connsiteY83" fmla="*/ 1102290 h 1283918"/>
              <a:gd name="connsiteX84" fmla="*/ 360123 w 1260819"/>
              <a:gd name="connsiteY84" fmla="*/ 1092896 h 1283918"/>
              <a:gd name="connsiteX85" fmla="*/ 369518 w 1260819"/>
              <a:gd name="connsiteY85" fmla="*/ 1086633 h 1283918"/>
              <a:gd name="connsiteX86" fmla="*/ 372649 w 1260819"/>
              <a:gd name="connsiteY86" fmla="*/ 1061581 h 1283918"/>
              <a:gd name="connsiteX87" fmla="*/ 363255 w 1260819"/>
              <a:gd name="connsiteY87" fmla="*/ 1058449 h 1283918"/>
              <a:gd name="connsiteX88" fmla="*/ 353860 w 1260819"/>
              <a:gd name="connsiteY88" fmla="*/ 1061581 h 1283918"/>
              <a:gd name="connsiteX89" fmla="*/ 344466 w 1260819"/>
              <a:gd name="connsiteY89" fmla="*/ 1070975 h 1283918"/>
              <a:gd name="connsiteX90" fmla="*/ 335071 w 1260819"/>
              <a:gd name="connsiteY90" fmla="*/ 1064712 h 1283918"/>
              <a:gd name="connsiteX91" fmla="*/ 331940 w 1260819"/>
              <a:gd name="connsiteY91" fmla="*/ 1055318 h 1283918"/>
              <a:gd name="connsiteX92" fmla="*/ 341334 w 1260819"/>
              <a:gd name="connsiteY92" fmla="*/ 1036529 h 1283918"/>
              <a:gd name="connsiteX93" fmla="*/ 344466 w 1260819"/>
              <a:gd name="connsiteY93" fmla="*/ 1027134 h 1283918"/>
              <a:gd name="connsiteX94" fmla="*/ 328808 w 1260819"/>
              <a:gd name="connsiteY94" fmla="*/ 1008345 h 1283918"/>
              <a:gd name="connsiteX95" fmla="*/ 319414 w 1260819"/>
              <a:gd name="connsiteY95" fmla="*/ 1005214 h 1283918"/>
              <a:gd name="connsiteX96" fmla="*/ 322545 w 1260819"/>
              <a:gd name="connsiteY96" fmla="*/ 986425 h 1283918"/>
              <a:gd name="connsiteX97" fmla="*/ 338203 w 1260819"/>
              <a:gd name="connsiteY97" fmla="*/ 967635 h 1283918"/>
              <a:gd name="connsiteX98" fmla="*/ 344466 w 1260819"/>
              <a:gd name="connsiteY98" fmla="*/ 958241 h 1283918"/>
              <a:gd name="connsiteX99" fmla="*/ 347597 w 1260819"/>
              <a:gd name="connsiteY99" fmla="*/ 948846 h 1283918"/>
              <a:gd name="connsiteX100" fmla="*/ 325677 w 1260819"/>
              <a:gd name="connsiteY100" fmla="*/ 936320 h 1283918"/>
              <a:gd name="connsiteX101" fmla="*/ 313151 w 1260819"/>
              <a:gd name="connsiteY101" fmla="*/ 933189 h 1283918"/>
              <a:gd name="connsiteX102" fmla="*/ 306888 w 1260819"/>
              <a:gd name="connsiteY102" fmla="*/ 923794 h 1283918"/>
              <a:gd name="connsiteX103" fmla="*/ 297493 w 1260819"/>
              <a:gd name="connsiteY103" fmla="*/ 905005 h 1283918"/>
              <a:gd name="connsiteX104" fmla="*/ 288099 w 1260819"/>
              <a:gd name="connsiteY104" fmla="*/ 901874 h 1283918"/>
              <a:gd name="connsiteX105" fmla="*/ 278704 w 1260819"/>
              <a:gd name="connsiteY105" fmla="*/ 908137 h 1283918"/>
              <a:gd name="connsiteX106" fmla="*/ 269310 w 1260819"/>
              <a:gd name="connsiteY106" fmla="*/ 926926 h 1283918"/>
              <a:gd name="connsiteX107" fmla="*/ 244258 w 1260819"/>
              <a:gd name="connsiteY107" fmla="*/ 933189 h 1283918"/>
              <a:gd name="connsiteX108" fmla="*/ 216074 w 1260819"/>
              <a:gd name="connsiteY108" fmla="*/ 961372 h 1283918"/>
              <a:gd name="connsiteX109" fmla="*/ 206679 w 1260819"/>
              <a:gd name="connsiteY109" fmla="*/ 970767 h 1283918"/>
              <a:gd name="connsiteX110" fmla="*/ 178496 w 1260819"/>
              <a:gd name="connsiteY110" fmla="*/ 948846 h 1283918"/>
              <a:gd name="connsiteX111" fmla="*/ 169101 w 1260819"/>
              <a:gd name="connsiteY111" fmla="*/ 945715 h 1283918"/>
              <a:gd name="connsiteX112" fmla="*/ 156575 w 1260819"/>
              <a:gd name="connsiteY112" fmla="*/ 948846 h 1283918"/>
              <a:gd name="connsiteX113" fmla="*/ 153444 w 1260819"/>
              <a:gd name="connsiteY113" fmla="*/ 958241 h 1283918"/>
              <a:gd name="connsiteX114" fmla="*/ 140918 w 1260819"/>
              <a:gd name="connsiteY114" fmla="*/ 992688 h 1283918"/>
              <a:gd name="connsiteX115" fmla="*/ 131523 w 1260819"/>
              <a:gd name="connsiteY115" fmla="*/ 995819 h 1283918"/>
              <a:gd name="connsiteX116" fmla="*/ 122129 w 1260819"/>
              <a:gd name="connsiteY116" fmla="*/ 1002082 h 1283918"/>
              <a:gd name="connsiteX117" fmla="*/ 115866 w 1260819"/>
              <a:gd name="connsiteY117" fmla="*/ 1030266 h 1283918"/>
              <a:gd name="connsiteX118" fmla="*/ 109603 w 1260819"/>
              <a:gd name="connsiteY118" fmla="*/ 1020871 h 1283918"/>
              <a:gd name="connsiteX119" fmla="*/ 90814 w 1260819"/>
              <a:gd name="connsiteY119" fmla="*/ 1014608 h 1283918"/>
              <a:gd name="connsiteX120" fmla="*/ 84551 w 1260819"/>
              <a:gd name="connsiteY120" fmla="*/ 1005214 h 1283918"/>
              <a:gd name="connsiteX121" fmla="*/ 43841 w 1260819"/>
              <a:gd name="connsiteY121" fmla="*/ 995819 h 1283918"/>
              <a:gd name="connsiteX122" fmla="*/ 37578 w 1260819"/>
              <a:gd name="connsiteY122" fmla="*/ 986425 h 1283918"/>
              <a:gd name="connsiteX123" fmla="*/ 25052 w 1260819"/>
              <a:gd name="connsiteY123" fmla="*/ 942583 h 1283918"/>
              <a:gd name="connsiteX124" fmla="*/ 21921 w 1260819"/>
              <a:gd name="connsiteY124" fmla="*/ 917531 h 1283918"/>
              <a:gd name="connsiteX125" fmla="*/ 37578 w 1260819"/>
              <a:gd name="connsiteY125" fmla="*/ 914400 h 1283918"/>
              <a:gd name="connsiteX126" fmla="*/ 46973 w 1260819"/>
              <a:gd name="connsiteY126" fmla="*/ 908137 h 1283918"/>
              <a:gd name="connsiteX127" fmla="*/ 53236 w 1260819"/>
              <a:gd name="connsiteY127" fmla="*/ 898742 h 1283918"/>
              <a:gd name="connsiteX128" fmla="*/ 72025 w 1260819"/>
              <a:gd name="connsiteY128" fmla="*/ 892479 h 1283918"/>
              <a:gd name="connsiteX129" fmla="*/ 78288 w 1260819"/>
              <a:gd name="connsiteY129" fmla="*/ 883085 h 1283918"/>
              <a:gd name="connsiteX130" fmla="*/ 75156 w 1260819"/>
              <a:gd name="connsiteY130" fmla="*/ 873690 h 1283918"/>
              <a:gd name="connsiteX131" fmla="*/ 68893 w 1260819"/>
              <a:gd name="connsiteY131" fmla="*/ 864296 h 1283918"/>
              <a:gd name="connsiteX132" fmla="*/ 59499 w 1260819"/>
              <a:gd name="connsiteY132" fmla="*/ 861164 h 1283918"/>
              <a:gd name="connsiteX133" fmla="*/ 50104 w 1260819"/>
              <a:gd name="connsiteY133" fmla="*/ 854901 h 1283918"/>
              <a:gd name="connsiteX134" fmla="*/ 46973 w 1260819"/>
              <a:gd name="connsiteY134" fmla="*/ 823586 h 1283918"/>
              <a:gd name="connsiteX135" fmla="*/ 37578 w 1260819"/>
              <a:gd name="connsiteY135" fmla="*/ 820455 h 1283918"/>
              <a:gd name="connsiteX136" fmla="*/ 15658 w 1260819"/>
              <a:gd name="connsiteY136" fmla="*/ 817323 h 1283918"/>
              <a:gd name="connsiteX137" fmla="*/ 25052 w 1260819"/>
              <a:gd name="connsiteY137" fmla="*/ 798534 h 1283918"/>
              <a:gd name="connsiteX138" fmla="*/ 43841 w 1260819"/>
              <a:gd name="connsiteY138" fmla="*/ 786008 h 1283918"/>
              <a:gd name="connsiteX139" fmla="*/ 31315 w 1260819"/>
              <a:gd name="connsiteY139" fmla="*/ 782877 h 1283918"/>
              <a:gd name="connsiteX140" fmla="*/ 12526 w 1260819"/>
              <a:gd name="connsiteY140" fmla="*/ 779745 h 1283918"/>
              <a:gd name="connsiteX141" fmla="*/ 15658 w 1260819"/>
              <a:gd name="connsiteY141" fmla="*/ 748430 h 1283918"/>
              <a:gd name="connsiteX142" fmla="*/ 21921 w 1260819"/>
              <a:gd name="connsiteY142" fmla="*/ 717115 h 1283918"/>
              <a:gd name="connsiteX143" fmla="*/ 0 w 1260819"/>
              <a:gd name="connsiteY143" fmla="*/ 701457 h 1283918"/>
              <a:gd name="connsiteX144" fmla="*/ 12526 w 1260819"/>
              <a:gd name="connsiteY144" fmla="*/ 679537 h 1283918"/>
              <a:gd name="connsiteX145" fmla="*/ 31315 w 1260819"/>
              <a:gd name="connsiteY145" fmla="*/ 673274 h 1283918"/>
              <a:gd name="connsiteX146" fmla="*/ 40710 w 1260819"/>
              <a:gd name="connsiteY146" fmla="*/ 667011 h 1283918"/>
              <a:gd name="connsiteX147" fmla="*/ 50104 w 1260819"/>
              <a:gd name="connsiteY147" fmla="*/ 657616 h 1283918"/>
              <a:gd name="connsiteX148" fmla="*/ 68893 w 1260819"/>
              <a:gd name="connsiteY148" fmla="*/ 651353 h 1283918"/>
              <a:gd name="connsiteX149" fmla="*/ 87682 w 1260819"/>
              <a:gd name="connsiteY149" fmla="*/ 645090 h 1283918"/>
              <a:gd name="connsiteX150" fmla="*/ 106471 w 1260819"/>
              <a:gd name="connsiteY150" fmla="*/ 632564 h 1283918"/>
              <a:gd name="connsiteX151" fmla="*/ 115866 w 1260819"/>
              <a:gd name="connsiteY151" fmla="*/ 629433 h 1283918"/>
              <a:gd name="connsiteX152" fmla="*/ 144049 w 1260819"/>
              <a:gd name="connsiteY152" fmla="*/ 616907 h 1283918"/>
              <a:gd name="connsiteX153" fmla="*/ 153444 w 1260819"/>
              <a:gd name="connsiteY153" fmla="*/ 613775 h 1283918"/>
              <a:gd name="connsiteX154" fmla="*/ 175364 w 1260819"/>
              <a:gd name="connsiteY154" fmla="*/ 591855 h 1283918"/>
              <a:gd name="connsiteX155" fmla="*/ 191022 w 1260819"/>
              <a:gd name="connsiteY155" fmla="*/ 613775 h 1283918"/>
              <a:gd name="connsiteX156" fmla="*/ 200416 w 1260819"/>
              <a:gd name="connsiteY156" fmla="*/ 610644 h 1283918"/>
              <a:gd name="connsiteX157" fmla="*/ 219205 w 1260819"/>
              <a:gd name="connsiteY157" fmla="*/ 616907 h 1283918"/>
              <a:gd name="connsiteX158" fmla="*/ 263047 w 1260819"/>
              <a:gd name="connsiteY158" fmla="*/ 613775 h 1283918"/>
              <a:gd name="connsiteX159" fmla="*/ 275573 w 1260819"/>
              <a:gd name="connsiteY159" fmla="*/ 598118 h 1283918"/>
              <a:gd name="connsiteX160" fmla="*/ 281836 w 1260819"/>
              <a:gd name="connsiteY160" fmla="*/ 573066 h 1283918"/>
              <a:gd name="connsiteX161" fmla="*/ 288099 w 1260819"/>
              <a:gd name="connsiteY161" fmla="*/ 563671 h 1283918"/>
              <a:gd name="connsiteX162" fmla="*/ 297493 w 1260819"/>
              <a:gd name="connsiteY162" fmla="*/ 560540 h 1283918"/>
              <a:gd name="connsiteX163" fmla="*/ 328808 w 1260819"/>
              <a:gd name="connsiteY163" fmla="*/ 557408 h 1283918"/>
              <a:gd name="connsiteX164" fmla="*/ 347597 w 1260819"/>
              <a:gd name="connsiteY164" fmla="*/ 551145 h 1283918"/>
              <a:gd name="connsiteX165" fmla="*/ 356992 w 1260819"/>
              <a:gd name="connsiteY165" fmla="*/ 544882 h 1283918"/>
              <a:gd name="connsiteX166" fmla="*/ 366386 w 1260819"/>
              <a:gd name="connsiteY166" fmla="*/ 541751 h 1283918"/>
              <a:gd name="connsiteX167" fmla="*/ 385175 w 1260819"/>
              <a:gd name="connsiteY167" fmla="*/ 529225 h 1283918"/>
              <a:gd name="connsiteX168" fmla="*/ 422753 w 1260819"/>
              <a:gd name="connsiteY168" fmla="*/ 516699 h 1283918"/>
              <a:gd name="connsiteX169" fmla="*/ 432148 w 1260819"/>
              <a:gd name="connsiteY169" fmla="*/ 513567 h 1283918"/>
              <a:gd name="connsiteX170" fmla="*/ 460331 w 1260819"/>
              <a:gd name="connsiteY170" fmla="*/ 497909 h 1283918"/>
              <a:gd name="connsiteX171" fmla="*/ 466595 w 1260819"/>
              <a:gd name="connsiteY171" fmla="*/ 491646 h 1283918"/>
              <a:gd name="connsiteX172" fmla="*/ 485384 w 1260819"/>
              <a:gd name="connsiteY172" fmla="*/ 482252 h 1283918"/>
              <a:gd name="connsiteX173" fmla="*/ 501041 w 1260819"/>
              <a:gd name="connsiteY173" fmla="*/ 463463 h 1283918"/>
              <a:gd name="connsiteX174" fmla="*/ 510436 w 1260819"/>
              <a:gd name="connsiteY174" fmla="*/ 457200 h 1283918"/>
              <a:gd name="connsiteX175" fmla="*/ 513567 w 1260819"/>
              <a:gd name="connsiteY175" fmla="*/ 447805 h 1283918"/>
              <a:gd name="connsiteX176" fmla="*/ 522962 w 1260819"/>
              <a:gd name="connsiteY176" fmla="*/ 441542 h 1283918"/>
              <a:gd name="connsiteX177" fmla="*/ 532356 w 1260819"/>
              <a:gd name="connsiteY177" fmla="*/ 432148 h 1283918"/>
              <a:gd name="connsiteX178" fmla="*/ 544882 w 1260819"/>
              <a:gd name="connsiteY178" fmla="*/ 347597 h 1283918"/>
              <a:gd name="connsiteX179" fmla="*/ 554277 w 1260819"/>
              <a:gd name="connsiteY179" fmla="*/ 344466 h 1283918"/>
              <a:gd name="connsiteX180" fmla="*/ 569934 w 1260819"/>
              <a:gd name="connsiteY180" fmla="*/ 341334 h 1283918"/>
              <a:gd name="connsiteX181" fmla="*/ 585592 w 1260819"/>
              <a:gd name="connsiteY181" fmla="*/ 322545 h 1283918"/>
              <a:gd name="connsiteX182" fmla="*/ 594986 w 1260819"/>
              <a:gd name="connsiteY182" fmla="*/ 313151 h 1283918"/>
              <a:gd name="connsiteX183" fmla="*/ 638827 w 1260819"/>
              <a:gd name="connsiteY183" fmla="*/ 310019 h 1283918"/>
              <a:gd name="connsiteX184" fmla="*/ 641959 w 1260819"/>
              <a:gd name="connsiteY184" fmla="*/ 300625 h 1283918"/>
              <a:gd name="connsiteX185" fmla="*/ 635696 w 1260819"/>
              <a:gd name="connsiteY185" fmla="*/ 291230 h 1283918"/>
              <a:gd name="connsiteX186" fmla="*/ 629433 w 1260819"/>
              <a:gd name="connsiteY186" fmla="*/ 269309 h 1283918"/>
              <a:gd name="connsiteX187" fmla="*/ 623170 w 1260819"/>
              <a:gd name="connsiteY187" fmla="*/ 259915 h 1283918"/>
              <a:gd name="connsiteX188" fmla="*/ 626301 w 1260819"/>
              <a:gd name="connsiteY188" fmla="*/ 241126 h 1283918"/>
              <a:gd name="connsiteX189" fmla="*/ 645090 w 1260819"/>
              <a:gd name="connsiteY189" fmla="*/ 222337 h 1283918"/>
              <a:gd name="connsiteX190" fmla="*/ 648222 w 1260819"/>
              <a:gd name="connsiteY190" fmla="*/ 212942 h 1283918"/>
              <a:gd name="connsiteX191" fmla="*/ 667011 w 1260819"/>
              <a:gd name="connsiteY191" fmla="*/ 194153 h 1283918"/>
              <a:gd name="connsiteX192" fmla="*/ 676405 w 1260819"/>
              <a:gd name="connsiteY192" fmla="*/ 165970 h 1283918"/>
              <a:gd name="connsiteX193" fmla="*/ 679537 w 1260819"/>
              <a:gd name="connsiteY193" fmla="*/ 156575 h 1283918"/>
              <a:gd name="connsiteX194" fmla="*/ 670142 w 1260819"/>
              <a:gd name="connsiteY194" fmla="*/ 144049 h 1283918"/>
              <a:gd name="connsiteX195" fmla="*/ 667011 w 1260819"/>
              <a:gd name="connsiteY195" fmla="*/ 106471 h 1283918"/>
              <a:gd name="connsiteX196" fmla="*/ 685800 w 1260819"/>
              <a:gd name="connsiteY196" fmla="*/ 87682 h 1283918"/>
              <a:gd name="connsiteX197" fmla="*/ 701458 w 1260819"/>
              <a:gd name="connsiteY197" fmla="*/ 72025 h 1283918"/>
              <a:gd name="connsiteX198" fmla="*/ 720247 w 1260819"/>
              <a:gd name="connsiteY198" fmla="*/ 65762 h 1283918"/>
              <a:gd name="connsiteX199" fmla="*/ 732773 w 1260819"/>
              <a:gd name="connsiteY199" fmla="*/ 46972 h 1283918"/>
              <a:gd name="connsiteX200" fmla="*/ 735904 w 1260819"/>
              <a:gd name="connsiteY200" fmla="*/ 37578 h 1283918"/>
              <a:gd name="connsiteX201" fmla="*/ 748430 w 1260819"/>
              <a:gd name="connsiteY201" fmla="*/ 18789 h 1283918"/>
              <a:gd name="connsiteX202" fmla="*/ 767219 w 1260819"/>
              <a:gd name="connsiteY202" fmla="*/ 6263 h 1283918"/>
              <a:gd name="connsiteX203" fmla="*/ 776614 w 1260819"/>
              <a:gd name="connsiteY203" fmla="*/ 0 h 1283918"/>
              <a:gd name="connsiteX204" fmla="*/ 814192 w 1260819"/>
              <a:gd name="connsiteY204" fmla="*/ 9394 h 1283918"/>
              <a:gd name="connsiteX205" fmla="*/ 817323 w 1260819"/>
              <a:gd name="connsiteY205" fmla="*/ 21920 h 1283918"/>
              <a:gd name="connsiteX206" fmla="*/ 820455 w 1260819"/>
              <a:gd name="connsiteY206" fmla="*/ 62630 h 1283918"/>
              <a:gd name="connsiteX207" fmla="*/ 823586 w 1260819"/>
              <a:gd name="connsiteY207" fmla="*/ 72025 h 1283918"/>
              <a:gd name="connsiteX208" fmla="*/ 839244 w 1260819"/>
              <a:gd name="connsiteY208" fmla="*/ 65762 h 1283918"/>
              <a:gd name="connsiteX209" fmla="*/ 858033 w 1260819"/>
              <a:gd name="connsiteY209" fmla="*/ 68893 h 1283918"/>
              <a:gd name="connsiteX210" fmla="*/ 883084 w 1260819"/>
              <a:gd name="connsiteY210" fmla="*/ 75156 h 1283918"/>
              <a:gd name="connsiteX211" fmla="*/ 886216 w 1260819"/>
              <a:gd name="connsiteY211" fmla="*/ 93945 h 1283918"/>
              <a:gd name="connsiteX212" fmla="*/ 914400 w 1260819"/>
              <a:gd name="connsiteY212" fmla="*/ 118997 h 1283918"/>
              <a:gd name="connsiteX213" fmla="*/ 945715 w 1260819"/>
              <a:gd name="connsiteY213" fmla="*/ 137786 h 1283918"/>
              <a:gd name="connsiteX214" fmla="*/ 955110 w 1260819"/>
              <a:gd name="connsiteY214" fmla="*/ 144049 h 1283918"/>
              <a:gd name="connsiteX215" fmla="*/ 973899 w 1260819"/>
              <a:gd name="connsiteY215" fmla="*/ 162838 h 1283918"/>
              <a:gd name="connsiteX216" fmla="*/ 1005214 w 1260819"/>
              <a:gd name="connsiteY216" fmla="*/ 165970 h 1283918"/>
              <a:gd name="connsiteX217" fmla="*/ 1020871 w 1260819"/>
              <a:gd name="connsiteY217" fmla="*/ 178496 h 1283918"/>
              <a:gd name="connsiteX218" fmla="*/ 1030266 w 1260819"/>
              <a:gd name="connsiteY218" fmla="*/ 187890 h 1283918"/>
              <a:gd name="connsiteX219" fmla="*/ 1036529 w 1260819"/>
              <a:gd name="connsiteY219" fmla="*/ 206679 h 1283918"/>
              <a:gd name="connsiteX220" fmla="*/ 1039660 w 1260819"/>
              <a:gd name="connsiteY220" fmla="*/ 219205 h 1283918"/>
              <a:gd name="connsiteX221" fmla="*/ 1052186 w 1260819"/>
              <a:gd name="connsiteY221" fmla="*/ 237994 h 1283918"/>
              <a:gd name="connsiteX222" fmla="*/ 1058449 w 1260819"/>
              <a:gd name="connsiteY222" fmla="*/ 247389 h 1283918"/>
              <a:gd name="connsiteX223" fmla="*/ 1067844 w 1260819"/>
              <a:gd name="connsiteY223" fmla="*/ 253652 h 1283918"/>
              <a:gd name="connsiteX224" fmla="*/ 1070975 w 1260819"/>
              <a:gd name="connsiteY224" fmla="*/ 263046 h 1283918"/>
              <a:gd name="connsiteX225" fmla="*/ 1077238 w 1260819"/>
              <a:gd name="connsiteY225" fmla="*/ 272441 h 1283918"/>
              <a:gd name="connsiteX226" fmla="*/ 1083501 w 1260819"/>
              <a:gd name="connsiteY226" fmla="*/ 297493 h 1283918"/>
              <a:gd name="connsiteX227" fmla="*/ 1108553 w 1260819"/>
              <a:gd name="connsiteY227" fmla="*/ 319414 h 1283918"/>
              <a:gd name="connsiteX228" fmla="*/ 1117948 w 1260819"/>
              <a:gd name="connsiteY228" fmla="*/ 322545 h 1283918"/>
              <a:gd name="connsiteX229" fmla="*/ 1121079 w 1260819"/>
              <a:gd name="connsiteY229" fmla="*/ 331940 h 1283918"/>
              <a:gd name="connsiteX230" fmla="*/ 1130474 w 1260819"/>
              <a:gd name="connsiteY230" fmla="*/ 335071 h 1283918"/>
              <a:gd name="connsiteX231" fmla="*/ 1146131 w 1260819"/>
              <a:gd name="connsiteY231" fmla="*/ 322545 h 1283918"/>
              <a:gd name="connsiteX232" fmla="*/ 1174315 w 1260819"/>
              <a:gd name="connsiteY232" fmla="*/ 338203 h 1283918"/>
              <a:gd name="connsiteX233" fmla="*/ 1183710 w 1260819"/>
              <a:gd name="connsiteY233" fmla="*/ 341334 h 1283918"/>
              <a:gd name="connsiteX234" fmla="*/ 1218156 w 1260819"/>
              <a:gd name="connsiteY234" fmla="*/ 331940 h 1283918"/>
              <a:gd name="connsiteX235" fmla="*/ 1227551 w 1260819"/>
              <a:gd name="connsiteY235" fmla="*/ 328808 h 1283918"/>
              <a:gd name="connsiteX236" fmla="*/ 1236945 w 1260819"/>
              <a:gd name="connsiteY236" fmla="*/ 331940 h 1283918"/>
              <a:gd name="connsiteX237" fmla="*/ 1224419 w 1260819"/>
              <a:gd name="connsiteY237" fmla="*/ 356992 h 1283918"/>
              <a:gd name="connsiteX238" fmla="*/ 1227551 w 1260819"/>
              <a:gd name="connsiteY238" fmla="*/ 382044 h 1283918"/>
              <a:gd name="connsiteX239" fmla="*/ 1233814 w 1260819"/>
              <a:gd name="connsiteY239" fmla="*/ 391438 h 1283918"/>
              <a:gd name="connsiteX240" fmla="*/ 1236945 w 1260819"/>
              <a:gd name="connsiteY240" fmla="*/ 400833 h 1283918"/>
              <a:gd name="connsiteX241" fmla="*/ 1243208 w 1260819"/>
              <a:gd name="connsiteY241" fmla="*/ 410227 h 1283918"/>
              <a:gd name="connsiteX242" fmla="*/ 1249471 w 1260819"/>
              <a:gd name="connsiteY242" fmla="*/ 429016 h 1283918"/>
              <a:gd name="connsiteX243" fmla="*/ 1246340 w 1260819"/>
              <a:gd name="connsiteY243" fmla="*/ 447805 h 1283918"/>
              <a:gd name="connsiteX244" fmla="*/ 1227551 w 1260819"/>
              <a:gd name="connsiteY244" fmla="*/ 460331 h 1283918"/>
              <a:gd name="connsiteX245" fmla="*/ 1218156 w 1260819"/>
              <a:gd name="connsiteY245" fmla="*/ 479120 h 1283918"/>
              <a:gd name="connsiteX246" fmla="*/ 1227551 w 1260819"/>
              <a:gd name="connsiteY246" fmla="*/ 485383 h 1283918"/>
              <a:gd name="connsiteX247" fmla="*/ 1258866 w 1260819"/>
              <a:gd name="connsiteY247" fmla="*/ 491646 h 1283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</a:cxnLst>
            <a:rect l="l" t="t" r="r" b="b"/>
            <a:pathLst>
              <a:path w="1260819" h="1283918">
                <a:moveTo>
                  <a:pt x="1258866" y="491646"/>
                </a:moveTo>
                <a:cubicBezTo>
                  <a:pt x="1263563" y="495299"/>
                  <a:pt x="1258687" y="502875"/>
                  <a:pt x="1255734" y="507304"/>
                </a:cubicBezTo>
                <a:cubicBezTo>
                  <a:pt x="1253903" y="510050"/>
                  <a:pt x="1249641" y="510435"/>
                  <a:pt x="1246340" y="510435"/>
                </a:cubicBezTo>
                <a:cubicBezTo>
                  <a:pt x="1232730" y="510435"/>
                  <a:pt x="1219200" y="508348"/>
                  <a:pt x="1205630" y="507304"/>
                </a:cubicBezTo>
                <a:cubicBezTo>
                  <a:pt x="1202499" y="508348"/>
                  <a:pt x="1198298" y="507858"/>
                  <a:pt x="1196236" y="510435"/>
                </a:cubicBezTo>
                <a:cubicBezTo>
                  <a:pt x="1193547" y="513796"/>
                  <a:pt x="1194286" y="518823"/>
                  <a:pt x="1193104" y="522962"/>
                </a:cubicBezTo>
                <a:cubicBezTo>
                  <a:pt x="1192197" y="526136"/>
                  <a:pt x="1192035" y="529779"/>
                  <a:pt x="1189973" y="532356"/>
                </a:cubicBezTo>
                <a:cubicBezTo>
                  <a:pt x="1187622" y="535295"/>
                  <a:pt x="1183469" y="536209"/>
                  <a:pt x="1180578" y="538619"/>
                </a:cubicBezTo>
                <a:cubicBezTo>
                  <a:pt x="1177176" y="541454"/>
                  <a:pt x="1174586" y="545179"/>
                  <a:pt x="1171184" y="548014"/>
                </a:cubicBezTo>
                <a:cubicBezTo>
                  <a:pt x="1168293" y="550424"/>
                  <a:pt x="1165228" y="552748"/>
                  <a:pt x="1161789" y="554277"/>
                </a:cubicBezTo>
                <a:cubicBezTo>
                  <a:pt x="1155756" y="556958"/>
                  <a:pt x="1143000" y="560540"/>
                  <a:pt x="1143000" y="560540"/>
                </a:cubicBezTo>
                <a:cubicBezTo>
                  <a:pt x="1134649" y="559496"/>
                  <a:pt x="1126067" y="559622"/>
                  <a:pt x="1117948" y="557408"/>
                </a:cubicBezTo>
                <a:cubicBezTo>
                  <a:pt x="1114317" y="556418"/>
                  <a:pt x="1112204" y="550232"/>
                  <a:pt x="1108553" y="551145"/>
                </a:cubicBezTo>
                <a:cubicBezTo>
                  <a:pt x="1105351" y="551946"/>
                  <a:pt x="1106466" y="557408"/>
                  <a:pt x="1105422" y="560540"/>
                </a:cubicBezTo>
                <a:cubicBezTo>
                  <a:pt x="1104378" y="572022"/>
                  <a:pt x="1105681" y="583966"/>
                  <a:pt x="1102290" y="594986"/>
                </a:cubicBezTo>
                <a:cubicBezTo>
                  <a:pt x="1101183" y="598583"/>
                  <a:pt x="1096262" y="599566"/>
                  <a:pt x="1092896" y="601249"/>
                </a:cubicBezTo>
                <a:cubicBezTo>
                  <a:pt x="1066967" y="614214"/>
                  <a:pt x="1101027" y="592696"/>
                  <a:pt x="1074107" y="610644"/>
                </a:cubicBezTo>
                <a:cubicBezTo>
                  <a:pt x="1073063" y="628389"/>
                  <a:pt x="1072744" y="646192"/>
                  <a:pt x="1070975" y="663879"/>
                </a:cubicBezTo>
                <a:cubicBezTo>
                  <a:pt x="1070647" y="667164"/>
                  <a:pt x="1066618" y="670209"/>
                  <a:pt x="1067844" y="673274"/>
                </a:cubicBezTo>
                <a:cubicBezTo>
                  <a:pt x="1070649" y="680286"/>
                  <a:pt x="1089130" y="681915"/>
                  <a:pt x="1092896" y="682668"/>
                </a:cubicBezTo>
                <a:cubicBezTo>
                  <a:pt x="1093940" y="685800"/>
                  <a:pt x="1093965" y="689485"/>
                  <a:pt x="1096027" y="692063"/>
                </a:cubicBezTo>
                <a:cubicBezTo>
                  <a:pt x="1101433" y="698821"/>
                  <a:pt x="1110427" y="699577"/>
                  <a:pt x="1117948" y="701457"/>
                </a:cubicBezTo>
                <a:cubicBezTo>
                  <a:pt x="1119734" y="706817"/>
                  <a:pt x="1122138" y="716776"/>
                  <a:pt x="1127342" y="720246"/>
                </a:cubicBezTo>
                <a:cubicBezTo>
                  <a:pt x="1130923" y="722633"/>
                  <a:pt x="1135693" y="722334"/>
                  <a:pt x="1139868" y="723378"/>
                </a:cubicBezTo>
                <a:cubicBezTo>
                  <a:pt x="1141956" y="726509"/>
                  <a:pt x="1145512" y="729060"/>
                  <a:pt x="1146131" y="732772"/>
                </a:cubicBezTo>
                <a:cubicBezTo>
                  <a:pt x="1147115" y="738676"/>
                  <a:pt x="1138782" y="747472"/>
                  <a:pt x="1136737" y="751562"/>
                </a:cubicBezTo>
                <a:cubicBezTo>
                  <a:pt x="1123771" y="777492"/>
                  <a:pt x="1145292" y="743425"/>
                  <a:pt x="1127342" y="770351"/>
                </a:cubicBezTo>
                <a:cubicBezTo>
                  <a:pt x="1119475" y="793955"/>
                  <a:pt x="1130086" y="764866"/>
                  <a:pt x="1117948" y="789140"/>
                </a:cubicBezTo>
                <a:cubicBezTo>
                  <a:pt x="1104982" y="815070"/>
                  <a:pt x="1126503" y="781003"/>
                  <a:pt x="1108553" y="807929"/>
                </a:cubicBezTo>
                <a:cubicBezTo>
                  <a:pt x="1105290" y="817719"/>
                  <a:pt x="1102126" y="829959"/>
                  <a:pt x="1092896" y="836112"/>
                </a:cubicBezTo>
                <a:cubicBezTo>
                  <a:pt x="1079816" y="844831"/>
                  <a:pt x="1086162" y="839713"/>
                  <a:pt x="1074107" y="851770"/>
                </a:cubicBezTo>
                <a:cubicBezTo>
                  <a:pt x="1073063" y="856989"/>
                  <a:pt x="1072266" y="862264"/>
                  <a:pt x="1070975" y="867427"/>
                </a:cubicBezTo>
                <a:cubicBezTo>
                  <a:pt x="1070174" y="870629"/>
                  <a:pt x="1070909" y="875596"/>
                  <a:pt x="1067844" y="876822"/>
                </a:cubicBezTo>
                <a:cubicBezTo>
                  <a:pt x="1059068" y="880333"/>
                  <a:pt x="1049030" y="878704"/>
                  <a:pt x="1039660" y="879953"/>
                </a:cubicBezTo>
                <a:cubicBezTo>
                  <a:pt x="1021293" y="882402"/>
                  <a:pt x="1024983" y="881715"/>
                  <a:pt x="1011477" y="886216"/>
                </a:cubicBezTo>
                <a:cubicBezTo>
                  <a:pt x="1008345" y="888304"/>
                  <a:pt x="1005448" y="890796"/>
                  <a:pt x="1002082" y="892479"/>
                </a:cubicBezTo>
                <a:cubicBezTo>
                  <a:pt x="999130" y="893955"/>
                  <a:pt x="995722" y="894311"/>
                  <a:pt x="992688" y="895611"/>
                </a:cubicBezTo>
                <a:cubicBezTo>
                  <a:pt x="988397" y="897450"/>
                  <a:pt x="984215" y="899558"/>
                  <a:pt x="980162" y="901874"/>
                </a:cubicBezTo>
                <a:cubicBezTo>
                  <a:pt x="976894" y="903741"/>
                  <a:pt x="974226" y="906654"/>
                  <a:pt x="970767" y="908137"/>
                </a:cubicBezTo>
                <a:cubicBezTo>
                  <a:pt x="966811" y="909832"/>
                  <a:pt x="962379" y="910086"/>
                  <a:pt x="958241" y="911268"/>
                </a:cubicBezTo>
                <a:cubicBezTo>
                  <a:pt x="955067" y="912175"/>
                  <a:pt x="952021" y="913493"/>
                  <a:pt x="948847" y="914400"/>
                </a:cubicBezTo>
                <a:cubicBezTo>
                  <a:pt x="944709" y="915582"/>
                  <a:pt x="940443" y="916294"/>
                  <a:pt x="936321" y="917531"/>
                </a:cubicBezTo>
                <a:cubicBezTo>
                  <a:pt x="894782" y="929992"/>
                  <a:pt x="936390" y="917503"/>
                  <a:pt x="905005" y="930057"/>
                </a:cubicBezTo>
                <a:cubicBezTo>
                  <a:pt x="898875" y="932509"/>
                  <a:pt x="886216" y="936320"/>
                  <a:pt x="886216" y="936320"/>
                </a:cubicBezTo>
                <a:lnTo>
                  <a:pt x="867427" y="955109"/>
                </a:lnTo>
                <a:cubicBezTo>
                  <a:pt x="842793" y="979743"/>
                  <a:pt x="882551" y="948247"/>
                  <a:pt x="851770" y="973899"/>
                </a:cubicBezTo>
                <a:cubicBezTo>
                  <a:pt x="848879" y="976309"/>
                  <a:pt x="845266" y="977753"/>
                  <a:pt x="842375" y="980162"/>
                </a:cubicBezTo>
                <a:cubicBezTo>
                  <a:pt x="826736" y="993194"/>
                  <a:pt x="840097" y="987184"/>
                  <a:pt x="823586" y="992688"/>
                </a:cubicBezTo>
                <a:cubicBezTo>
                  <a:pt x="817323" y="998951"/>
                  <a:pt x="812167" y="1006564"/>
                  <a:pt x="804797" y="1011477"/>
                </a:cubicBezTo>
                <a:cubicBezTo>
                  <a:pt x="801666" y="1013565"/>
                  <a:pt x="798216" y="1015240"/>
                  <a:pt x="795403" y="1017740"/>
                </a:cubicBezTo>
                <a:cubicBezTo>
                  <a:pt x="788783" y="1023624"/>
                  <a:pt x="782877" y="1030266"/>
                  <a:pt x="776614" y="1036529"/>
                </a:cubicBezTo>
                <a:cubicBezTo>
                  <a:pt x="773482" y="1039660"/>
                  <a:pt x="770904" y="1043466"/>
                  <a:pt x="767219" y="1045923"/>
                </a:cubicBezTo>
                <a:lnTo>
                  <a:pt x="739036" y="1064712"/>
                </a:lnTo>
                <a:cubicBezTo>
                  <a:pt x="731666" y="1069625"/>
                  <a:pt x="726510" y="1077238"/>
                  <a:pt x="720247" y="1083501"/>
                </a:cubicBezTo>
                <a:cubicBezTo>
                  <a:pt x="714924" y="1088824"/>
                  <a:pt x="701458" y="1096027"/>
                  <a:pt x="701458" y="1096027"/>
                </a:cubicBezTo>
                <a:cubicBezTo>
                  <a:pt x="699370" y="1099159"/>
                  <a:pt x="697546" y="1102483"/>
                  <a:pt x="695195" y="1105422"/>
                </a:cubicBezTo>
                <a:cubicBezTo>
                  <a:pt x="693350" y="1107728"/>
                  <a:pt x="690450" y="1109153"/>
                  <a:pt x="688931" y="1111685"/>
                </a:cubicBezTo>
                <a:cubicBezTo>
                  <a:pt x="683372" y="1120949"/>
                  <a:pt x="689042" y="1122553"/>
                  <a:pt x="679537" y="1130474"/>
                </a:cubicBezTo>
                <a:cubicBezTo>
                  <a:pt x="674376" y="1134775"/>
                  <a:pt x="664144" y="1137693"/>
                  <a:pt x="657616" y="1139868"/>
                </a:cubicBezTo>
                <a:lnTo>
                  <a:pt x="645090" y="1158657"/>
                </a:lnTo>
                <a:lnTo>
                  <a:pt x="638827" y="1168052"/>
                </a:lnTo>
                <a:cubicBezTo>
                  <a:pt x="636739" y="1174315"/>
                  <a:pt x="633858" y="1180367"/>
                  <a:pt x="632564" y="1186841"/>
                </a:cubicBezTo>
                <a:cubicBezTo>
                  <a:pt x="631520" y="1192060"/>
                  <a:pt x="630833" y="1197364"/>
                  <a:pt x="629433" y="1202499"/>
                </a:cubicBezTo>
                <a:cubicBezTo>
                  <a:pt x="627696" y="1208868"/>
                  <a:pt x="626832" y="1215795"/>
                  <a:pt x="623170" y="1221288"/>
                </a:cubicBezTo>
                <a:cubicBezTo>
                  <a:pt x="618995" y="1227551"/>
                  <a:pt x="613025" y="1232936"/>
                  <a:pt x="610644" y="1240077"/>
                </a:cubicBezTo>
                <a:cubicBezTo>
                  <a:pt x="606322" y="1253042"/>
                  <a:pt x="609343" y="1246725"/>
                  <a:pt x="601249" y="1258866"/>
                </a:cubicBezTo>
                <a:cubicBezTo>
                  <a:pt x="593796" y="1281225"/>
                  <a:pt x="600479" y="1273993"/>
                  <a:pt x="585592" y="1283918"/>
                </a:cubicBezTo>
                <a:cubicBezTo>
                  <a:pt x="578285" y="1282874"/>
                  <a:pt x="570416" y="1283784"/>
                  <a:pt x="563671" y="1280786"/>
                </a:cubicBezTo>
                <a:cubicBezTo>
                  <a:pt x="560232" y="1279258"/>
                  <a:pt x="560069" y="1274053"/>
                  <a:pt x="557408" y="1271392"/>
                </a:cubicBezTo>
                <a:cubicBezTo>
                  <a:pt x="554747" y="1268731"/>
                  <a:pt x="551145" y="1267217"/>
                  <a:pt x="548014" y="1265129"/>
                </a:cubicBezTo>
                <a:cubicBezTo>
                  <a:pt x="545926" y="1261997"/>
                  <a:pt x="543073" y="1259258"/>
                  <a:pt x="541751" y="1255734"/>
                </a:cubicBezTo>
                <a:cubicBezTo>
                  <a:pt x="535173" y="1238192"/>
                  <a:pt x="544962" y="1235848"/>
                  <a:pt x="529225" y="1246340"/>
                </a:cubicBezTo>
                <a:cubicBezTo>
                  <a:pt x="527137" y="1249471"/>
                  <a:pt x="526230" y="1253867"/>
                  <a:pt x="522962" y="1255734"/>
                </a:cubicBezTo>
                <a:cubicBezTo>
                  <a:pt x="518341" y="1258375"/>
                  <a:pt x="512468" y="1257575"/>
                  <a:pt x="507304" y="1258866"/>
                </a:cubicBezTo>
                <a:cubicBezTo>
                  <a:pt x="477929" y="1266210"/>
                  <a:pt x="532731" y="1258127"/>
                  <a:pt x="469726" y="1265129"/>
                </a:cubicBezTo>
                <a:cubicBezTo>
                  <a:pt x="447805" y="1264085"/>
                  <a:pt x="425775" y="1264421"/>
                  <a:pt x="403964" y="1261997"/>
                </a:cubicBezTo>
                <a:cubicBezTo>
                  <a:pt x="397403" y="1261268"/>
                  <a:pt x="391438" y="1257822"/>
                  <a:pt x="385175" y="1255734"/>
                </a:cubicBezTo>
                <a:lnTo>
                  <a:pt x="375781" y="1252603"/>
                </a:lnTo>
                <a:lnTo>
                  <a:pt x="366386" y="1249471"/>
                </a:lnTo>
                <a:lnTo>
                  <a:pt x="356992" y="1246340"/>
                </a:lnTo>
                <a:cubicBezTo>
                  <a:pt x="353860" y="1244252"/>
                  <a:pt x="348169" y="1243797"/>
                  <a:pt x="347597" y="1240077"/>
                </a:cubicBezTo>
                <a:cubicBezTo>
                  <a:pt x="342269" y="1205443"/>
                  <a:pt x="339969" y="1179777"/>
                  <a:pt x="347597" y="1149263"/>
                </a:cubicBezTo>
                <a:cubicBezTo>
                  <a:pt x="348398" y="1146060"/>
                  <a:pt x="349685" y="1143000"/>
                  <a:pt x="350729" y="1139868"/>
                </a:cubicBezTo>
                <a:cubicBezTo>
                  <a:pt x="349736" y="1130934"/>
                  <a:pt x="343733" y="1112784"/>
                  <a:pt x="350729" y="1102290"/>
                </a:cubicBezTo>
                <a:cubicBezTo>
                  <a:pt x="353185" y="1098605"/>
                  <a:pt x="356721" y="1095731"/>
                  <a:pt x="360123" y="1092896"/>
                </a:cubicBezTo>
                <a:cubicBezTo>
                  <a:pt x="363014" y="1090487"/>
                  <a:pt x="366386" y="1088721"/>
                  <a:pt x="369518" y="1086633"/>
                </a:cubicBezTo>
                <a:cubicBezTo>
                  <a:pt x="375541" y="1077598"/>
                  <a:pt x="381033" y="1074157"/>
                  <a:pt x="372649" y="1061581"/>
                </a:cubicBezTo>
                <a:cubicBezTo>
                  <a:pt x="370818" y="1058835"/>
                  <a:pt x="366386" y="1059493"/>
                  <a:pt x="363255" y="1058449"/>
                </a:cubicBezTo>
                <a:cubicBezTo>
                  <a:pt x="360123" y="1059493"/>
                  <a:pt x="356607" y="1059750"/>
                  <a:pt x="353860" y="1061581"/>
                </a:cubicBezTo>
                <a:cubicBezTo>
                  <a:pt x="350175" y="1064037"/>
                  <a:pt x="348834" y="1070247"/>
                  <a:pt x="344466" y="1070975"/>
                </a:cubicBezTo>
                <a:cubicBezTo>
                  <a:pt x="340753" y="1071594"/>
                  <a:pt x="338203" y="1066800"/>
                  <a:pt x="335071" y="1064712"/>
                </a:cubicBezTo>
                <a:cubicBezTo>
                  <a:pt x="334027" y="1061581"/>
                  <a:pt x="331940" y="1058619"/>
                  <a:pt x="331940" y="1055318"/>
                </a:cubicBezTo>
                <a:cubicBezTo>
                  <a:pt x="331940" y="1047444"/>
                  <a:pt x="338166" y="1042864"/>
                  <a:pt x="341334" y="1036529"/>
                </a:cubicBezTo>
                <a:cubicBezTo>
                  <a:pt x="342810" y="1033576"/>
                  <a:pt x="343422" y="1030266"/>
                  <a:pt x="344466" y="1027134"/>
                </a:cubicBezTo>
                <a:cubicBezTo>
                  <a:pt x="339845" y="1020202"/>
                  <a:pt x="336041" y="1013167"/>
                  <a:pt x="328808" y="1008345"/>
                </a:cubicBezTo>
                <a:cubicBezTo>
                  <a:pt x="326062" y="1006514"/>
                  <a:pt x="322545" y="1006258"/>
                  <a:pt x="319414" y="1005214"/>
                </a:cubicBezTo>
                <a:cubicBezTo>
                  <a:pt x="320458" y="998951"/>
                  <a:pt x="320537" y="992449"/>
                  <a:pt x="322545" y="986425"/>
                </a:cubicBezTo>
                <a:cubicBezTo>
                  <a:pt x="325137" y="978649"/>
                  <a:pt x="333357" y="973449"/>
                  <a:pt x="338203" y="967635"/>
                </a:cubicBezTo>
                <a:cubicBezTo>
                  <a:pt x="340612" y="964744"/>
                  <a:pt x="342378" y="961372"/>
                  <a:pt x="344466" y="958241"/>
                </a:cubicBezTo>
                <a:cubicBezTo>
                  <a:pt x="345510" y="955109"/>
                  <a:pt x="347597" y="952147"/>
                  <a:pt x="347597" y="948846"/>
                </a:cubicBezTo>
                <a:cubicBezTo>
                  <a:pt x="347597" y="934074"/>
                  <a:pt x="337837" y="938752"/>
                  <a:pt x="325677" y="936320"/>
                </a:cubicBezTo>
                <a:cubicBezTo>
                  <a:pt x="321457" y="935476"/>
                  <a:pt x="317326" y="934233"/>
                  <a:pt x="313151" y="933189"/>
                </a:cubicBezTo>
                <a:cubicBezTo>
                  <a:pt x="311063" y="930057"/>
                  <a:pt x="308571" y="927160"/>
                  <a:pt x="306888" y="923794"/>
                </a:cubicBezTo>
                <a:cubicBezTo>
                  <a:pt x="303107" y="916231"/>
                  <a:pt x="304970" y="910987"/>
                  <a:pt x="297493" y="905005"/>
                </a:cubicBezTo>
                <a:cubicBezTo>
                  <a:pt x="294916" y="902943"/>
                  <a:pt x="291230" y="902918"/>
                  <a:pt x="288099" y="901874"/>
                </a:cubicBezTo>
                <a:cubicBezTo>
                  <a:pt x="284967" y="903962"/>
                  <a:pt x="281055" y="905198"/>
                  <a:pt x="278704" y="908137"/>
                </a:cubicBezTo>
                <a:cubicBezTo>
                  <a:pt x="268618" y="920744"/>
                  <a:pt x="283977" y="915192"/>
                  <a:pt x="269310" y="926926"/>
                </a:cubicBezTo>
                <a:cubicBezTo>
                  <a:pt x="266102" y="929492"/>
                  <a:pt x="245034" y="933034"/>
                  <a:pt x="244258" y="933189"/>
                </a:cubicBezTo>
                <a:cubicBezTo>
                  <a:pt x="236205" y="965402"/>
                  <a:pt x="246516" y="957024"/>
                  <a:pt x="216074" y="961372"/>
                </a:cubicBezTo>
                <a:cubicBezTo>
                  <a:pt x="212942" y="964504"/>
                  <a:pt x="210976" y="969693"/>
                  <a:pt x="206679" y="970767"/>
                </a:cubicBezTo>
                <a:cubicBezTo>
                  <a:pt x="189566" y="975045"/>
                  <a:pt x="185596" y="959495"/>
                  <a:pt x="178496" y="948846"/>
                </a:cubicBezTo>
                <a:cubicBezTo>
                  <a:pt x="176665" y="946099"/>
                  <a:pt x="172233" y="946759"/>
                  <a:pt x="169101" y="945715"/>
                </a:cubicBezTo>
                <a:cubicBezTo>
                  <a:pt x="164926" y="946759"/>
                  <a:pt x="159936" y="946157"/>
                  <a:pt x="156575" y="948846"/>
                </a:cubicBezTo>
                <a:cubicBezTo>
                  <a:pt x="153997" y="950908"/>
                  <a:pt x="154312" y="955056"/>
                  <a:pt x="153444" y="958241"/>
                </a:cubicBezTo>
                <a:cubicBezTo>
                  <a:pt x="151599" y="965007"/>
                  <a:pt x="149625" y="985723"/>
                  <a:pt x="140918" y="992688"/>
                </a:cubicBezTo>
                <a:cubicBezTo>
                  <a:pt x="138340" y="994750"/>
                  <a:pt x="134655" y="994775"/>
                  <a:pt x="131523" y="995819"/>
                </a:cubicBezTo>
                <a:cubicBezTo>
                  <a:pt x="128392" y="997907"/>
                  <a:pt x="122701" y="998362"/>
                  <a:pt x="122129" y="1002082"/>
                </a:cubicBezTo>
                <a:cubicBezTo>
                  <a:pt x="117123" y="1034625"/>
                  <a:pt x="137621" y="1044770"/>
                  <a:pt x="115866" y="1030266"/>
                </a:cubicBezTo>
                <a:cubicBezTo>
                  <a:pt x="113778" y="1027134"/>
                  <a:pt x="112795" y="1022866"/>
                  <a:pt x="109603" y="1020871"/>
                </a:cubicBezTo>
                <a:cubicBezTo>
                  <a:pt x="104005" y="1017372"/>
                  <a:pt x="90814" y="1014608"/>
                  <a:pt x="90814" y="1014608"/>
                </a:cubicBezTo>
                <a:cubicBezTo>
                  <a:pt x="88726" y="1011477"/>
                  <a:pt x="87212" y="1007875"/>
                  <a:pt x="84551" y="1005214"/>
                </a:cubicBezTo>
                <a:cubicBezTo>
                  <a:pt x="73140" y="993804"/>
                  <a:pt x="60192" y="997454"/>
                  <a:pt x="43841" y="995819"/>
                </a:cubicBezTo>
                <a:cubicBezTo>
                  <a:pt x="41753" y="992688"/>
                  <a:pt x="38272" y="990124"/>
                  <a:pt x="37578" y="986425"/>
                </a:cubicBezTo>
                <a:cubicBezTo>
                  <a:pt x="29004" y="940693"/>
                  <a:pt x="48617" y="950439"/>
                  <a:pt x="25052" y="942583"/>
                </a:cubicBezTo>
                <a:cubicBezTo>
                  <a:pt x="20214" y="935327"/>
                  <a:pt x="11859" y="927593"/>
                  <a:pt x="21921" y="917531"/>
                </a:cubicBezTo>
                <a:cubicBezTo>
                  <a:pt x="25684" y="913768"/>
                  <a:pt x="32359" y="915444"/>
                  <a:pt x="37578" y="914400"/>
                </a:cubicBezTo>
                <a:cubicBezTo>
                  <a:pt x="40710" y="912312"/>
                  <a:pt x="44312" y="910798"/>
                  <a:pt x="46973" y="908137"/>
                </a:cubicBezTo>
                <a:cubicBezTo>
                  <a:pt x="49634" y="905476"/>
                  <a:pt x="50044" y="900737"/>
                  <a:pt x="53236" y="898742"/>
                </a:cubicBezTo>
                <a:cubicBezTo>
                  <a:pt x="58834" y="895243"/>
                  <a:pt x="72025" y="892479"/>
                  <a:pt x="72025" y="892479"/>
                </a:cubicBezTo>
                <a:cubicBezTo>
                  <a:pt x="74113" y="889348"/>
                  <a:pt x="77669" y="886797"/>
                  <a:pt x="78288" y="883085"/>
                </a:cubicBezTo>
                <a:cubicBezTo>
                  <a:pt x="78831" y="879829"/>
                  <a:pt x="76632" y="876643"/>
                  <a:pt x="75156" y="873690"/>
                </a:cubicBezTo>
                <a:cubicBezTo>
                  <a:pt x="73473" y="870324"/>
                  <a:pt x="71832" y="866647"/>
                  <a:pt x="68893" y="864296"/>
                </a:cubicBezTo>
                <a:cubicBezTo>
                  <a:pt x="66316" y="862234"/>
                  <a:pt x="62451" y="862640"/>
                  <a:pt x="59499" y="861164"/>
                </a:cubicBezTo>
                <a:cubicBezTo>
                  <a:pt x="56133" y="859481"/>
                  <a:pt x="53236" y="856989"/>
                  <a:pt x="50104" y="854901"/>
                </a:cubicBezTo>
                <a:cubicBezTo>
                  <a:pt x="49060" y="844463"/>
                  <a:pt x="50558" y="833445"/>
                  <a:pt x="46973" y="823586"/>
                </a:cubicBezTo>
                <a:cubicBezTo>
                  <a:pt x="45845" y="820484"/>
                  <a:pt x="40815" y="821102"/>
                  <a:pt x="37578" y="820455"/>
                </a:cubicBezTo>
                <a:cubicBezTo>
                  <a:pt x="30340" y="819007"/>
                  <a:pt x="22965" y="818367"/>
                  <a:pt x="15658" y="817323"/>
                </a:cubicBezTo>
                <a:cubicBezTo>
                  <a:pt x="11005" y="803367"/>
                  <a:pt x="9680" y="809294"/>
                  <a:pt x="25052" y="798534"/>
                </a:cubicBezTo>
                <a:cubicBezTo>
                  <a:pt x="31218" y="794217"/>
                  <a:pt x="43841" y="786008"/>
                  <a:pt x="43841" y="786008"/>
                </a:cubicBezTo>
                <a:cubicBezTo>
                  <a:pt x="39666" y="784964"/>
                  <a:pt x="35535" y="783721"/>
                  <a:pt x="31315" y="782877"/>
                </a:cubicBezTo>
                <a:cubicBezTo>
                  <a:pt x="25089" y="781632"/>
                  <a:pt x="15153" y="785525"/>
                  <a:pt x="12526" y="779745"/>
                </a:cubicBezTo>
                <a:cubicBezTo>
                  <a:pt x="8185" y="770195"/>
                  <a:pt x="14432" y="758849"/>
                  <a:pt x="15658" y="748430"/>
                </a:cubicBezTo>
                <a:cubicBezTo>
                  <a:pt x="18275" y="726182"/>
                  <a:pt x="16893" y="732196"/>
                  <a:pt x="21921" y="717115"/>
                </a:cubicBezTo>
                <a:cubicBezTo>
                  <a:pt x="-1" y="709808"/>
                  <a:pt x="5218" y="717115"/>
                  <a:pt x="0" y="701457"/>
                </a:cubicBezTo>
                <a:cubicBezTo>
                  <a:pt x="2916" y="686876"/>
                  <a:pt x="-623" y="685381"/>
                  <a:pt x="12526" y="679537"/>
                </a:cubicBezTo>
                <a:cubicBezTo>
                  <a:pt x="18559" y="676856"/>
                  <a:pt x="31315" y="673274"/>
                  <a:pt x="31315" y="673274"/>
                </a:cubicBezTo>
                <a:cubicBezTo>
                  <a:pt x="34447" y="671186"/>
                  <a:pt x="37819" y="669421"/>
                  <a:pt x="40710" y="667011"/>
                </a:cubicBezTo>
                <a:cubicBezTo>
                  <a:pt x="44112" y="664176"/>
                  <a:pt x="46233" y="659767"/>
                  <a:pt x="50104" y="657616"/>
                </a:cubicBezTo>
                <a:cubicBezTo>
                  <a:pt x="55875" y="654410"/>
                  <a:pt x="62630" y="653441"/>
                  <a:pt x="68893" y="651353"/>
                </a:cubicBezTo>
                <a:lnTo>
                  <a:pt x="87682" y="645090"/>
                </a:lnTo>
                <a:cubicBezTo>
                  <a:pt x="94823" y="642709"/>
                  <a:pt x="100208" y="636739"/>
                  <a:pt x="106471" y="632564"/>
                </a:cubicBezTo>
                <a:cubicBezTo>
                  <a:pt x="109218" y="630733"/>
                  <a:pt x="112734" y="630477"/>
                  <a:pt x="115866" y="629433"/>
                </a:cubicBezTo>
                <a:cubicBezTo>
                  <a:pt x="130753" y="619508"/>
                  <a:pt x="121689" y="624361"/>
                  <a:pt x="144049" y="616907"/>
                </a:cubicBezTo>
                <a:lnTo>
                  <a:pt x="153444" y="613775"/>
                </a:lnTo>
                <a:cubicBezTo>
                  <a:pt x="167801" y="592240"/>
                  <a:pt x="158829" y="597366"/>
                  <a:pt x="175364" y="591855"/>
                </a:cubicBezTo>
                <a:cubicBezTo>
                  <a:pt x="182671" y="613776"/>
                  <a:pt x="175364" y="608557"/>
                  <a:pt x="191022" y="613775"/>
                </a:cubicBezTo>
                <a:cubicBezTo>
                  <a:pt x="194153" y="612731"/>
                  <a:pt x="197136" y="610279"/>
                  <a:pt x="200416" y="610644"/>
                </a:cubicBezTo>
                <a:cubicBezTo>
                  <a:pt x="206977" y="611373"/>
                  <a:pt x="219205" y="616907"/>
                  <a:pt x="219205" y="616907"/>
                </a:cubicBezTo>
                <a:cubicBezTo>
                  <a:pt x="233819" y="615863"/>
                  <a:pt x="248619" y="616321"/>
                  <a:pt x="263047" y="613775"/>
                </a:cubicBezTo>
                <a:cubicBezTo>
                  <a:pt x="272341" y="612135"/>
                  <a:pt x="273747" y="605422"/>
                  <a:pt x="275573" y="598118"/>
                </a:cubicBezTo>
                <a:cubicBezTo>
                  <a:pt x="277362" y="590963"/>
                  <a:pt x="278254" y="580229"/>
                  <a:pt x="281836" y="573066"/>
                </a:cubicBezTo>
                <a:cubicBezTo>
                  <a:pt x="283519" y="569700"/>
                  <a:pt x="285160" y="566022"/>
                  <a:pt x="288099" y="563671"/>
                </a:cubicBezTo>
                <a:cubicBezTo>
                  <a:pt x="290676" y="561609"/>
                  <a:pt x="294231" y="561042"/>
                  <a:pt x="297493" y="560540"/>
                </a:cubicBezTo>
                <a:cubicBezTo>
                  <a:pt x="307861" y="558945"/>
                  <a:pt x="318370" y="558452"/>
                  <a:pt x="328808" y="557408"/>
                </a:cubicBezTo>
                <a:lnTo>
                  <a:pt x="347597" y="551145"/>
                </a:lnTo>
                <a:cubicBezTo>
                  <a:pt x="351168" y="549955"/>
                  <a:pt x="353626" y="546565"/>
                  <a:pt x="356992" y="544882"/>
                </a:cubicBezTo>
                <a:cubicBezTo>
                  <a:pt x="359944" y="543406"/>
                  <a:pt x="363255" y="542795"/>
                  <a:pt x="366386" y="541751"/>
                </a:cubicBezTo>
                <a:cubicBezTo>
                  <a:pt x="372649" y="537576"/>
                  <a:pt x="378034" y="531605"/>
                  <a:pt x="385175" y="529225"/>
                </a:cubicBezTo>
                <a:lnTo>
                  <a:pt x="422753" y="516699"/>
                </a:lnTo>
                <a:cubicBezTo>
                  <a:pt x="425885" y="515655"/>
                  <a:pt x="429401" y="515398"/>
                  <a:pt x="432148" y="513567"/>
                </a:cubicBezTo>
                <a:cubicBezTo>
                  <a:pt x="453683" y="499210"/>
                  <a:pt x="443796" y="503422"/>
                  <a:pt x="460331" y="497909"/>
                </a:cubicBezTo>
                <a:cubicBezTo>
                  <a:pt x="462419" y="495821"/>
                  <a:pt x="464063" y="493165"/>
                  <a:pt x="466595" y="491646"/>
                </a:cubicBezTo>
                <a:cubicBezTo>
                  <a:pt x="486765" y="479545"/>
                  <a:pt x="465027" y="499217"/>
                  <a:pt x="485384" y="482252"/>
                </a:cubicBezTo>
                <a:cubicBezTo>
                  <a:pt x="516170" y="456596"/>
                  <a:pt x="476404" y="488098"/>
                  <a:pt x="501041" y="463463"/>
                </a:cubicBezTo>
                <a:cubicBezTo>
                  <a:pt x="503702" y="460802"/>
                  <a:pt x="507304" y="459288"/>
                  <a:pt x="510436" y="457200"/>
                </a:cubicBezTo>
                <a:cubicBezTo>
                  <a:pt x="511480" y="454068"/>
                  <a:pt x="511505" y="450383"/>
                  <a:pt x="513567" y="447805"/>
                </a:cubicBezTo>
                <a:cubicBezTo>
                  <a:pt x="515918" y="444866"/>
                  <a:pt x="520071" y="443951"/>
                  <a:pt x="522962" y="441542"/>
                </a:cubicBezTo>
                <a:cubicBezTo>
                  <a:pt x="526364" y="438707"/>
                  <a:pt x="529225" y="435279"/>
                  <a:pt x="532356" y="432148"/>
                </a:cubicBezTo>
                <a:cubicBezTo>
                  <a:pt x="534168" y="386846"/>
                  <a:pt x="513970" y="363052"/>
                  <a:pt x="544882" y="347597"/>
                </a:cubicBezTo>
                <a:cubicBezTo>
                  <a:pt x="547835" y="346121"/>
                  <a:pt x="551075" y="345267"/>
                  <a:pt x="554277" y="344466"/>
                </a:cubicBezTo>
                <a:cubicBezTo>
                  <a:pt x="559440" y="343175"/>
                  <a:pt x="564715" y="342378"/>
                  <a:pt x="569934" y="341334"/>
                </a:cubicBezTo>
                <a:cubicBezTo>
                  <a:pt x="597371" y="313900"/>
                  <a:pt x="563801" y="348695"/>
                  <a:pt x="585592" y="322545"/>
                </a:cubicBezTo>
                <a:cubicBezTo>
                  <a:pt x="588427" y="319143"/>
                  <a:pt x="590675" y="314165"/>
                  <a:pt x="594986" y="313151"/>
                </a:cubicBezTo>
                <a:cubicBezTo>
                  <a:pt x="609247" y="309795"/>
                  <a:pt x="624213" y="311063"/>
                  <a:pt x="638827" y="310019"/>
                </a:cubicBezTo>
                <a:cubicBezTo>
                  <a:pt x="639871" y="306888"/>
                  <a:pt x="642502" y="303881"/>
                  <a:pt x="641959" y="300625"/>
                </a:cubicBezTo>
                <a:cubicBezTo>
                  <a:pt x="641340" y="296912"/>
                  <a:pt x="637379" y="294596"/>
                  <a:pt x="635696" y="291230"/>
                </a:cubicBezTo>
                <a:cubicBezTo>
                  <a:pt x="629595" y="279029"/>
                  <a:pt x="635460" y="283373"/>
                  <a:pt x="629433" y="269309"/>
                </a:cubicBezTo>
                <a:cubicBezTo>
                  <a:pt x="627951" y="265850"/>
                  <a:pt x="625258" y="263046"/>
                  <a:pt x="623170" y="259915"/>
                </a:cubicBezTo>
                <a:cubicBezTo>
                  <a:pt x="624214" y="253652"/>
                  <a:pt x="623102" y="246610"/>
                  <a:pt x="626301" y="241126"/>
                </a:cubicBezTo>
                <a:cubicBezTo>
                  <a:pt x="630764" y="233475"/>
                  <a:pt x="645090" y="222337"/>
                  <a:pt x="645090" y="222337"/>
                </a:cubicBezTo>
                <a:cubicBezTo>
                  <a:pt x="646134" y="219205"/>
                  <a:pt x="646195" y="215548"/>
                  <a:pt x="648222" y="212942"/>
                </a:cubicBezTo>
                <a:cubicBezTo>
                  <a:pt x="653660" y="205951"/>
                  <a:pt x="667011" y="194153"/>
                  <a:pt x="667011" y="194153"/>
                </a:cubicBezTo>
                <a:lnTo>
                  <a:pt x="676405" y="165970"/>
                </a:lnTo>
                <a:cubicBezTo>
                  <a:pt x="677449" y="162838"/>
                  <a:pt x="680581" y="160228"/>
                  <a:pt x="679537" y="156575"/>
                </a:cubicBezTo>
                <a:cubicBezTo>
                  <a:pt x="678493" y="152922"/>
                  <a:pt x="673274" y="148224"/>
                  <a:pt x="670142" y="144049"/>
                </a:cubicBezTo>
                <a:cubicBezTo>
                  <a:pt x="670142" y="135698"/>
                  <a:pt x="666489" y="115865"/>
                  <a:pt x="667011" y="106471"/>
                </a:cubicBezTo>
                <a:cubicBezTo>
                  <a:pt x="667533" y="97077"/>
                  <a:pt x="680059" y="93423"/>
                  <a:pt x="685800" y="87682"/>
                </a:cubicBezTo>
                <a:cubicBezTo>
                  <a:pt x="691541" y="81941"/>
                  <a:pt x="696363" y="74289"/>
                  <a:pt x="701458" y="72025"/>
                </a:cubicBezTo>
                <a:cubicBezTo>
                  <a:pt x="707491" y="69344"/>
                  <a:pt x="720247" y="65762"/>
                  <a:pt x="720247" y="65762"/>
                </a:cubicBezTo>
                <a:cubicBezTo>
                  <a:pt x="724422" y="59499"/>
                  <a:pt x="730393" y="54113"/>
                  <a:pt x="732773" y="46972"/>
                </a:cubicBezTo>
                <a:cubicBezTo>
                  <a:pt x="733817" y="43841"/>
                  <a:pt x="734301" y="40463"/>
                  <a:pt x="735904" y="37578"/>
                </a:cubicBezTo>
                <a:cubicBezTo>
                  <a:pt x="739559" y="30998"/>
                  <a:pt x="744255" y="25052"/>
                  <a:pt x="748430" y="18789"/>
                </a:cubicBezTo>
                <a:cubicBezTo>
                  <a:pt x="752605" y="12526"/>
                  <a:pt x="760956" y="10438"/>
                  <a:pt x="767219" y="6263"/>
                </a:cubicBezTo>
                <a:lnTo>
                  <a:pt x="776614" y="0"/>
                </a:lnTo>
                <a:cubicBezTo>
                  <a:pt x="782529" y="657"/>
                  <a:pt x="807288" y="-961"/>
                  <a:pt x="814192" y="9394"/>
                </a:cubicBezTo>
                <a:cubicBezTo>
                  <a:pt x="816579" y="12975"/>
                  <a:pt x="816279" y="17745"/>
                  <a:pt x="817323" y="21920"/>
                </a:cubicBezTo>
                <a:cubicBezTo>
                  <a:pt x="818367" y="35490"/>
                  <a:pt x="818767" y="49125"/>
                  <a:pt x="820455" y="62630"/>
                </a:cubicBezTo>
                <a:cubicBezTo>
                  <a:pt x="820864" y="65906"/>
                  <a:pt x="820455" y="71503"/>
                  <a:pt x="823586" y="72025"/>
                </a:cubicBezTo>
                <a:cubicBezTo>
                  <a:pt x="826717" y="72547"/>
                  <a:pt x="833503" y="66284"/>
                  <a:pt x="839244" y="65762"/>
                </a:cubicBezTo>
                <a:cubicBezTo>
                  <a:pt x="844985" y="65240"/>
                  <a:pt x="851248" y="67327"/>
                  <a:pt x="858033" y="68893"/>
                </a:cubicBezTo>
                <a:cubicBezTo>
                  <a:pt x="864818" y="70459"/>
                  <a:pt x="878387" y="70981"/>
                  <a:pt x="883084" y="75156"/>
                </a:cubicBezTo>
                <a:cubicBezTo>
                  <a:pt x="887781" y="79331"/>
                  <a:pt x="882041" y="92901"/>
                  <a:pt x="886216" y="93945"/>
                </a:cubicBezTo>
                <a:cubicBezTo>
                  <a:pt x="898901" y="106630"/>
                  <a:pt x="901360" y="111546"/>
                  <a:pt x="914400" y="118997"/>
                </a:cubicBezTo>
                <a:cubicBezTo>
                  <a:pt x="948101" y="138254"/>
                  <a:pt x="899754" y="107146"/>
                  <a:pt x="945715" y="137786"/>
                </a:cubicBezTo>
                <a:cubicBezTo>
                  <a:pt x="948847" y="139874"/>
                  <a:pt x="952449" y="141388"/>
                  <a:pt x="955110" y="144049"/>
                </a:cubicBezTo>
                <a:cubicBezTo>
                  <a:pt x="961373" y="150312"/>
                  <a:pt x="965548" y="159185"/>
                  <a:pt x="973899" y="162838"/>
                </a:cubicBezTo>
                <a:cubicBezTo>
                  <a:pt x="982250" y="166491"/>
                  <a:pt x="993158" y="153914"/>
                  <a:pt x="1005214" y="165970"/>
                </a:cubicBezTo>
                <a:cubicBezTo>
                  <a:pt x="1016475" y="163154"/>
                  <a:pt x="1016696" y="174843"/>
                  <a:pt x="1020871" y="178496"/>
                </a:cubicBezTo>
                <a:cubicBezTo>
                  <a:pt x="1025046" y="182149"/>
                  <a:pt x="1027134" y="184759"/>
                  <a:pt x="1030266" y="187890"/>
                </a:cubicBezTo>
                <a:lnTo>
                  <a:pt x="1036529" y="206679"/>
                </a:lnTo>
                <a:cubicBezTo>
                  <a:pt x="1037890" y="210762"/>
                  <a:pt x="1037735" y="215356"/>
                  <a:pt x="1039660" y="219205"/>
                </a:cubicBezTo>
                <a:cubicBezTo>
                  <a:pt x="1043026" y="225938"/>
                  <a:pt x="1048011" y="231731"/>
                  <a:pt x="1052186" y="237994"/>
                </a:cubicBezTo>
                <a:lnTo>
                  <a:pt x="1058449" y="247389"/>
                </a:lnTo>
                <a:cubicBezTo>
                  <a:pt x="1060537" y="250521"/>
                  <a:pt x="1064712" y="251564"/>
                  <a:pt x="1067844" y="253652"/>
                </a:cubicBezTo>
                <a:cubicBezTo>
                  <a:pt x="1068888" y="256783"/>
                  <a:pt x="1069499" y="260094"/>
                  <a:pt x="1070975" y="263046"/>
                </a:cubicBezTo>
                <a:cubicBezTo>
                  <a:pt x="1072658" y="266412"/>
                  <a:pt x="1075916" y="268917"/>
                  <a:pt x="1077238" y="272441"/>
                </a:cubicBezTo>
                <a:cubicBezTo>
                  <a:pt x="1082595" y="286726"/>
                  <a:pt x="1077709" y="285908"/>
                  <a:pt x="1083501" y="297493"/>
                </a:cubicBezTo>
                <a:cubicBezTo>
                  <a:pt x="1088616" y="307723"/>
                  <a:pt x="1097279" y="315657"/>
                  <a:pt x="1108553" y="319414"/>
                </a:cubicBezTo>
                <a:lnTo>
                  <a:pt x="1117948" y="322545"/>
                </a:lnTo>
                <a:cubicBezTo>
                  <a:pt x="1118992" y="325677"/>
                  <a:pt x="1118745" y="329606"/>
                  <a:pt x="1121079" y="331940"/>
                </a:cubicBezTo>
                <a:cubicBezTo>
                  <a:pt x="1123413" y="334274"/>
                  <a:pt x="1126299" y="336637"/>
                  <a:pt x="1130474" y="335071"/>
                </a:cubicBezTo>
                <a:cubicBezTo>
                  <a:pt x="1134649" y="333505"/>
                  <a:pt x="1138824" y="322023"/>
                  <a:pt x="1146131" y="322545"/>
                </a:cubicBezTo>
                <a:cubicBezTo>
                  <a:pt x="1153438" y="323067"/>
                  <a:pt x="1167530" y="337681"/>
                  <a:pt x="1174315" y="338203"/>
                </a:cubicBezTo>
                <a:cubicBezTo>
                  <a:pt x="1177447" y="339247"/>
                  <a:pt x="1180409" y="341334"/>
                  <a:pt x="1183710" y="341334"/>
                </a:cubicBezTo>
                <a:cubicBezTo>
                  <a:pt x="1192564" y="341334"/>
                  <a:pt x="1210786" y="334397"/>
                  <a:pt x="1218156" y="331940"/>
                </a:cubicBezTo>
                <a:lnTo>
                  <a:pt x="1227551" y="328808"/>
                </a:lnTo>
                <a:cubicBezTo>
                  <a:pt x="1230682" y="329852"/>
                  <a:pt x="1235901" y="328809"/>
                  <a:pt x="1236945" y="331940"/>
                </a:cubicBezTo>
                <a:cubicBezTo>
                  <a:pt x="1240945" y="343940"/>
                  <a:pt x="1230921" y="350490"/>
                  <a:pt x="1224419" y="356992"/>
                </a:cubicBezTo>
                <a:cubicBezTo>
                  <a:pt x="1225463" y="365343"/>
                  <a:pt x="1225337" y="373925"/>
                  <a:pt x="1227551" y="382044"/>
                </a:cubicBezTo>
                <a:cubicBezTo>
                  <a:pt x="1228541" y="385675"/>
                  <a:pt x="1232131" y="388072"/>
                  <a:pt x="1233814" y="391438"/>
                </a:cubicBezTo>
                <a:cubicBezTo>
                  <a:pt x="1235290" y="394391"/>
                  <a:pt x="1235469" y="397880"/>
                  <a:pt x="1236945" y="400833"/>
                </a:cubicBezTo>
                <a:cubicBezTo>
                  <a:pt x="1238628" y="404199"/>
                  <a:pt x="1241679" y="406788"/>
                  <a:pt x="1243208" y="410227"/>
                </a:cubicBezTo>
                <a:cubicBezTo>
                  <a:pt x="1245889" y="416260"/>
                  <a:pt x="1249471" y="429016"/>
                  <a:pt x="1249471" y="429016"/>
                </a:cubicBezTo>
                <a:cubicBezTo>
                  <a:pt x="1248427" y="435279"/>
                  <a:pt x="1249981" y="442603"/>
                  <a:pt x="1246340" y="447805"/>
                </a:cubicBezTo>
                <a:cubicBezTo>
                  <a:pt x="1242024" y="453972"/>
                  <a:pt x="1227551" y="460331"/>
                  <a:pt x="1227551" y="460331"/>
                </a:cubicBezTo>
                <a:cubicBezTo>
                  <a:pt x="1226233" y="462308"/>
                  <a:pt x="1216536" y="475070"/>
                  <a:pt x="1218156" y="479120"/>
                </a:cubicBezTo>
                <a:cubicBezTo>
                  <a:pt x="1219554" y="482615"/>
                  <a:pt x="1223816" y="484916"/>
                  <a:pt x="1227551" y="485383"/>
                </a:cubicBezTo>
                <a:cubicBezTo>
                  <a:pt x="1241016" y="487066"/>
                  <a:pt x="1254169" y="487993"/>
                  <a:pt x="1258866" y="491646"/>
                </a:cubicBezTo>
                <a:close/>
              </a:path>
            </a:pathLst>
          </a:custGeom>
          <a:solidFill>
            <a:srgbClr val="F8C7A3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srgbClr val="182F41"/>
              </a:solidFill>
            </a:endParaRPr>
          </a:p>
        </p:txBody>
      </p:sp>
      <p:sp>
        <p:nvSpPr>
          <p:cNvPr id="14" name="Forme libre 119">
            <a:extLst>
              <a:ext uri="{FF2B5EF4-FFF2-40B4-BE49-F238E27FC236}">
                <a16:creationId xmlns:a16="http://schemas.microsoft.com/office/drawing/2014/main" id="{55799064-25EF-4E95-A75C-C40C3410C18B}"/>
              </a:ext>
            </a:extLst>
          </p:cNvPr>
          <p:cNvSpPr/>
          <p:nvPr/>
        </p:nvSpPr>
        <p:spPr>
          <a:xfrm>
            <a:off x="2392363" y="2987676"/>
            <a:ext cx="985838" cy="1031609"/>
          </a:xfrm>
          <a:custGeom>
            <a:avLst/>
            <a:gdLst>
              <a:gd name="connsiteX0" fmla="*/ 980162 w 998951"/>
              <a:gd name="connsiteY0" fmla="*/ 563672 h 983294"/>
              <a:gd name="connsiteX1" fmla="*/ 955110 w 998951"/>
              <a:gd name="connsiteY1" fmla="*/ 563672 h 983294"/>
              <a:gd name="connsiteX2" fmla="*/ 936321 w 998951"/>
              <a:gd name="connsiteY2" fmla="*/ 576198 h 983294"/>
              <a:gd name="connsiteX3" fmla="*/ 851770 w 998951"/>
              <a:gd name="connsiteY3" fmla="*/ 569935 h 983294"/>
              <a:gd name="connsiteX4" fmla="*/ 842375 w 998951"/>
              <a:gd name="connsiteY4" fmla="*/ 566803 h 983294"/>
              <a:gd name="connsiteX5" fmla="*/ 776614 w 998951"/>
              <a:gd name="connsiteY5" fmla="*/ 569935 h 983294"/>
              <a:gd name="connsiteX6" fmla="*/ 764088 w 998951"/>
              <a:gd name="connsiteY6" fmla="*/ 579329 h 983294"/>
              <a:gd name="connsiteX7" fmla="*/ 754693 w 998951"/>
              <a:gd name="connsiteY7" fmla="*/ 582461 h 983294"/>
              <a:gd name="connsiteX8" fmla="*/ 745299 w 998951"/>
              <a:gd name="connsiteY8" fmla="*/ 588724 h 983294"/>
              <a:gd name="connsiteX9" fmla="*/ 688932 w 998951"/>
              <a:gd name="connsiteY9" fmla="*/ 601250 h 983294"/>
              <a:gd name="connsiteX10" fmla="*/ 679537 w 998951"/>
              <a:gd name="connsiteY10" fmla="*/ 610644 h 983294"/>
              <a:gd name="connsiteX11" fmla="*/ 660748 w 998951"/>
              <a:gd name="connsiteY11" fmla="*/ 623170 h 983294"/>
              <a:gd name="connsiteX12" fmla="*/ 641959 w 998951"/>
              <a:gd name="connsiteY12" fmla="*/ 635696 h 983294"/>
              <a:gd name="connsiteX13" fmla="*/ 623170 w 998951"/>
              <a:gd name="connsiteY13" fmla="*/ 641959 h 983294"/>
              <a:gd name="connsiteX14" fmla="*/ 604381 w 998951"/>
              <a:gd name="connsiteY14" fmla="*/ 654485 h 983294"/>
              <a:gd name="connsiteX15" fmla="*/ 598118 w 998951"/>
              <a:gd name="connsiteY15" fmla="*/ 663880 h 983294"/>
              <a:gd name="connsiteX16" fmla="*/ 579329 w 998951"/>
              <a:gd name="connsiteY16" fmla="*/ 676406 h 983294"/>
              <a:gd name="connsiteX17" fmla="*/ 569934 w 998951"/>
              <a:gd name="connsiteY17" fmla="*/ 685800 h 983294"/>
              <a:gd name="connsiteX18" fmla="*/ 557408 w 998951"/>
              <a:gd name="connsiteY18" fmla="*/ 695195 h 983294"/>
              <a:gd name="connsiteX19" fmla="*/ 529225 w 998951"/>
              <a:gd name="connsiteY19" fmla="*/ 713984 h 983294"/>
              <a:gd name="connsiteX20" fmla="*/ 519830 w 998951"/>
              <a:gd name="connsiteY20" fmla="*/ 723378 h 983294"/>
              <a:gd name="connsiteX21" fmla="*/ 501041 w 998951"/>
              <a:gd name="connsiteY21" fmla="*/ 735904 h 983294"/>
              <a:gd name="connsiteX22" fmla="*/ 485384 w 998951"/>
              <a:gd name="connsiteY22" fmla="*/ 751562 h 983294"/>
              <a:gd name="connsiteX23" fmla="*/ 466595 w 998951"/>
              <a:gd name="connsiteY23" fmla="*/ 770351 h 983294"/>
              <a:gd name="connsiteX24" fmla="*/ 447806 w 998951"/>
              <a:gd name="connsiteY24" fmla="*/ 789140 h 983294"/>
              <a:gd name="connsiteX25" fmla="*/ 441543 w 998951"/>
              <a:gd name="connsiteY25" fmla="*/ 798535 h 983294"/>
              <a:gd name="connsiteX26" fmla="*/ 422754 w 998951"/>
              <a:gd name="connsiteY26" fmla="*/ 811061 h 983294"/>
              <a:gd name="connsiteX27" fmla="*/ 397701 w 998951"/>
              <a:gd name="connsiteY27" fmla="*/ 832981 h 983294"/>
              <a:gd name="connsiteX28" fmla="*/ 388307 w 998951"/>
              <a:gd name="connsiteY28" fmla="*/ 839244 h 983294"/>
              <a:gd name="connsiteX29" fmla="*/ 378912 w 998951"/>
              <a:gd name="connsiteY29" fmla="*/ 845507 h 983294"/>
              <a:gd name="connsiteX30" fmla="*/ 372649 w 998951"/>
              <a:gd name="connsiteY30" fmla="*/ 854902 h 983294"/>
              <a:gd name="connsiteX31" fmla="*/ 366386 w 998951"/>
              <a:gd name="connsiteY31" fmla="*/ 873691 h 983294"/>
              <a:gd name="connsiteX32" fmla="*/ 360123 w 998951"/>
              <a:gd name="connsiteY32" fmla="*/ 883085 h 983294"/>
              <a:gd name="connsiteX33" fmla="*/ 353860 w 998951"/>
              <a:gd name="connsiteY33" fmla="*/ 901874 h 983294"/>
              <a:gd name="connsiteX34" fmla="*/ 350729 w 998951"/>
              <a:gd name="connsiteY34" fmla="*/ 926926 h 983294"/>
              <a:gd name="connsiteX35" fmla="*/ 344466 w 998951"/>
              <a:gd name="connsiteY35" fmla="*/ 983294 h 983294"/>
              <a:gd name="connsiteX36" fmla="*/ 331940 w 998951"/>
              <a:gd name="connsiteY36" fmla="*/ 967636 h 983294"/>
              <a:gd name="connsiteX37" fmla="*/ 322545 w 998951"/>
              <a:gd name="connsiteY37" fmla="*/ 948847 h 983294"/>
              <a:gd name="connsiteX38" fmla="*/ 319414 w 998951"/>
              <a:gd name="connsiteY38" fmla="*/ 933189 h 983294"/>
              <a:gd name="connsiteX39" fmla="*/ 316282 w 998951"/>
              <a:gd name="connsiteY39" fmla="*/ 914400 h 983294"/>
              <a:gd name="connsiteX40" fmla="*/ 310019 w 998951"/>
              <a:gd name="connsiteY40" fmla="*/ 895611 h 983294"/>
              <a:gd name="connsiteX41" fmla="*/ 297493 w 998951"/>
              <a:gd name="connsiteY41" fmla="*/ 876822 h 983294"/>
              <a:gd name="connsiteX42" fmla="*/ 291230 w 998951"/>
              <a:gd name="connsiteY42" fmla="*/ 867428 h 983294"/>
              <a:gd name="connsiteX43" fmla="*/ 272441 w 998951"/>
              <a:gd name="connsiteY43" fmla="*/ 858033 h 983294"/>
              <a:gd name="connsiteX44" fmla="*/ 256784 w 998951"/>
              <a:gd name="connsiteY44" fmla="*/ 829850 h 983294"/>
              <a:gd name="connsiteX45" fmla="*/ 244258 w 998951"/>
              <a:gd name="connsiteY45" fmla="*/ 826718 h 983294"/>
              <a:gd name="connsiteX46" fmla="*/ 234863 w 998951"/>
              <a:gd name="connsiteY46" fmla="*/ 820455 h 983294"/>
              <a:gd name="connsiteX47" fmla="*/ 234863 w 998951"/>
              <a:gd name="connsiteY47" fmla="*/ 798535 h 983294"/>
              <a:gd name="connsiteX48" fmla="*/ 244258 w 998951"/>
              <a:gd name="connsiteY48" fmla="*/ 779746 h 983294"/>
              <a:gd name="connsiteX49" fmla="*/ 247389 w 998951"/>
              <a:gd name="connsiteY49" fmla="*/ 770351 h 983294"/>
              <a:gd name="connsiteX50" fmla="*/ 228600 w 998951"/>
              <a:gd name="connsiteY50" fmla="*/ 760957 h 983294"/>
              <a:gd name="connsiteX51" fmla="*/ 225469 w 998951"/>
              <a:gd name="connsiteY51" fmla="*/ 717115 h 983294"/>
              <a:gd name="connsiteX52" fmla="*/ 256784 w 998951"/>
              <a:gd name="connsiteY52" fmla="*/ 698326 h 983294"/>
              <a:gd name="connsiteX53" fmla="*/ 256784 w 998951"/>
              <a:gd name="connsiteY53" fmla="*/ 663880 h 983294"/>
              <a:gd name="connsiteX54" fmla="*/ 253652 w 998951"/>
              <a:gd name="connsiteY54" fmla="*/ 654485 h 983294"/>
              <a:gd name="connsiteX55" fmla="*/ 244258 w 998951"/>
              <a:gd name="connsiteY55" fmla="*/ 648222 h 983294"/>
              <a:gd name="connsiteX56" fmla="*/ 231732 w 998951"/>
              <a:gd name="connsiteY56" fmla="*/ 616907 h 983294"/>
              <a:gd name="connsiteX57" fmla="*/ 228600 w 998951"/>
              <a:gd name="connsiteY57" fmla="*/ 601250 h 983294"/>
              <a:gd name="connsiteX58" fmla="*/ 219206 w 998951"/>
              <a:gd name="connsiteY58" fmla="*/ 573066 h 983294"/>
              <a:gd name="connsiteX59" fmla="*/ 209811 w 998951"/>
              <a:gd name="connsiteY59" fmla="*/ 569935 h 983294"/>
              <a:gd name="connsiteX60" fmla="*/ 172233 w 998951"/>
              <a:gd name="connsiteY60" fmla="*/ 573066 h 983294"/>
              <a:gd name="connsiteX61" fmla="*/ 156575 w 998951"/>
              <a:gd name="connsiteY61" fmla="*/ 579329 h 983294"/>
              <a:gd name="connsiteX62" fmla="*/ 147181 w 998951"/>
              <a:gd name="connsiteY62" fmla="*/ 582461 h 983294"/>
              <a:gd name="connsiteX63" fmla="*/ 144049 w 998951"/>
              <a:gd name="connsiteY63" fmla="*/ 573066 h 983294"/>
              <a:gd name="connsiteX64" fmla="*/ 134655 w 998951"/>
              <a:gd name="connsiteY64" fmla="*/ 566803 h 983294"/>
              <a:gd name="connsiteX65" fmla="*/ 125260 w 998951"/>
              <a:gd name="connsiteY65" fmla="*/ 569935 h 983294"/>
              <a:gd name="connsiteX66" fmla="*/ 115866 w 998951"/>
              <a:gd name="connsiteY66" fmla="*/ 579329 h 983294"/>
              <a:gd name="connsiteX67" fmla="*/ 106471 w 998951"/>
              <a:gd name="connsiteY67" fmla="*/ 585592 h 983294"/>
              <a:gd name="connsiteX68" fmla="*/ 100208 w 998951"/>
              <a:gd name="connsiteY68" fmla="*/ 576198 h 983294"/>
              <a:gd name="connsiteX69" fmla="*/ 75156 w 998951"/>
              <a:gd name="connsiteY69" fmla="*/ 576198 h 983294"/>
              <a:gd name="connsiteX70" fmla="*/ 46973 w 998951"/>
              <a:gd name="connsiteY70" fmla="*/ 579329 h 983294"/>
              <a:gd name="connsiteX71" fmla="*/ 40710 w 998951"/>
              <a:gd name="connsiteY71" fmla="*/ 569935 h 983294"/>
              <a:gd name="connsiteX72" fmla="*/ 28184 w 998951"/>
              <a:gd name="connsiteY72" fmla="*/ 538620 h 983294"/>
              <a:gd name="connsiteX73" fmla="*/ 18789 w 998951"/>
              <a:gd name="connsiteY73" fmla="*/ 544883 h 983294"/>
              <a:gd name="connsiteX74" fmla="*/ 12526 w 998951"/>
              <a:gd name="connsiteY74" fmla="*/ 554277 h 983294"/>
              <a:gd name="connsiteX75" fmla="*/ 9395 w 998951"/>
              <a:gd name="connsiteY75" fmla="*/ 544883 h 983294"/>
              <a:gd name="connsiteX76" fmla="*/ 6263 w 998951"/>
              <a:gd name="connsiteY76" fmla="*/ 529225 h 983294"/>
              <a:gd name="connsiteX77" fmla="*/ 0 w 998951"/>
              <a:gd name="connsiteY77" fmla="*/ 510436 h 983294"/>
              <a:gd name="connsiteX78" fmla="*/ 12526 w 998951"/>
              <a:gd name="connsiteY78" fmla="*/ 491647 h 983294"/>
              <a:gd name="connsiteX79" fmla="*/ 18789 w 998951"/>
              <a:gd name="connsiteY79" fmla="*/ 482252 h 983294"/>
              <a:gd name="connsiteX80" fmla="*/ 37578 w 998951"/>
              <a:gd name="connsiteY80" fmla="*/ 466595 h 983294"/>
              <a:gd name="connsiteX81" fmla="*/ 43841 w 998951"/>
              <a:gd name="connsiteY81" fmla="*/ 457200 h 983294"/>
              <a:gd name="connsiteX82" fmla="*/ 62630 w 998951"/>
              <a:gd name="connsiteY82" fmla="*/ 438411 h 983294"/>
              <a:gd name="connsiteX83" fmla="*/ 72025 w 998951"/>
              <a:gd name="connsiteY83" fmla="*/ 419622 h 983294"/>
              <a:gd name="connsiteX84" fmla="*/ 78288 w 998951"/>
              <a:gd name="connsiteY84" fmla="*/ 400833 h 983294"/>
              <a:gd name="connsiteX85" fmla="*/ 87682 w 998951"/>
              <a:gd name="connsiteY85" fmla="*/ 366387 h 983294"/>
              <a:gd name="connsiteX86" fmla="*/ 97077 w 998951"/>
              <a:gd name="connsiteY86" fmla="*/ 335072 h 983294"/>
              <a:gd name="connsiteX87" fmla="*/ 100208 w 998951"/>
              <a:gd name="connsiteY87" fmla="*/ 325677 h 983294"/>
              <a:gd name="connsiteX88" fmla="*/ 106471 w 998951"/>
              <a:gd name="connsiteY88" fmla="*/ 284967 h 983294"/>
              <a:gd name="connsiteX89" fmla="*/ 109603 w 998951"/>
              <a:gd name="connsiteY89" fmla="*/ 275573 h 983294"/>
              <a:gd name="connsiteX90" fmla="*/ 115866 w 998951"/>
              <a:gd name="connsiteY90" fmla="*/ 253652 h 983294"/>
              <a:gd name="connsiteX91" fmla="*/ 103340 w 998951"/>
              <a:gd name="connsiteY91" fmla="*/ 203548 h 983294"/>
              <a:gd name="connsiteX92" fmla="*/ 93945 w 998951"/>
              <a:gd name="connsiteY92" fmla="*/ 197285 h 983294"/>
              <a:gd name="connsiteX93" fmla="*/ 81419 w 998951"/>
              <a:gd name="connsiteY93" fmla="*/ 178496 h 983294"/>
              <a:gd name="connsiteX94" fmla="*/ 68893 w 998951"/>
              <a:gd name="connsiteY94" fmla="*/ 159707 h 983294"/>
              <a:gd name="connsiteX95" fmla="*/ 62630 w 998951"/>
              <a:gd name="connsiteY95" fmla="*/ 150313 h 983294"/>
              <a:gd name="connsiteX96" fmla="*/ 56367 w 998951"/>
              <a:gd name="connsiteY96" fmla="*/ 140918 h 983294"/>
              <a:gd name="connsiteX97" fmla="*/ 59499 w 998951"/>
              <a:gd name="connsiteY97" fmla="*/ 125261 h 983294"/>
              <a:gd name="connsiteX98" fmla="*/ 72025 w 998951"/>
              <a:gd name="connsiteY98" fmla="*/ 106472 h 983294"/>
              <a:gd name="connsiteX99" fmla="*/ 78288 w 998951"/>
              <a:gd name="connsiteY99" fmla="*/ 118998 h 983294"/>
              <a:gd name="connsiteX100" fmla="*/ 118997 w 998951"/>
              <a:gd name="connsiteY100" fmla="*/ 112735 h 983294"/>
              <a:gd name="connsiteX101" fmla="*/ 137786 w 998951"/>
              <a:gd name="connsiteY101" fmla="*/ 100209 h 983294"/>
              <a:gd name="connsiteX102" fmla="*/ 150312 w 998951"/>
              <a:gd name="connsiteY102" fmla="*/ 84551 h 983294"/>
              <a:gd name="connsiteX103" fmla="*/ 162838 w 998951"/>
              <a:gd name="connsiteY103" fmla="*/ 97077 h 983294"/>
              <a:gd name="connsiteX104" fmla="*/ 172233 w 998951"/>
              <a:gd name="connsiteY104" fmla="*/ 100209 h 983294"/>
              <a:gd name="connsiteX105" fmla="*/ 200417 w 998951"/>
              <a:gd name="connsiteY105" fmla="*/ 87683 h 983294"/>
              <a:gd name="connsiteX106" fmla="*/ 216074 w 998951"/>
              <a:gd name="connsiteY106" fmla="*/ 109603 h 983294"/>
              <a:gd name="connsiteX107" fmla="*/ 225469 w 998951"/>
              <a:gd name="connsiteY107" fmla="*/ 112735 h 983294"/>
              <a:gd name="connsiteX108" fmla="*/ 253652 w 998951"/>
              <a:gd name="connsiteY108" fmla="*/ 115866 h 983294"/>
              <a:gd name="connsiteX109" fmla="*/ 263047 w 998951"/>
              <a:gd name="connsiteY109" fmla="*/ 118998 h 983294"/>
              <a:gd name="connsiteX110" fmla="*/ 306888 w 998951"/>
              <a:gd name="connsiteY110" fmla="*/ 112735 h 983294"/>
              <a:gd name="connsiteX111" fmla="*/ 322545 w 998951"/>
              <a:gd name="connsiteY111" fmla="*/ 84551 h 983294"/>
              <a:gd name="connsiteX112" fmla="*/ 328808 w 998951"/>
              <a:gd name="connsiteY112" fmla="*/ 75157 h 983294"/>
              <a:gd name="connsiteX113" fmla="*/ 338203 w 998951"/>
              <a:gd name="connsiteY113" fmla="*/ 68894 h 983294"/>
              <a:gd name="connsiteX114" fmla="*/ 350729 w 998951"/>
              <a:gd name="connsiteY114" fmla="*/ 72025 h 983294"/>
              <a:gd name="connsiteX115" fmla="*/ 356992 w 998951"/>
              <a:gd name="connsiteY115" fmla="*/ 90814 h 983294"/>
              <a:gd name="connsiteX116" fmla="*/ 360123 w 998951"/>
              <a:gd name="connsiteY116" fmla="*/ 100209 h 983294"/>
              <a:gd name="connsiteX117" fmla="*/ 369518 w 998951"/>
              <a:gd name="connsiteY117" fmla="*/ 103340 h 983294"/>
              <a:gd name="connsiteX118" fmla="*/ 450937 w 998951"/>
              <a:gd name="connsiteY118" fmla="*/ 97077 h 983294"/>
              <a:gd name="connsiteX119" fmla="*/ 460332 w 998951"/>
              <a:gd name="connsiteY119" fmla="*/ 93946 h 983294"/>
              <a:gd name="connsiteX120" fmla="*/ 482252 w 998951"/>
              <a:gd name="connsiteY120" fmla="*/ 87683 h 983294"/>
              <a:gd name="connsiteX121" fmla="*/ 501041 w 998951"/>
              <a:gd name="connsiteY121" fmla="*/ 72025 h 983294"/>
              <a:gd name="connsiteX122" fmla="*/ 529225 w 998951"/>
              <a:gd name="connsiteY122" fmla="*/ 78288 h 983294"/>
              <a:gd name="connsiteX123" fmla="*/ 538619 w 998951"/>
              <a:gd name="connsiteY123" fmla="*/ 84551 h 983294"/>
              <a:gd name="connsiteX124" fmla="*/ 557408 w 998951"/>
              <a:gd name="connsiteY124" fmla="*/ 81420 h 983294"/>
              <a:gd name="connsiteX125" fmla="*/ 576197 w 998951"/>
              <a:gd name="connsiteY125" fmla="*/ 43841 h 983294"/>
              <a:gd name="connsiteX126" fmla="*/ 591855 w 998951"/>
              <a:gd name="connsiteY126" fmla="*/ 28184 h 983294"/>
              <a:gd name="connsiteX127" fmla="*/ 607512 w 998951"/>
              <a:gd name="connsiteY127" fmla="*/ 9395 h 983294"/>
              <a:gd name="connsiteX128" fmla="*/ 626301 w 998951"/>
              <a:gd name="connsiteY128" fmla="*/ 3132 h 983294"/>
              <a:gd name="connsiteX129" fmla="*/ 635696 w 998951"/>
              <a:gd name="connsiteY129" fmla="*/ 0 h 983294"/>
              <a:gd name="connsiteX130" fmla="*/ 632564 w 998951"/>
              <a:gd name="connsiteY130" fmla="*/ 12526 h 983294"/>
              <a:gd name="connsiteX131" fmla="*/ 632564 w 998951"/>
              <a:gd name="connsiteY131" fmla="*/ 37578 h 983294"/>
              <a:gd name="connsiteX132" fmla="*/ 648222 w 998951"/>
              <a:gd name="connsiteY132" fmla="*/ 53236 h 983294"/>
              <a:gd name="connsiteX133" fmla="*/ 651354 w 998951"/>
              <a:gd name="connsiteY133" fmla="*/ 100209 h 983294"/>
              <a:gd name="connsiteX134" fmla="*/ 660748 w 998951"/>
              <a:gd name="connsiteY134" fmla="*/ 103340 h 983294"/>
              <a:gd name="connsiteX135" fmla="*/ 667011 w 998951"/>
              <a:gd name="connsiteY135" fmla="*/ 112735 h 983294"/>
              <a:gd name="connsiteX136" fmla="*/ 663880 w 998951"/>
              <a:gd name="connsiteY136" fmla="*/ 125261 h 983294"/>
              <a:gd name="connsiteX137" fmla="*/ 654485 w 998951"/>
              <a:gd name="connsiteY137" fmla="*/ 128392 h 983294"/>
              <a:gd name="connsiteX138" fmla="*/ 648222 w 998951"/>
              <a:gd name="connsiteY138" fmla="*/ 137787 h 983294"/>
              <a:gd name="connsiteX139" fmla="*/ 667011 w 998951"/>
              <a:gd name="connsiteY139" fmla="*/ 144050 h 983294"/>
              <a:gd name="connsiteX140" fmla="*/ 676406 w 998951"/>
              <a:gd name="connsiteY140" fmla="*/ 147181 h 983294"/>
              <a:gd name="connsiteX141" fmla="*/ 688932 w 998951"/>
              <a:gd name="connsiteY141" fmla="*/ 175365 h 983294"/>
              <a:gd name="connsiteX142" fmla="*/ 704589 w 998951"/>
              <a:gd name="connsiteY142" fmla="*/ 194154 h 983294"/>
              <a:gd name="connsiteX143" fmla="*/ 698326 w 998951"/>
              <a:gd name="connsiteY143" fmla="*/ 209811 h 983294"/>
              <a:gd name="connsiteX144" fmla="*/ 679537 w 998951"/>
              <a:gd name="connsiteY144" fmla="*/ 216074 h 983294"/>
              <a:gd name="connsiteX145" fmla="*/ 667011 w 998951"/>
              <a:gd name="connsiteY145" fmla="*/ 231732 h 983294"/>
              <a:gd name="connsiteX146" fmla="*/ 648222 w 998951"/>
              <a:gd name="connsiteY146" fmla="*/ 241126 h 983294"/>
              <a:gd name="connsiteX147" fmla="*/ 645091 w 998951"/>
              <a:gd name="connsiteY147" fmla="*/ 263047 h 983294"/>
              <a:gd name="connsiteX148" fmla="*/ 654485 w 998951"/>
              <a:gd name="connsiteY148" fmla="*/ 266178 h 983294"/>
              <a:gd name="connsiteX149" fmla="*/ 660748 w 998951"/>
              <a:gd name="connsiteY149" fmla="*/ 294362 h 983294"/>
              <a:gd name="connsiteX150" fmla="*/ 670143 w 998951"/>
              <a:gd name="connsiteY150" fmla="*/ 316283 h 983294"/>
              <a:gd name="connsiteX151" fmla="*/ 679537 w 998951"/>
              <a:gd name="connsiteY151" fmla="*/ 319414 h 983294"/>
              <a:gd name="connsiteX152" fmla="*/ 710852 w 998951"/>
              <a:gd name="connsiteY152" fmla="*/ 325677 h 983294"/>
              <a:gd name="connsiteX153" fmla="*/ 729641 w 998951"/>
              <a:gd name="connsiteY153" fmla="*/ 331940 h 983294"/>
              <a:gd name="connsiteX154" fmla="*/ 735904 w 998951"/>
              <a:gd name="connsiteY154" fmla="*/ 341335 h 983294"/>
              <a:gd name="connsiteX155" fmla="*/ 754693 w 998951"/>
              <a:gd name="connsiteY155" fmla="*/ 353861 h 983294"/>
              <a:gd name="connsiteX156" fmla="*/ 760956 w 998951"/>
              <a:gd name="connsiteY156" fmla="*/ 363255 h 983294"/>
              <a:gd name="connsiteX157" fmla="*/ 767219 w 998951"/>
              <a:gd name="connsiteY157" fmla="*/ 353861 h 983294"/>
              <a:gd name="connsiteX158" fmla="*/ 770351 w 998951"/>
              <a:gd name="connsiteY158" fmla="*/ 325677 h 983294"/>
              <a:gd name="connsiteX159" fmla="*/ 776614 w 998951"/>
              <a:gd name="connsiteY159" fmla="*/ 306888 h 983294"/>
              <a:gd name="connsiteX160" fmla="*/ 786008 w 998951"/>
              <a:gd name="connsiteY160" fmla="*/ 278704 h 983294"/>
              <a:gd name="connsiteX161" fmla="*/ 807929 w 998951"/>
              <a:gd name="connsiteY161" fmla="*/ 281836 h 983294"/>
              <a:gd name="connsiteX162" fmla="*/ 820455 w 998951"/>
              <a:gd name="connsiteY162" fmla="*/ 297494 h 983294"/>
              <a:gd name="connsiteX163" fmla="*/ 829849 w 998951"/>
              <a:gd name="connsiteY163" fmla="*/ 294362 h 983294"/>
              <a:gd name="connsiteX164" fmla="*/ 848638 w 998951"/>
              <a:gd name="connsiteY164" fmla="*/ 281836 h 983294"/>
              <a:gd name="connsiteX165" fmla="*/ 867428 w 998951"/>
              <a:gd name="connsiteY165" fmla="*/ 275573 h 983294"/>
              <a:gd name="connsiteX166" fmla="*/ 876822 w 998951"/>
              <a:gd name="connsiteY166" fmla="*/ 269310 h 983294"/>
              <a:gd name="connsiteX167" fmla="*/ 883085 w 998951"/>
              <a:gd name="connsiteY167" fmla="*/ 250521 h 983294"/>
              <a:gd name="connsiteX168" fmla="*/ 905006 w 998951"/>
              <a:gd name="connsiteY168" fmla="*/ 241126 h 983294"/>
              <a:gd name="connsiteX169" fmla="*/ 914400 w 998951"/>
              <a:gd name="connsiteY169" fmla="*/ 231732 h 983294"/>
              <a:gd name="connsiteX170" fmla="*/ 936321 w 998951"/>
              <a:gd name="connsiteY170" fmla="*/ 247389 h 983294"/>
              <a:gd name="connsiteX171" fmla="*/ 942584 w 998951"/>
              <a:gd name="connsiteY171" fmla="*/ 256784 h 983294"/>
              <a:gd name="connsiteX172" fmla="*/ 961373 w 998951"/>
              <a:gd name="connsiteY172" fmla="*/ 263047 h 983294"/>
              <a:gd name="connsiteX173" fmla="*/ 970767 w 998951"/>
              <a:gd name="connsiteY173" fmla="*/ 269310 h 983294"/>
              <a:gd name="connsiteX174" fmla="*/ 980162 w 998951"/>
              <a:gd name="connsiteY174" fmla="*/ 272441 h 983294"/>
              <a:gd name="connsiteX175" fmla="*/ 967636 w 998951"/>
              <a:gd name="connsiteY175" fmla="*/ 284967 h 983294"/>
              <a:gd name="connsiteX176" fmla="*/ 948847 w 998951"/>
              <a:gd name="connsiteY176" fmla="*/ 303757 h 983294"/>
              <a:gd name="connsiteX177" fmla="*/ 945715 w 998951"/>
              <a:gd name="connsiteY177" fmla="*/ 313151 h 983294"/>
              <a:gd name="connsiteX178" fmla="*/ 951978 w 998951"/>
              <a:gd name="connsiteY178" fmla="*/ 338203 h 983294"/>
              <a:gd name="connsiteX179" fmla="*/ 958241 w 998951"/>
              <a:gd name="connsiteY179" fmla="*/ 347598 h 983294"/>
              <a:gd name="connsiteX180" fmla="*/ 967636 w 998951"/>
              <a:gd name="connsiteY180" fmla="*/ 350729 h 983294"/>
              <a:gd name="connsiteX181" fmla="*/ 964504 w 998951"/>
              <a:gd name="connsiteY181" fmla="*/ 363255 h 983294"/>
              <a:gd name="connsiteX182" fmla="*/ 964504 w 998951"/>
              <a:gd name="connsiteY182" fmla="*/ 394570 h 983294"/>
              <a:gd name="connsiteX183" fmla="*/ 973899 w 998951"/>
              <a:gd name="connsiteY183" fmla="*/ 397702 h 983294"/>
              <a:gd name="connsiteX184" fmla="*/ 998951 w 998951"/>
              <a:gd name="connsiteY184" fmla="*/ 400833 h 983294"/>
              <a:gd name="connsiteX185" fmla="*/ 986425 w 998951"/>
              <a:gd name="connsiteY185" fmla="*/ 419622 h 983294"/>
              <a:gd name="connsiteX186" fmla="*/ 977030 w 998951"/>
              <a:gd name="connsiteY186" fmla="*/ 438411 h 983294"/>
              <a:gd name="connsiteX187" fmla="*/ 973899 w 998951"/>
              <a:gd name="connsiteY187" fmla="*/ 469726 h 983294"/>
              <a:gd name="connsiteX188" fmla="*/ 967636 w 998951"/>
              <a:gd name="connsiteY188" fmla="*/ 479121 h 983294"/>
              <a:gd name="connsiteX189" fmla="*/ 964504 w 998951"/>
              <a:gd name="connsiteY189" fmla="*/ 488515 h 983294"/>
              <a:gd name="connsiteX190" fmla="*/ 967636 w 998951"/>
              <a:gd name="connsiteY190" fmla="*/ 522962 h 983294"/>
              <a:gd name="connsiteX191" fmla="*/ 970767 w 998951"/>
              <a:gd name="connsiteY191" fmla="*/ 532357 h 983294"/>
              <a:gd name="connsiteX192" fmla="*/ 980162 w 998951"/>
              <a:gd name="connsiteY192" fmla="*/ 563672 h 983294"/>
              <a:gd name="connsiteX0" fmla="*/ 980162 w 998951"/>
              <a:gd name="connsiteY0" fmla="*/ 563672 h 983294"/>
              <a:gd name="connsiteX1" fmla="*/ 955110 w 998951"/>
              <a:gd name="connsiteY1" fmla="*/ 563672 h 983294"/>
              <a:gd name="connsiteX2" fmla="*/ 936321 w 998951"/>
              <a:gd name="connsiteY2" fmla="*/ 576198 h 983294"/>
              <a:gd name="connsiteX3" fmla="*/ 851770 w 998951"/>
              <a:gd name="connsiteY3" fmla="*/ 569935 h 983294"/>
              <a:gd name="connsiteX4" fmla="*/ 842375 w 998951"/>
              <a:gd name="connsiteY4" fmla="*/ 566803 h 983294"/>
              <a:gd name="connsiteX5" fmla="*/ 776614 w 998951"/>
              <a:gd name="connsiteY5" fmla="*/ 569935 h 983294"/>
              <a:gd name="connsiteX6" fmla="*/ 764088 w 998951"/>
              <a:gd name="connsiteY6" fmla="*/ 579329 h 983294"/>
              <a:gd name="connsiteX7" fmla="*/ 754693 w 998951"/>
              <a:gd name="connsiteY7" fmla="*/ 582461 h 983294"/>
              <a:gd name="connsiteX8" fmla="*/ 745299 w 998951"/>
              <a:gd name="connsiteY8" fmla="*/ 588724 h 983294"/>
              <a:gd name="connsiteX9" fmla="*/ 688932 w 998951"/>
              <a:gd name="connsiteY9" fmla="*/ 601250 h 983294"/>
              <a:gd name="connsiteX10" fmla="*/ 679537 w 998951"/>
              <a:gd name="connsiteY10" fmla="*/ 610644 h 983294"/>
              <a:gd name="connsiteX11" fmla="*/ 660748 w 998951"/>
              <a:gd name="connsiteY11" fmla="*/ 623170 h 983294"/>
              <a:gd name="connsiteX12" fmla="*/ 641959 w 998951"/>
              <a:gd name="connsiteY12" fmla="*/ 635696 h 983294"/>
              <a:gd name="connsiteX13" fmla="*/ 623170 w 998951"/>
              <a:gd name="connsiteY13" fmla="*/ 641959 h 983294"/>
              <a:gd name="connsiteX14" fmla="*/ 604381 w 998951"/>
              <a:gd name="connsiteY14" fmla="*/ 654485 h 983294"/>
              <a:gd name="connsiteX15" fmla="*/ 598118 w 998951"/>
              <a:gd name="connsiteY15" fmla="*/ 663880 h 983294"/>
              <a:gd name="connsiteX16" fmla="*/ 579329 w 998951"/>
              <a:gd name="connsiteY16" fmla="*/ 676406 h 983294"/>
              <a:gd name="connsiteX17" fmla="*/ 569934 w 998951"/>
              <a:gd name="connsiteY17" fmla="*/ 685800 h 983294"/>
              <a:gd name="connsiteX18" fmla="*/ 557408 w 998951"/>
              <a:gd name="connsiteY18" fmla="*/ 695195 h 983294"/>
              <a:gd name="connsiteX19" fmla="*/ 529225 w 998951"/>
              <a:gd name="connsiteY19" fmla="*/ 713984 h 983294"/>
              <a:gd name="connsiteX20" fmla="*/ 519830 w 998951"/>
              <a:gd name="connsiteY20" fmla="*/ 723378 h 983294"/>
              <a:gd name="connsiteX21" fmla="*/ 501041 w 998951"/>
              <a:gd name="connsiteY21" fmla="*/ 735904 h 983294"/>
              <a:gd name="connsiteX22" fmla="*/ 485384 w 998951"/>
              <a:gd name="connsiteY22" fmla="*/ 751562 h 983294"/>
              <a:gd name="connsiteX23" fmla="*/ 466595 w 998951"/>
              <a:gd name="connsiteY23" fmla="*/ 770351 h 983294"/>
              <a:gd name="connsiteX24" fmla="*/ 447806 w 998951"/>
              <a:gd name="connsiteY24" fmla="*/ 789140 h 983294"/>
              <a:gd name="connsiteX25" fmla="*/ 441543 w 998951"/>
              <a:gd name="connsiteY25" fmla="*/ 798535 h 983294"/>
              <a:gd name="connsiteX26" fmla="*/ 422754 w 998951"/>
              <a:gd name="connsiteY26" fmla="*/ 811061 h 983294"/>
              <a:gd name="connsiteX27" fmla="*/ 397701 w 998951"/>
              <a:gd name="connsiteY27" fmla="*/ 832981 h 983294"/>
              <a:gd name="connsiteX28" fmla="*/ 388307 w 998951"/>
              <a:gd name="connsiteY28" fmla="*/ 839244 h 983294"/>
              <a:gd name="connsiteX29" fmla="*/ 378912 w 998951"/>
              <a:gd name="connsiteY29" fmla="*/ 845507 h 983294"/>
              <a:gd name="connsiteX30" fmla="*/ 372649 w 998951"/>
              <a:gd name="connsiteY30" fmla="*/ 854902 h 983294"/>
              <a:gd name="connsiteX31" fmla="*/ 366386 w 998951"/>
              <a:gd name="connsiteY31" fmla="*/ 873691 h 983294"/>
              <a:gd name="connsiteX32" fmla="*/ 360123 w 998951"/>
              <a:gd name="connsiteY32" fmla="*/ 883085 h 983294"/>
              <a:gd name="connsiteX33" fmla="*/ 353860 w 998951"/>
              <a:gd name="connsiteY33" fmla="*/ 901874 h 983294"/>
              <a:gd name="connsiteX34" fmla="*/ 350729 w 998951"/>
              <a:gd name="connsiteY34" fmla="*/ 926926 h 983294"/>
              <a:gd name="connsiteX35" fmla="*/ 344466 w 998951"/>
              <a:gd name="connsiteY35" fmla="*/ 983294 h 983294"/>
              <a:gd name="connsiteX36" fmla="*/ 331940 w 998951"/>
              <a:gd name="connsiteY36" fmla="*/ 967636 h 983294"/>
              <a:gd name="connsiteX37" fmla="*/ 322545 w 998951"/>
              <a:gd name="connsiteY37" fmla="*/ 948847 h 983294"/>
              <a:gd name="connsiteX38" fmla="*/ 319414 w 998951"/>
              <a:gd name="connsiteY38" fmla="*/ 933189 h 983294"/>
              <a:gd name="connsiteX39" fmla="*/ 316282 w 998951"/>
              <a:gd name="connsiteY39" fmla="*/ 914400 h 983294"/>
              <a:gd name="connsiteX40" fmla="*/ 310019 w 998951"/>
              <a:gd name="connsiteY40" fmla="*/ 895611 h 983294"/>
              <a:gd name="connsiteX41" fmla="*/ 297493 w 998951"/>
              <a:gd name="connsiteY41" fmla="*/ 876822 h 983294"/>
              <a:gd name="connsiteX42" fmla="*/ 291230 w 998951"/>
              <a:gd name="connsiteY42" fmla="*/ 867428 h 983294"/>
              <a:gd name="connsiteX43" fmla="*/ 272441 w 998951"/>
              <a:gd name="connsiteY43" fmla="*/ 858033 h 983294"/>
              <a:gd name="connsiteX44" fmla="*/ 256784 w 998951"/>
              <a:gd name="connsiteY44" fmla="*/ 829850 h 983294"/>
              <a:gd name="connsiteX45" fmla="*/ 244258 w 998951"/>
              <a:gd name="connsiteY45" fmla="*/ 826718 h 983294"/>
              <a:gd name="connsiteX46" fmla="*/ 234863 w 998951"/>
              <a:gd name="connsiteY46" fmla="*/ 820455 h 983294"/>
              <a:gd name="connsiteX47" fmla="*/ 234863 w 998951"/>
              <a:gd name="connsiteY47" fmla="*/ 798535 h 983294"/>
              <a:gd name="connsiteX48" fmla="*/ 244258 w 998951"/>
              <a:gd name="connsiteY48" fmla="*/ 779746 h 983294"/>
              <a:gd name="connsiteX49" fmla="*/ 247389 w 998951"/>
              <a:gd name="connsiteY49" fmla="*/ 770351 h 983294"/>
              <a:gd name="connsiteX50" fmla="*/ 228600 w 998951"/>
              <a:gd name="connsiteY50" fmla="*/ 760957 h 983294"/>
              <a:gd name="connsiteX51" fmla="*/ 225469 w 998951"/>
              <a:gd name="connsiteY51" fmla="*/ 717115 h 983294"/>
              <a:gd name="connsiteX52" fmla="*/ 256784 w 998951"/>
              <a:gd name="connsiteY52" fmla="*/ 698326 h 983294"/>
              <a:gd name="connsiteX53" fmla="*/ 256784 w 998951"/>
              <a:gd name="connsiteY53" fmla="*/ 663880 h 983294"/>
              <a:gd name="connsiteX54" fmla="*/ 253652 w 998951"/>
              <a:gd name="connsiteY54" fmla="*/ 654485 h 983294"/>
              <a:gd name="connsiteX55" fmla="*/ 244258 w 998951"/>
              <a:gd name="connsiteY55" fmla="*/ 648222 h 983294"/>
              <a:gd name="connsiteX56" fmla="*/ 231732 w 998951"/>
              <a:gd name="connsiteY56" fmla="*/ 616907 h 983294"/>
              <a:gd name="connsiteX57" fmla="*/ 228600 w 998951"/>
              <a:gd name="connsiteY57" fmla="*/ 601250 h 983294"/>
              <a:gd name="connsiteX58" fmla="*/ 219206 w 998951"/>
              <a:gd name="connsiteY58" fmla="*/ 573066 h 983294"/>
              <a:gd name="connsiteX59" fmla="*/ 209811 w 998951"/>
              <a:gd name="connsiteY59" fmla="*/ 569935 h 983294"/>
              <a:gd name="connsiteX60" fmla="*/ 172233 w 998951"/>
              <a:gd name="connsiteY60" fmla="*/ 573066 h 983294"/>
              <a:gd name="connsiteX61" fmla="*/ 156575 w 998951"/>
              <a:gd name="connsiteY61" fmla="*/ 579329 h 983294"/>
              <a:gd name="connsiteX62" fmla="*/ 147181 w 998951"/>
              <a:gd name="connsiteY62" fmla="*/ 582461 h 983294"/>
              <a:gd name="connsiteX63" fmla="*/ 144049 w 998951"/>
              <a:gd name="connsiteY63" fmla="*/ 573066 h 983294"/>
              <a:gd name="connsiteX64" fmla="*/ 134655 w 998951"/>
              <a:gd name="connsiteY64" fmla="*/ 566803 h 983294"/>
              <a:gd name="connsiteX65" fmla="*/ 125260 w 998951"/>
              <a:gd name="connsiteY65" fmla="*/ 569935 h 983294"/>
              <a:gd name="connsiteX66" fmla="*/ 115866 w 998951"/>
              <a:gd name="connsiteY66" fmla="*/ 579329 h 983294"/>
              <a:gd name="connsiteX67" fmla="*/ 106471 w 998951"/>
              <a:gd name="connsiteY67" fmla="*/ 585592 h 983294"/>
              <a:gd name="connsiteX68" fmla="*/ 100208 w 998951"/>
              <a:gd name="connsiteY68" fmla="*/ 576198 h 983294"/>
              <a:gd name="connsiteX69" fmla="*/ 75156 w 998951"/>
              <a:gd name="connsiteY69" fmla="*/ 576198 h 983294"/>
              <a:gd name="connsiteX70" fmla="*/ 46973 w 998951"/>
              <a:gd name="connsiteY70" fmla="*/ 579329 h 983294"/>
              <a:gd name="connsiteX71" fmla="*/ 40710 w 998951"/>
              <a:gd name="connsiteY71" fmla="*/ 569935 h 983294"/>
              <a:gd name="connsiteX72" fmla="*/ 28184 w 998951"/>
              <a:gd name="connsiteY72" fmla="*/ 538620 h 983294"/>
              <a:gd name="connsiteX73" fmla="*/ 18789 w 998951"/>
              <a:gd name="connsiteY73" fmla="*/ 544883 h 983294"/>
              <a:gd name="connsiteX74" fmla="*/ 12526 w 998951"/>
              <a:gd name="connsiteY74" fmla="*/ 554277 h 983294"/>
              <a:gd name="connsiteX75" fmla="*/ 9395 w 998951"/>
              <a:gd name="connsiteY75" fmla="*/ 544883 h 983294"/>
              <a:gd name="connsiteX76" fmla="*/ 6263 w 998951"/>
              <a:gd name="connsiteY76" fmla="*/ 529225 h 983294"/>
              <a:gd name="connsiteX77" fmla="*/ 0 w 998951"/>
              <a:gd name="connsiteY77" fmla="*/ 510436 h 983294"/>
              <a:gd name="connsiteX78" fmla="*/ 12526 w 998951"/>
              <a:gd name="connsiteY78" fmla="*/ 491647 h 983294"/>
              <a:gd name="connsiteX79" fmla="*/ 18789 w 998951"/>
              <a:gd name="connsiteY79" fmla="*/ 482252 h 983294"/>
              <a:gd name="connsiteX80" fmla="*/ 37578 w 998951"/>
              <a:gd name="connsiteY80" fmla="*/ 466595 h 983294"/>
              <a:gd name="connsiteX81" fmla="*/ 43841 w 998951"/>
              <a:gd name="connsiteY81" fmla="*/ 457200 h 983294"/>
              <a:gd name="connsiteX82" fmla="*/ 62630 w 998951"/>
              <a:gd name="connsiteY82" fmla="*/ 438411 h 983294"/>
              <a:gd name="connsiteX83" fmla="*/ 72025 w 998951"/>
              <a:gd name="connsiteY83" fmla="*/ 419622 h 983294"/>
              <a:gd name="connsiteX84" fmla="*/ 78288 w 998951"/>
              <a:gd name="connsiteY84" fmla="*/ 400833 h 983294"/>
              <a:gd name="connsiteX85" fmla="*/ 87682 w 998951"/>
              <a:gd name="connsiteY85" fmla="*/ 366387 h 983294"/>
              <a:gd name="connsiteX86" fmla="*/ 97077 w 998951"/>
              <a:gd name="connsiteY86" fmla="*/ 335072 h 983294"/>
              <a:gd name="connsiteX87" fmla="*/ 100208 w 998951"/>
              <a:gd name="connsiteY87" fmla="*/ 325677 h 983294"/>
              <a:gd name="connsiteX88" fmla="*/ 106471 w 998951"/>
              <a:gd name="connsiteY88" fmla="*/ 284967 h 983294"/>
              <a:gd name="connsiteX89" fmla="*/ 109603 w 998951"/>
              <a:gd name="connsiteY89" fmla="*/ 275573 h 983294"/>
              <a:gd name="connsiteX90" fmla="*/ 115866 w 998951"/>
              <a:gd name="connsiteY90" fmla="*/ 253652 h 983294"/>
              <a:gd name="connsiteX91" fmla="*/ 103340 w 998951"/>
              <a:gd name="connsiteY91" fmla="*/ 203548 h 983294"/>
              <a:gd name="connsiteX92" fmla="*/ 93945 w 998951"/>
              <a:gd name="connsiteY92" fmla="*/ 197285 h 983294"/>
              <a:gd name="connsiteX93" fmla="*/ 81419 w 998951"/>
              <a:gd name="connsiteY93" fmla="*/ 178496 h 983294"/>
              <a:gd name="connsiteX94" fmla="*/ 68893 w 998951"/>
              <a:gd name="connsiteY94" fmla="*/ 159707 h 983294"/>
              <a:gd name="connsiteX95" fmla="*/ 62630 w 998951"/>
              <a:gd name="connsiteY95" fmla="*/ 150313 h 983294"/>
              <a:gd name="connsiteX96" fmla="*/ 56367 w 998951"/>
              <a:gd name="connsiteY96" fmla="*/ 140918 h 983294"/>
              <a:gd name="connsiteX97" fmla="*/ 59499 w 998951"/>
              <a:gd name="connsiteY97" fmla="*/ 125261 h 983294"/>
              <a:gd name="connsiteX98" fmla="*/ 72025 w 998951"/>
              <a:gd name="connsiteY98" fmla="*/ 106472 h 983294"/>
              <a:gd name="connsiteX99" fmla="*/ 78288 w 998951"/>
              <a:gd name="connsiteY99" fmla="*/ 118998 h 983294"/>
              <a:gd name="connsiteX100" fmla="*/ 118997 w 998951"/>
              <a:gd name="connsiteY100" fmla="*/ 112735 h 983294"/>
              <a:gd name="connsiteX101" fmla="*/ 137786 w 998951"/>
              <a:gd name="connsiteY101" fmla="*/ 100209 h 983294"/>
              <a:gd name="connsiteX102" fmla="*/ 150312 w 998951"/>
              <a:gd name="connsiteY102" fmla="*/ 84551 h 983294"/>
              <a:gd name="connsiteX103" fmla="*/ 162838 w 998951"/>
              <a:gd name="connsiteY103" fmla="*/ 97077 h 983294"/>
              <a:gd name="connsiteX104" fmla="*/ 172233 w 998951"/>
              <a:gd name="connsiteY104" fmla="*/ 100209 h 983294"/>
              <a:gd name="connsiteX105" fmla="*/ 200417 w 998951"/>
              <a:gd name="connsiteY105" fmla="*/ 87683 h 983294"/>
              <a:gd name="connsiteX106" fmla="*/ 216074 w 998951"/>
              <a:gd name="connsiteY106" fmla="*/ 109603 h 983294"/>
              <a:gd name="connsiteX107" fmla="*/ 225469 w 998951"/>
              <a:gd name="connsiteY107" fmla="*/ 112735 h 983294"/>
              <a:gd name="connsiteX108" fmla="*/ 253652 w 998951"/>
              <a:gd name="connsiteY108" fmla="*/ 115866 h 983294"/>
              <a:gd name="connsiteX109" fmla="*/ 263047 w 998951"/>
              <a:gd name="connsiteY109" fmla="*/ 118998 h 983294"/>
              <a:gd name="connsiteX110" fmla="*/ 306888 w 998951"/>
              <a:gd name="connsiteY110" fmla="*/ 112735 h 983294"/>
              <a:gd name="connsiteX111" fmla="*/ 322545 w 998951"/>
              <a:gd name="connsiteY111" fmla="*/ 84551 h 983294"/>
              <a:gd name="connsiteX112" fmla="*/ 328808 w 998951"/>
              <a:gd name="connsiteY112" fmla="*/ 75157 h 983294"/>
              <a:gd name="connsiteX113" fmla="*/ 338203 w 998951"/>
              <a:gd name="connsiteY113" fmla="*/ 68894 h 983294"/>
              <a:gd name="connsiteX114" fmla="*/ 350729 w 998951"/>
              <a:gd name="connsiteY114" fmla="*/ 72025 h 983294"/>
              <a:gd name="connsiteX115" fmla="*/ 356992 w 998951"/>
              <a:gd name="connsiteY115" fmla="*/ 90814 h 983294"/>
              <a:gd name="connsiteX116" fmla="*/ 360123 w 998951"/>
              <a:gd name="connsiteY116" fmla="*/ 100209 h 983294"/>
              <a:gd name="connsiteX117" fmla="*/ 369518 w 998951"/>
              <a:gd name="connsiteY117" fmla="*/ 103340 h 983294"/>
              <a:gd name="connsiteX118" fmla="*/ 450937 w 998951"/>
              <a:gd name="connsiteY118" fmla="*/ 97077 h 983294"/>
              <a:gd name="connsiteX119" fmla="*/ 460332 w 998951"/>
              <a:gd name="connsiteY119" fmla="*/ 93946 h 983294"/>
              <a:gd name="connsiteX120" fmla="*/ 482252 w 998951"/>
              <a:gd name="connsiteY120" fmla="*/ 87683 h 983294"/>
              <a:gd name="connsiteX121" fmla="*/ 501041 w 998951"/>
              <a:gd name="connsiteY121" fmla="*/ 72025 h 983294"/>
              <a:gd name="connsiteX122" fmla="*/ 529225 w 998951"/>
              <a:gd name="connsiteY122" fmla="*/ 78288 h 983294"/>
              <a:gd name="connsiteX123" fmla="*/ 538619 w 998951"/>
              <a:gd name="connsiteY123" fmla="*/ 84551 h 983294"/>
              <a:gd name="connsiteX124" fmla="*/ 557408 w 998951"/>
              <a:gd name="connsiteY124" fmla="*/ 81420 h 983294"/>
              <a:gd name="connsiteX125" fmla="*/ 576197 w 998951"/>
              <a:gd name="connsiteY125" fmla="*/ 43841 h 983294"/>
              <a:gd name="connsiteX126" fmla="*/ 591855 w 998951"/>
              <a:gd name="connsiteY126" fmla="*/ 28184 h 983294"/>
              <a:gd name="connsiteX127" fmla="*/ 607512 w 998951"/>
              <a:gd name="connsiteY127" fmla="*/ 9395 h 983294"/>
              <a:gd name="connsiteX128" fmla="*/ 626301 w 998951"/>
              <a:gd name="connsiteY128" fmla="*/ 3132 h 983294"/>
              <a:gd name="connsiteX129" fmla="*/ 635696 w 998951"/>
              <a:gd name="connsiteY129" fmla="*/ 0 h 983294"/>
              <a:gd name="connsiteX130" fmla="*/ 632564 w 998951"/>
              <a:gd name="connsiteY130" fmla="*/ 12526 h 983294"/>
              <a:gd name="connsiteX131" fmla="*/ 632564 w 998951"/>
              <a:gd name="connsiteY131" fmla="*/ 37578 h 983294"/>
              <a:gd name="connsiteX132" fmla="*/ 648222 w 998951"/>
              <a:gd name="connsiteY132" fmla="*/ 53236 h 983294"/>
              <a:gd name="connsiteX133" fmla="*/ 651354 w 998951"/>
              <a:gd name="connsiteY133" fmla="*/ 100209 h 983294"/>
              <a:gd name="connsiteX134" fmla="*/ 660748 w 998951"/>
              <a:gd name="connsiteY134" fmla="*/ 103340 h 983294"/>
              <a:gd name="connsiteX135" fmla="*/ 667011 w 998951"/>
              <a:gd name="connsiteY135" fmla="*/ 112735 h 983294"/>
              <a:gd name="connsiteX136" fmla="*/ 663880 w 998951"/>
              <a:gd name="connsiteY136" fmla="*/ 125261 h 983294"/>
              <a:gd name="connsiteX137" fmla="*/ 654485 w 998951"/>
              <a:gd name="connsiteY137" fmla="*/ 128392 h 983294"/>
              <a:gd name="connsiteX138" fmla="*/ 648222 w 998951"/>
              <a:gd name="connsiteY138" fmla="*/ 137787 h 983294"/>
              <a:gd name="connsiteX139" fmla="*/ 667011 w 998951"/>
              <a:gd name="connsiteY139" fmla="*/ 144050 h 983294"/>
              <a:gd name="connsiteX140" fmla="*/ 676406 w 998951"/>
              <a:gd name="connsiteY140" fmla="*/ 147181 h 983294"/>
              <a:gd name="connsiteX141" fmla="*/ 688932 w 998951"/>
              <a:gd name="connsiteY141" fmla="*/ 175365 h 983294"/>
              <a:gd name="connsiteX142" fmla="*/ 704589 w 998951"/>
              <a:gd name="connsiteY142" fmla="*/ 194154 h 983294"/>
              <a:gd name="connsiteX143" fmla="*/ 698326 w 998951"/>
              <a:gd name="connsiteY143" fmla="*/ 209811 h 983294"/>
              <a:gd name="connsiteX144" fmla="*/ 679537 w 998951"/>
              <a:gd name="connsiteY144" fmla="*/ 216074 h 983294"/>
              <a:gd name="connsiteX145" fmla="*/ 667011 w 998951"/>
              <a:gd name="connsiteY145" fmla="*/ 231732 h 983294"/>
              <a:gd name="connsiteX146" fmla="*/ 648222 w 998951"/>
              <a:gd name="connsiteY146" fmla="*/ 241126 h 983294"/>
              <a:gd name="connsiteX147" fmla="*/ 645091 w 998951"/>
              <a:gd name="connsiteY147" fmla="*/ 263047 h 983294"/>
              <a:gd name="connsiteX148" fmla="*/ 654485 w 998951"/>
              <a:gd name="connsiteY148" fmla="*/ 266178 h 983294"/>
              <a:gd name="connsiteX149" fmla="*/ 660748 w 998951"/>
              <a:gd name="connsiteY149" fmla="*/ 294362 h 983294"/>
              <a:gd name="connsiteX150" fmla="*/ 670143 w 998951"/>
              <a:gd name="connsiteY150" fmla="*/ 316283 h 983294"/>
              <a:gd name="connsiteX151" fmla="*/ 679537 w 998951"/>
              <a:gd name="connsiteY151" fmla="*/ 319414 h 983294"/>
              <a:gd name="connsiteX152" fmla="*/ 710852 w 998951"/>
              <a:gd name="connsiteY152" fmla="*/ 325677 h 983294"/>
              <a:gd name="connsiteX153" fmla="*/ 729641 w 998951"/>
              <a:gd name="connsiteY153" fmla="*/ 331940 h 983294"/>
              <a:gd name="connsiteX154" fmla="*/ 735904 w 998951"/>
              <a:gd name="connsiteY154" fmla="*/ 341335 h 983294"/>
              <a:gd name="connsiteX155" fmla="*/ 754693 w 998951"/>
              <a:gd name="connsiteY155" fmla="*/ 353861 h 983294"/>
              <a:gd name="connsiteX156" fmla="*/ 760956 w 998951"/>
              <a:gd name="connsiteY156" fmla="*/ 363255 h 983294"/>
              <a:gd name="connsiteX157" fmla="*/ 754693 w 998951"/>
              <a:gd name="connsiteY157" fmla="*/ 325678 h 983294"/>
              <a:gd name="connsiteX158" fmla="*/ 770351 w 998951"/>
              <a:gd name="connsiteY158" fmla="*/ 325677 h 983294"/>
              <a:gd name="connsiteX159" fmla="*/ 776614 w 998951"/>
              <a:gd name="connsiteY159" fmla="*/ 306888 h 983294"/>
              <a:gd name="connsiteX160" fmla="*/ 786008 w 998951"/>
              <a:gd name="connsiteY160" fmla="*/ 278704 h 983294"/>
              <a:gd name="connsiteX161" fmla="*/ 807929 w 998951"/>
              <a:gd name="connsiteY161" fmla="*/ 281836 h 983294"/>
              <a:gd name="connsiteX162" fmla="*/ 820455 w 998951"/>
              <a:gd name="connsiteY162" fmla="*/ 297494 h 983294"/>
              <a:gd name="connsiteX163" fmla="*/ 829849 w 998951"/>
              <a:gd name="connsiteY163" fmla="*/ 294362 h 983294"/>
              <a:gd name="connsiteX164" fmla="*/ 848638 w 998951"/>
              <a:gd name="connsiteY164" fmla="*/ 281836 h 983294"/>
              <a:gd name="connsiteX165" fmla="*/ 867428 w 998951"/>
              <a:gd name="connsiteY165" fmla="*/ 275573 h 983294"/>
              <a:gd name="connsiteX166" fmla="*/ 876822 w 998951"/>
              <a:gd name="connsiteY166" fmla="*/ 269310 h 983294"/>
              <a:gd name="connsiteX167" fmla="*/ 883085 w 998951"/>
              <a:gd name="connsiteY167" fmla="*/ 250521 h 983294"/>
              <a:gd name="connsiteX168" fmla="*/ 905006 w 998951"/>
              <a:gd name="connsiteY168" fmla="*/ 241126 h 983294"/>
              <a:gd name="connsiteX169" fmla="*/ 914400 w 998951"/>
              <a:gd name="connsiteY169" fmla="*/ 231732 h 983294"/>
              <a:gd name="connsiteX170" fmla="*/ 936321 w 998951"/>
              <a:gd name="connsiteY170" fmla="*/ 247389 h 983294"/>
              <a:gd name="connsiteX171" fmla="*/ 942584 w 998951"/>
              <a:gd name="connsiteY171" fmla="*/ 256784 h 983294"/>
              <a:gd name="connsiteX172" fmla="*/ 961373 w 998951"/>
              <a:gd name="connsiteY172" fmla="*/ 263047 h 983294"/>
              <a:gd name="connsiteX173" fmla="*/ 970767 w 998951"/>
              <a:gd name="connsiteY173" fmla="*/ 269310 h 983294"/>
              <a:gd name="connsiteX174" fmla="*/ 980162 w 998951"/>
              <a:gd name="connsiteY174" fmla="*/ 272441 h 983294"/>
              <a:gd name="connsiteX175" fmla="*/ 967636 w 998951"/>
              <a:gd name="connsiteY175" fmla="*/ 284967 h 983294"/>
              <a:gd name="connsiteX176" fmla="*/ 948847 w 998951"/>
              <a:gd name="connsiteY176" fmla="*/ 303757 h 983294"/>
              <a:gd name="connsiteX177" fmla="*/ 945715 w 998951"/>
              <a:gd name="connsiteY177" fmla="*/ 313151 h 983294"/>
              <a:gd name="connsiteX178" fmla="*/ 951978 w 998951"/>
              <a:gd name="connsiteY178" fmla="*/ 338203 h 983294"/>
              <a:gd name="connsiteX179" fmla="*/ 958241 w 998951"/>
              <a:gd name="connsiteY179" fmla="*/ 347598 h 983294"/>
              <a:gd name="connsiteX180" fmla="*/ 967636 w 998951"/>
              <a:gd name="connsiteY180" fmla="*/ 350729 h 983294"/>
              <a:gd name="connsiteX181" fmla="*/ 964504 w 998951"/>
              <a:gd name="connsiteY181" fmla="*/ 363255 h 983294"/>
              <a:gd name="connsiteX182" fmla="*/ 964504 w 998951"/>
              <a:gd name="connsiteY182" fmla="*/ 394570 h 983294"/>
              <a:gd name="connsiteX183" fmla="*/ 973899 w 998951"/>
              <a:gd name="connsiteY183" fmla="*/ 397702 h 983294"/>
              <a:gd name="connsiteX184" fmla="*/ 998951 w 998951"/>
              <a:gd name="connsiteY184" fmla="*/ 400833 h 983294"/>
              <a:gd name="connsiteX185" fmla="*/ 986425 w 998951"/>
              <a:gd name="connsiteY185" fmla="*/ 419622 h 983294"/>
              <a:gd name="connsiteX186" fmla="*/ 977030 w 998951"/>
              <a:gd name="connsiteY186" fmla="*/ 438411 h 983294"/>
              <a:gd name="connsiteX187" fmla="*/ 973899 w 998951"/>
              <a:gd name="connsiteY187" fmla="*/ 469726 h 983294"/>
              <a:gd name="connsiteX188" fmla="*/ 967636 w 998951"/>
              <a:gd name="connsiteY188" fmla="*/ 479121 h 983294"/>
              <a:gd name="connsiteX189" fmla="*/ 964504 w 998951"/>
              <a:gd name="connsiteY189" fmla="*/ 488515 h 983294"/>
              <a:gd name="connsiteX190" fmla="*/ 967636 w 998951"/>
              <a:gd name="connsiteY190" fmla="*/ 522962 h 983294"/>
              <a:gd name="connsiteX191" fmla="*/ 970767 w 998951"/>
              <a:gd name="connsiteY191" fmla="*/ 532357 h 983294"/>
              <a:gd name="connsiteX192" fmla="*/ 980162 w 998951"/>
              <a:gd name="connsiteY192" fmla="*/ 563672 h 983294"/>
              <a:gd name="connsiteX0" fmla="*/ 980162 w 998951"/>
              <a:gd name="connsiteY0" fmla="*/ 563672 h 983294"/>
              <a:gd name="connsiteX1" fmla="*/ 955110 w 998951"/>
              <a:gd name="connsiteY1" fmla="*/ 563672 h 983294"/>
              <a:gd name="connsiteX2" fmla="*/ 936321 w 998951"/>
              <a:gd name="connsiteY2" fmla="*/ 576198 h 983294"/>
              <a:gd name="connsiteX3" fmla="*/ 851770 w 998951"/>
              <a:gd name="connsiteY3" fmla="*/ 569935 h 983294"/>
              <a:gd name="connsiteX4" fmla="*/ 842375 w 998951"/>
              <a:gd name="connsiteY4" fmla="*/ 566803 h 983294"/>
              <a:gd name="connsiteX5" fmla="*/ 776614 w 998951"/>
              <a:gd name="connsiteY5" fmla="*/ 569935 h 983294"/>
              <a:gd name="connsiteX6" fmla="*/ 764088 w 998951"/>
              <a:gd name="connsiteY6" fmla="*/ 579329 h 983294"/>
              <a:gd name="connsiteX7" fmla="*/ 754693 w 998951"/>
              <a:gd name="connsiteY7" fmla="*/ 582461 h 983294"/>
              <a:gd name="connsiteX8" fmla="*/ 745299 w 998951"/>
              <a:gd name="connsiteY8" fmla="*/ 588724 h 983294"/>
              <a:gd name="connsiteX9" fmla="*/ 688932 w 998951"/>
              <a:gd name="connsiteY9" fmla="*/ 601250 h 983294"/>
              <a:gd name="connsiteX10" fmla="*/ 679537 w 998951"/>
              <a:gd name="connsiteY10" fmla="*/ 610644 h 983294"/>
              <a:gd name="connsiteX11" fmla="*/ 660748 w 998951"/>
              <a:gd name="connsiteY11" fmla="*/ 623170 h 983294"/>
              <a:gd name="connsiteX12" fmla="*/ 641959 w 998951"/>
              <a:gd name="connsiteY12" fmla="*/ 635696 h 983294"/>
              <a:gd name="connsiteX13" fmla="*/ 623170 w 998951"/>
              <a:gd name="connsiteY13" fmla="*/ 641959 h 983294"/>
              <a:gd name="connsiteX14" fmla="*/ 604381 w 998951"/>
              <a:gd name="connsiteY14" fmla="*/ 654485 h 983294"/>
              <a:gd name="connsiteX15" fmla="*/ 598118 w 998951"/>
              <a:gd name="connsiteY15" fmla="*/ 663880 h 983294"/>
              <a:gd name="connsiteX16" fmla="*/ 579329 w 998951"/>
              <a:gd name="connsiteY16" fmla="*/ 676406 h 983294"/>
              <a:gd name="connsiteX17" fmla="*/ 569934 w 998951"/>
              <a:gd name="connsiteY17" fmla="*/ 685800 h 983294"/>
              <a:gd name="connsiteX18" fmla="*/ 557408 w 998951"/>
              <a:gd name="connsiteY18" fmla="*/ 695195 h 983294"/>
              <a:gd name="connsiteX19" fmla="*/ 529225 w 998951"/>
              <a:gd name="connsiteY19" fmla="*/ 713984 h 983294"/>
              <a:gd name="connsiteX20" fmla="*/ 519830 w 998951"/>
              <a:gd name="connsiteY20" fmla="*/ 723378 h 983294"/>
              <a:gd name="connsiteX21" fmla="*/ 501041 w 998951"/>
              <a:gd name="connsiteY21" fmla="*/ 735904 h 983294"/>
              <a:gd name="connsiteX22" fmla="*/ 485384 w 998951"/>
              <a:gd name="connsiteY22" fmla="*/ 751562 h 983294"/>
              <a:gd name="connsiteX23" fmla="*/ 466595 w 998951"/>
              <a:gd name="connsiteY23" fmla="*/ 770351 h 983294"/>
              <a:gd name="connsiteX24" fmla="*/ 447806 w 998951"/>
              <a:gd name="connsiteY24" fmla="*/ 789140 h 983294"/>
              <a:gd name="connsiteX25" fmla="*/ 441543 w 998951"/>
              <a:gd name="connsiteY25" fmla="*/ 798535 h 983294"/>
              <a:gd name="connsiteX26" fmla="*/ 422754 w 998951"/>
              <a:gd name="connsiteY26" fmla="*/ 811061 h 983294"/>
              <a:gd name="connsiteX27" fmla="*/ 397701 w 998951"/>
              <a:gd name="connsiteY27" fmla="*/ 832981 h 983294"/>
              <a:gd name="connsiteX28" fmla="*/ 388307 w 998951"/>
              <a:gd name="connsiteY28" fmla="*/ 839244 h 983294"/>
              <a:gd name="connsiteX29" fmla="*/ 378912 w 998951"/>
              <a:gd name="connsiteY29" fmla="*/ 845507 h 983294"/>
              <a:gd name="connsiteX30" fmla="*/ 372649 w 998951"/>
              <a:gd name="connsiteY30" fmla="*/ 854902 h 983294"/>
              <a:gd name="connsiteX31" fmla="*/ 366386 w 998951"/>
              <a:gd name="connsiteY31" fmla="*/ 873691 h 983294"/>
              <a:gd name="connsiteX32" fmla="*/ 360123 w 998951"/>
              <a:gd name="connsiteY32" fmla="*/ 883085 h 983294"/>
              <a:gd name="connsiteX33" fmla="*/ 353860 w 998951"/>
              <a:gd name="connsiteY33" fmla="*/ 901874 h 983294"/>
              <a:gd name="connsiteX34" fmla="*/ 350729 w 998951"/>
              <a:gd name="connsiteY34" fmla="*/ 926926 h 983294"/>
              <a:gd name="connsiteX35" fmla="*/ 344466 w 998951"/>
              <a:gd name="connsiteY35" fmla="*/ 983294 h 983294"/>
              <a:gd name="connsiteX36" fmla="*/ 331940 w 998951"/>
              <a:gd name="connsiteY36" fmla="*/ 967636 h 983294"/>
              <a:gd name="connsiteX37" fmla="*/ 322545 w 998951"/>
              <a:gd name="connsiteY37" fmla="*/ 948847 h 983294"/>
              <a:gd name="connsiteX38" fmla="*/ 319414 w 998951"/>
              <a:gd name="connsiteY38" fmla="*/ 933189 h 983294"/>
              <a:gd name="connsiteX39" fmla="*/ 316282 w 998951"/>
              <a:gd name="connsiteY39" fmla="*/ 914400 h 983294"/>
              <a:gd name="connsiteX40" fmla="*/ 310019 w 998951"/>
              <a:gd name="connsiteY40" fmla="*/ 895611 h 983294"/>
              <a:gd name="connsiteX41" fmla="*/ 297493 w 998951"/>
              <a:gd name="connsiteY41" fmla="*/ 876822 h 983294"/>
              <a:gd name="connsiteX42" fmla="*/ 291230 w 998951"/>
              <a:gd name="connsiteY42" fmla="*/ 867428 h 983294"/>
              <a:gd name="connsiteX43" fmla="*/ 272441 w 998951"/>
              <a:gd name="connsiteY43" fmla="*/ 858033 h 983294"/>
              <a:gd name="connsiteX44" fmla="*/ 256784 w 998951"/>
              <a:gd name="connsiteY44" fmla="*/ 829850 h 983294"/>
              <a:gd name="connsiteX45" fmla="*/ 244258 w 998951"/>
              <a:gd name="connsiteY45" fmla="*/ 826718 h 983294"/>
              <a:gd name="connsiteX46" fmla="*/ 234863 w 998951"/>
              <a:gd name="connsiteY46" fmla="*/ 820455 h 983294"/>
              <a:gd name="connsiteX47" fmla="*/ 234863 w 998951"/>
              <a:gd name="connsiteY47" fmla="*/ 798535 h 983294"/>
              <a:gd name="connsiteX48" fmla="*/ 244258 w 998951"/>
              <a:gd name="connsiteY48" fmla="*/ 779746 h 983294"/>
              <a:gd name="connsiteX49" fmla="*/ 247389 w 998951"/>
              <a:gd name="connsiteY49" fmla="*/ 770351 h 983294"/>
              <a:gd name="connsiteX50" fmla="*/ 228600 w 998951"/>
              <a:gd name="connsiteY50" fmla="*/ 760957 h 983294"/>
              <a:gd name="connsiteX51" fmla="*/ 225469 w 998951"/>
              <a:gd name="connsiteY51" fmla="*/ 717115 h 983294"/>
              <a:gd name="connsiteX52" fmla="*/ 256784 w 998951"/>
              <a:gd name="connsiteY52" fmla="*/ 698326 h 983294"/>
              <a:gd name="connsiteX53" fmla="*/ 256784 w 998951"/>
              <a:gd name="connsiteY53" fmla="*/ 663880 h 983294"/>
              <a:gd name="connsiteX54" fmla="*/ 253652 w 998951"/>
              <a:gd name="connsiteY54" fmla="*/ 654485 h 983294"/>
              <a:gd name="connsiteX55" fmla="*/ 244258 w 998951"/>
              <a:gd name="connsiteY55" fmla="*/ 648222 h 983294"/>
              <a:gd name="connsiteX56" fmla="*/ 231732 w 998951"/>
              <a:gd name="connsiteY56" fmla="*/ 616907 h 983294"/>
              <a:gd name="connsiteX57" fmla="*/ 228600 w 998951"/>
              <a:gd name="connsiteY57" fmla="*/ 601250 h 983294"/>
              <a:gd name="connsiteX58" fmla="*/ 219206 w 998951"/>
              <a:gd name="connsiteY58" fmla="*/ 573066 h 983294"/>
              <a:gd name="connsiteX59" fmla="*/ 209811 w 998951"/>
              <a:gd name="connsiteY59" fmla="*/ 569935 h 983294"/>
              <a:gd name="connsiteX60" fmla="*/ 172233 w 998951"/>
              <a:gd name="connsiteY60" fmla="*/ 573066 h 983294"/>
              <a:gd name="connsiteX61" fmla="*/ 156575 w 998951"/>
              <a:gd name="connsiteY61" fmla="*/ 579329 h 983294"/>
              <a:gd name="connsiteX62" fmla="*/ 147181 w 998951"/>
              <a:gd name="connsiteY62" fmla="*/ 582461 h 983294"/>
              <a:gd name="connsiteX63" fmla="*/ 144049 w 998951"/>
              <a:gd name="connsiteY63" fmla="*/ 573066 h 983294"/>
              <a:gd name="connsiteX64" fmla="*/ 134655 w 998951"/>
              <a:gd name="connsiteY64" fmla="*/ 566803 h 983294"/>
              <a:gd name="connsiteX65" fmla="*/ 125260 w 998951"/>
              <a:gd name="connsiteY65" fmla="*/ 569935 h 983294"/>
              <a:gd name="connsiteX66" fmla="*/ 115866 w 998951"/>
              <a:gd name="connsiteY66" fmla="*/ 579329 h 983294"/>
              <a:gd name="connsiteX67" fmla="*/ 106471 w 998951"/>
              <a:gd name="connsiteY67" fmla="*/ 585592 h 983294"/>
              <a:gd name="connsiteX68" fmla="*/ 100208 w 998951"/>
              <a:gd name="connsiteY68" fmla="*/ 576198 h 983294"/>
              <a:gd name="connsiteX69" fmla="*/ 75156 w 998951"/>
              <a:gd name="connsiteY69" fmla="*/ 576198 h 983294"/>
              <a:gd name="connsiteX70" fmla="*/ 46973 w 998951"/>
              <a:gd name="connsiteY70" fmla="*/ 579329 h 983294"/>
              <a:gd name="connsiteX71" fmla="*/ 40710 w 998951"/>
              <a:gd name="connsiteY71" fmla="*/ 569935 h 983294"/>
              <a:gd name="connsiteX72" fmla="*/ 28184 w 998951"/>
              <a:gd name="connsiteY72" fmla="*/ 538620 h 983294"/>
              <a:gd name="connsiteX73" fmla="*/ 18789 w 998951"/>
              <a:gd name="connsiteY73" fmla="*/ 544883 h 983294"/>
              <a:gd name="connsiteX74" fmla="*/ 12526 w 998951"/>
              <a:gd name="connsiteY74" fmla="*/ 554277 h 983294"/>
              <a:gd name="connsiteX75" fmla="*/ 9395 w 998951"/>
              <a:gd name="connsiteY75" fmla="*/ 544883 h 983294"/>
              <a:gd name="connsiteX76" fmla="*/ 6263 w 998951"/>
              <a:gd name="connsiteY76" fmla="*/ 529225 h 983294"/>
              <a:gd name="connsiteX77" fmla="*/ 0 w 998951"/>
              <a:gd name="connsiteY77" fmla="*/ 510436 h 983294"/>
              <a:gd name="connsiteX78" fmla="*/ 12526 w 998951"/>
              <a:gd name="connsiteY78" fmla="*/ 491647 h 983294"/>
              <a:gd name="connsiteX79" fmla="*/ 18789 w 998951"/>
              <a:gd name="connsiteY79" fmla="*/ 482252 h 983294"/>
              <a:gd name="connsiteX80" fmla="*/ 37578 w 998951"/>
              <a:gd name="connsiteY80" fmla="*/ 466595 h 983294"/>
              <a:gd name="connsiteX81" fmla="*/ 43841 w 998951"/>
              <a:gd name="connsiteY81" fmla="*/ 457200 h 983294"/>
              <a:gd name="connsiteX82" fmla="*/ 62630 w 998951"/>
              <a:gd name="connsiteY82" fmla="*/ 438411 h 983294"/>
              <a:gd name="connsiteX83" fmla="*/ 72025 w 998951"/>
              <a:gd name="connsiteY83" fmla="*/ 419622 h 983294"/>
              <a:gd name="connsiteX84" fmla="*/ 78288 w 998951"/>
              <a:gd name="connsiteY84" fmla="*/ 400833 h 983294"/>
              <a:gd name="connsiteX85" fmla="*/ 87682 w 998951"/>
              <a:gd name="connsiteY85" fmla="*/ 366387 h 983294"/>
              <a:gd name="connsiteX86" fmla="*/ 97077 w 998951"/>
              <a:gd name="connsiteY86" fmla="*/ 335072 h 983294"/>
              <a:gd name="connsiteX87" fmla="*/ 100208 w 998951"/>
              <a:gd name="connsiteY87" fmla="*/ 325677 h 983294"/>
              <a:gd name="connsiteX88" fmla="*/ 106471 w 998951"/>
              <a:gd name="connsiteY88" fmla="*/ 284967 h 983294"/>
              <a:gd name="connsiteX89" fmla="*/ 109603 w 998951"/>
              <a:gd name="connsiteY89" fmla="*/ 275573 h 983294"/>
              <a:gd name="connsiteX90" fmla="*/ 115866 w 998951"/>
              <a:gd name="connsiteY90" fmla="*/ 253652 h 983294"/>
              <a:gd name="connsiteX91" fmla="*/ 103340 w 998951"/>
              <a:gd name="connsiteY91" fmla="*/ 203548 h 983294"/>
              <a:gd name="connsiteX92" fmla="*/ 93945 w 998951"/>
              <a:gd name="connsiteY92" fmla="*/ 197285 h 983294"/>
              <a:gd name="connsiteX93" fmla="*/ 81419 w 998951"/>
              <a:gd name="connsiteY93" fmla="*/ 178496 h 983294"/>
              <a:gd name="connsiteX94" fmla="*/ 68893 w 998951"/>
              <a:gd name="connsiteY94" fmla="*/ 159707 h 983294"/>
              <a:gd name="connsiteX95" fmla="*/ 62630 w 998951"/>
              <a:gd name="connsiteY95" fmla="*/ 150313 h 983294"/>
              <a:gd name="connsiteX96" fmla="*/ 56367 w 998951"/>
              <a:gd name="connsiteY96" fmla="*/ 140918 h 983294"/>
              <a:gd name="connsiteX97" fmla="*/ 59499 w 998951"/>
              <a:gd name="connsiteY97" fmla="*/ 125261 h 983294"/>
              <a:gd name="connsiteX98" fmla="*/ 72025 w 998951"/>
              <a:gd name="connsiteY98" fmla="*/ 106472 h 983294"/>
              <a:gd name="connsiteX99" fmla="*/ 78288 w 998951"/>
              <a:gd name="connsiteY99" fmla="*/ 118998 h 983294"/>
              <a:gd name="connsiteX100" fmla="*/ 118997 w 998951"/>
              <a:gd name="connsiteY100" fmla="*/ 112735 h 983294"/>
              <a:gd name="connsiteX101" fmla="*/ 137786 w 998951"/>
              <a:gd name="connsiteY101" fmla="*/ 100209 h 983294"/>
              <a:gd name="connsiteX102" fmla="*/ 150312 w 998951"/>
              <a:gd name="connsiteY102" fmla="*/ 84551 h 983294"/>
              <a:gd name="connsiteX103" fmla="*/ 162838 w 998951"/>
              <a:gd name="connsiteY103" fmla="*/ 97077 h 983294"/>
              <a:gd name="connsiteX104" fmla="*/ 172233 w 998951"/>
              <a:gd name="connsiteY104" fmla="*/ 100209 h 983294"/>
              <a:gd name="connsiteX105" fmla="*/ 200417 w 998951"/>
              <a:gd name="connsiteY105" fmla="*/ 87683 h 983294"/>
              <a:gd name="connsiteX106" fmla="*/ 216074 w 998951"/>
              <a:gd name="connsiteY106" fmla="*/ 109603 h 983294"/>
              <a:gd name="connsiteX107" fmla="*/ 225469 w 998951"/>
              <a:gd name="connsiteY107" fmla="*/ 112735 h 983294"/>
              <a:gd name="connsiteX108" fmla="*/ 253652 w 998951"/>
              <a:gd name="connsiteY108" fmla="*/ 115866 h 983294"/>
              <a:gd name="connsiteX109" fmla="*/ 263047 w 998951"/>
              <a:gd name="connsiteY109" fmla="*/ 118998 h 983294"/>
              <a:gd name="connsiteX110" fmla="*/ 306888 w 998951"/>
              <a:gd name="connsiteY110" fmla="*/ 112735 h 983294"/>
              <a:gd name="connsiteX111" fmla="*/ 322545 w 998951"/>
              <a:gd name="connsiteY111" fmla="*/ 84551 h 983294"/>
              <a:gd name="connsiteX112" fmla="*/ 328808 w 998951"/>
              <a:gd name="connsiteY112" fmla="*/ 75157 h 983294"/>
              <a:gd name="connsiteX113" fmla="*/ 338203 w 998951"/>
              <a:gd name="connsiteY113" fmla="*/ 68894 h 983294"/>
              <a:gd name="connsiteX114" fmla="*/ 350729 w 998951"/>
              <a:gd name="connsiteY114" fmla="*/ 72025 h 983294"/>
              <a:gd name="connsiteX115" fmla="*/ 356992 w 998951"/>
              <a:gd name="connsiteY115" fmla="*/ 90814 h 983294"/>
              <a:gd name="connsiteX116" fmla="*/ 360123 w 998951"/>
              <a:gd name="connsiteY116" fmla="*/ 100209 h 983294"/>
              <a:gd name="connsiteX117" fmla="*/ 369518 w 998951"/>
              <a:gd name="connsiteY117" fmla="*/ 103340 h 983294"/>
              <a:gd name="connsiteX118" fmla="*/ 450937 w 998951"/>
              <a:gd name="connsiteY118" fmla="*/ 97077 h 983294"/>
              <a:gd name="connsiteX119" fmla="*/ 460332 w 998951"/>
              <a:gd name="connsiteY119" fmla="*/ 93946 h 983294"/>
              <a:gd name="connsiteX120" fmla="*/ 482252 w 998951"/>
              <a:gd name="connsiteY120" fmla="*/ 87683 h 983294"/>
              <a:gd name="connsiteX121" fmla="*/ 501041 w 998951"/>
              <a:gd name="connsiteY121" fmla="*/ 72025 h 983294"/>
              <a:gd name="connsiteX122" fmla="*/ 529225 w 998951"/>
              <a:gd name="connsiteY122" fmla="*/ 78288 h 983294"/>
              <a:gd name="connsiteX123" fmla="*/ 538619 w 998951"/>
              <a:gd name="connsiteY123" fmla="*/ 84551 h 983294"/>
              <a:gd name="connsiteX124" fmla="*/ 557408 w 998951"/>
              <a:gd name="connsiteY124" fmla="*/ 81420 h 983294"/>
              <a:gd name="connsiteX125" fmla="*/ 576197 w 998951"/>
              <a:gd name="connsiteY125" fmla="*/ 43841 h 983294"/>
              <a:gd name="connsiteX126" fmla="*/ 591855 w 998951"/>
              <a:gd name="connsiteY126" fmla="*/ 28184 h 983294"/>
              <a:gd name="connsiteX127" fmla="*/ 607512 w 998951"/>
              <a:gd name="connsiteY127" fmla="*/ 9395 h 983294"/>
              <a:gd name="connsiteX128" fmla="*/ 626301 w 998951"/>
              <a:gd name="connsiteY128" fmla="*/ 3132 h 983294"/>
              <a:gd name="connsiteX129" fmla="*/ 635696 w 998951"/>
              <a:gd name="connsiteY129" fmla="*/ 0 h 983294"/>
              <a:gd name="connsiteX130" fmla="*/ 632564 w 998951"/>
              <a:gd name="connsiteY130" fmla="*/ 12526 h 983294"/>
              <a:gd name="connsiteX131" fmla="*/ 632564 w 998951"/>
              <a:gd name="connsiteY131" fmla="*/ 37578 h 983294"/>
              <a:gd name="connsiteX132" fmla="*/ 648222 w 998951"/>
              <a:gd name="connsiteY132" fmla="*/ 53236 h 983294"/>
              <a:gd name="connsiteX133" fmla="*/ 651354 w 998951"/>
              <a:gd name="connsiteY133" fmla="*/ 100209 h 983294"/>
              <a:gd name="connsiteX134" fmla="*/ 660748 w 998951"/>
              <a:gd name="connsiteY134" fmla="*/ 103340 h 983294"/>
              <a:gd name="connsiteX135" fmla="*/ 667011 w 998951"/>
              <a:gd name="connsiteY135" fmla="*/ 112735 h 983294"/>
              <a:gd name="connsiteX136" fmla="*/ 663880 w 998951"/>
              <a:gd name="connsiteY136" fmla="*/ 125261 h 983294"/>
              <a:gd name="connsiteX137" fmla="*/ 654485 w 998951"/>
              <a:gd name="connsiteY137" fmla="*/ 128392 h 983294"/>
              <a:gd name="connsiteX138" fmla="*/ 648222 w 998951"/>
              <a:gd name="connsiteY138" fmla="*/ 137787 h 983294"/>
              <a:gd name="connsiteX139" fmla="*/ 667011 w 998951"/>
              <a:gd name="connsiteY139" fmla="*/ 144050 h 983294"/>
              <a:gd name="connsiteX140" fmla="*/ 676406 w 998951"/>
              <a:gd name="connsiteY140" fmla="*/ 147181 h 983294"/>
              <a:gd name="connsiteX141" fmla="*/ 688932 w 998951"/>
              <a:gd name="connsiteY141" fmla="*/ 175365 h 983294"/>
              <a:gd name="connsiteX142" fmla="*/ 704589 w 998951"/>
              <a:gd name="connsiteY142" fmla="*/ 194154 h 983294"/>
              <a:gd name="connsiteX143" fmla="*/ 698326 w 998951"/>
              <a:gd name="connsiteY143" fmla="*/ 209811 h 983294"/>
              <a:gd name="connsiteX144" fmla="*/ 679537 w 998951"/>
              <a:gd name="connsiteY144" fmla="*/ 216074 h 983294"/>
              <a:gd name="connsiteX145" fmla="*/ 667011 w 998951"/>
              <a:gd name="connsiteY145" fmla="*/ 231732 h 983294"/>
              <a:gd name="connsiteX146" fmla="*/ 648222 w 998951"/>
              <a:gd name="connsiteY146" fmla="*/ 241126 h 983294"/>
              <a:gd name="connsiteX147" fmla="*/ 645091 w 998951"/>
              <a:gd name="connsiteY147" fmla="*/ 263047 h 983294"/>
              <a:gd name="connsiteX148" fmla="*/ 654485 w 998951"/>
              <a:gd name="connsiteY148" fmla="*/ 266178 h 983294"/>
              <a:gd name="connsiteX149" fmla="*/ 660748 w 998951"/>
              <a:gd name="connsiteY149" fmla="*/ 294362 h 983294"/>
              <a:gd name="connsiteX150" fmla="*/ 670143 w 998951"/>
              <a:gd name="connsiteY150" fmla="*/ 316283 h 983294"/>
              <a:gd name="connsiteX151" fmla="*/ 679537 w 998951"/>
              <a:gd name="connsiteY151" fmla="*/ 319414 h 983294"/>
              <a:gd name="connsiteX152" fmla="*/ 710852 w 998951"/>
              <a:gd name="connsiteY152" fmla="*/ 325677 h 983294"/>
              <a:gd name="connsiteX153" fmla="*/ 729641 w 998951"/>
              <a:gd name="connsiteY153" fmla="*/ 331940 h 983294"/>
              <a:gd name="connsiteX154" fmla="*/ 735904 w 998951"/>
              <a:gd name="connsiteY154" fmla="*/ 341335 h 983294"/>
              <a:gd name="connsiteX155" fmla="*/ 754693 w 998951"/>
              <a:gd name="connsiteY155" fmla="*/ 353861 h 983294"/>
              <a:gd name="connsiteX156" fmla="*/ 748430 w 998951"/>
              <a:gd name="connsiteY156" fmla="*/ 325677 h 983294"/>
              <a:gd name="connsiteX157" fmla="*/ 754693 w 998951"/>
              <a:gd name="connsiteY157" fmla="*/ 325678 h 983294"/>
              <a:gd name="connsiteX158" fmla="*/ 770351 w 998951"/>
              <a:gd name="connsiteY158" fmla="*/ 325677 h 983294"/>
              <a:gd name="connsiteX159" fmla="*/ 776614 w 998951"/>
              <a:gd name="connsiteY159" fmla="*/ 306888 h 983294"/>
              <a:gd name="connsiteX160" fmla="*/ 786008 w 998951"/>
              <a:gd name="connsiteY160" fmla="*/ 278704 h 983294"/>
              <a:gd name="connsiteX161" fmla="*/ 807929 w 998951"/>
              <a:gd name="connsiteY161" fmla="*/ 281836 h 983294"/>
              <a:gd name="connsiteX162" fmla="*/ 820455 w 998951"/>
              <a:gd name="connsiteY162" fmla="*/ 297494 h 983294"/>
              <a:gd name="connsiteX163" fmla="*/ 829849 w 998951"/>
              <a:gd name="connsiteY163" fmla="*/ 294362 h 983294"/>
              <a:gd name="connsiteX164" fmla="*/ 848638 w 998951"/>
              <a:gd name="connsiteY164" fmla="*/ 281836 h 983294"/>
              <a:gd name="connsiteX165" fmla="*/ 867428 w 998951"/>
              <a:gd name="connsiteY165" fmla="*/ 275573 h 983294"/>
              <a:gd name="connsiteX166" fmla="*/ 876822 w 998951"/>
              <a:gd name="connsiteY166" fmla="*/ 269310 h 983294"/>
              <a:gd name="connsiteX167" fmla="*/ 883085 w 998951"/>
              <a:gd name="connsiteY167" fmla="*/ 250521 h 983294"/>
              <a:gd name="connsiteX168" fmla="*/ 905006 w 998951"/>
              <a:gd name="connsiteY168" fmla="*/ 241126 h 983294"/>
              <a:gd name="connsiteX169" fmla="*/ 914400 w 998951"/>
              <a:gd name="connsiteY169" fmla="*/ 231732 h 983294"/>
              <a:gd name="connsiteX170" fmla="*/ 936321 w 998951"/>
              <a:gd name="connsiteY170" fmla="*/ 247389 h 983294"/>
              <a:gd name="connsiteX171" fmla="*/ 942584 w 998951"/>
              <a:gd name="connsiteY171" fmla="*/ 256784 h 983294"/>
              <a:gd name="connsiteX172" fmla="*/ 961373 w 998951"/>
              <a:gd name="connsiteY172" fmla="*/ 263047 h 983294"/>
              <a:gd name="connsiteX173" fmla="*/ 970767 w 998951"/>
              <a:gd name="connsiteY173" fmla="*/ 269310 h 983294"/>
              <a:gd name="connsiteX174" fmla="*/ 980162 w 998951"/>
              <a:gd name="connsiteY174" fmla="*/ 272441 h 983294"/>
              <a:gd name="connsiteX175" fmla="*/ 967636 w 998951"/>
              <a:gd name="connsiteY175" fmla="*/ 284967 h 983294"/>
              <a:gd name="connsiteX176" fmla="*/ 948847 w 998951"/>
              <a:gd name="connsiteY176" fmla="*/ 303757 h 983294"/>
              <a:gd name="connsiteX177" fmla="*/ 945715 w 998951"/>
              <a:gd name="connsiteY177" fmla="*/ 313151 h 983294"/>
              <a:gd name="connsiteX178" fmla="*/ 951978 w 998951"/>
              <a:gd name="connsiteY178" fmla="*/ 338203 h 983294"/>
              <a:gd name="connsiteX179" fmla="*/ 958241 w 998951"/>
              <a:gd name="connsiteY179" fmla="*/ 347598 h 983294"/>
              <a:gd name="connsiteX180" fmla="*/ 967636 w 998951"/>
              <a:gd name="connsiteY180" fmla="*/ 350729 h 983294"/>
              <a:gd name="connsiteX181" fmla="*/ 964504 w 998951"/>
              <a:gd name="connsiteY181" fmla="*/ 363255 h 983294"/>
              <a:gd name="connsiteX182" fmla="*/ 964504 w 998951"/>
              <a:gd name="connsiteY182" fmla="*/ 394570 h 983294"/>
              <a:gd name="connsiteX183" fmla="*/ 973899 w 998951"/>
              <a:gd name="connsiteY183" fmla="*/ 397702 h 983294"/>
              <a:gd name="connsiteX184" fmla="*/ 998951 w 998951"/>
              <a:gd name="connsiteY184" fmla="*/ 400833 h 983294"/>
              <a:gd name="connsiteX185" fmla="*/ 986425 w 998951"/>
              <a:gd name="connsiteY185" fmla="*/ 419622 h 983294"/>
              <a:gd name="connsiteX186" fmla="*/ 977030 w 998951"/>
              <a:gd name="connsiteY186" fmla="*/ 438411 h 983294"/>
              <a:gd name="connsiteX187" fmla="*/ 973899 w 998951"/>
              <a:gd name="connsiteY187" fmla="*/ 469726 h 983294"/>
              <a:gd name="connsiteX188" fmla="*/ 967636 w 998951"/>
              <a:gd name="connsiteY188" fmla="*/ 479121 h 983294"/>
              <a:gd name="connsiteX189" fmla="*/ 964504 w 998951"/>
              <a:gd name="connsiteY189" fmla="*/ 488515 h 983294"/>
              <a:gd name="connsiteX190" fmla="*/ 967636 w 998951"/>
              <a:gd name="connsiteY190" fmla="*/ 522962 h 983294"/>
              <a:gd name="connsiteX191" fmla="*/ 970767 w 998951"/>
              <a:gd name="connsiteY191" fmla="*/ 532357 h 983294"/>
              <a:gd name="connsiteX192" fmla="*/ 980162 w 998951"/>
              <a:gd name="connsiteY192" fmla="*/ 563672 h 983294"/>
              <a:gd name="connsiteX0" fmla="*/ 980162 w 998951"/>
              <a:gd name="connsiteY0" fmla="*/ 563672 h 983294"/>
              <a:gd name="connsiteX1" fmla="*/ 955110 w 998951"/>
              <a:gd name="connsiteY1" fmla="*/ 563672 h 983294"/>
              <a:gd name="connsiteX2" fmla="*/ 936321 w 998951"/>
              <a:gd name="connsiteY2" fmla="*/ 576198 h 983294"/>
              <a:gd name="connsiteX3" fmla="*/ 851770 w 998951"/>
              <a:gd name="connsiteY3" fmla="*/ 569935 h 983294"/>
              <a:gd name="connsiteX4" fmla="*/ 842375 w 998951"/>
              <a:gd name="connsiteY4" fmla="*/ 566803 h 983294"/>
              <a:gd name="connsiteX5" fmla="*/ 776614 w 998951"/>
              <a:gd name="connsiteY5" fmla="*/ 569935 h 983294"/>
              <a:gd name="connsiteX6" fmla="*/ 764088 w 998951"/>
              <a:gd name="connsiteY6" fmla="*/ 579329 h 983294"/>
              <a:gd name="connsiteX7" fmla="*/ 754693 w 998951"/>
              <a:gd name="connsiteY7" fmla="*/ 582461 h 983294"/>
              <a:gd name="connsiteX8" fmla="*/ 745299 w 998951"/>
              <a:gd name="connsiteY8" fmla="*/ 588724 h 983294"/>
              <a:gd name="connsiteX9" fmla="*/ 688932 w 998951"/>
              <a:gd name="connsiteY9" fmla="*/ 601250 h 983294"/>
              <a:gd name="connsiteX10" fmla="*/ 679537 w 998951"/>
              <a:gd name="connsiteY10" fmla="*/ 610644 h 983294"/>
              <a:gd name="connsiteX11" fmla="*/ 660748 w 998951"/>
              <a:gd name="connsiteY11" fmla="*/ 623170 h 983294"/>
              <a:gd name="connsiteX12" fmla="*/ 641959 w 998951"/>
              <a:gd name="connsiteY12" fmla="*/ 635696 h 983294"/>
              <a:gd name="connsiteX13" fmla="*/ 623170 w 998951"/>
              <a:gd name="connsiteY13" fmla="*/ 641959 h 983294"/>
              <a:gd name="connsiteX14" fmla="*/ 604381 w 998951"/>
              <a:gd name="connsiteY14" fmla="*/ 654485 h 983294"/>
              <a:gd name="connsiteX15" fmla="*/ 598118 w 998951"/>
              <a:gd name="connsiteY15" fmla="*/ 663880 h 983294"/>
              <a:gd name="connsiteX16" fmla="*/ 579329 w 998951"/>
              <a:gd name="connsiteY16" fmla="*/ 676406 h 983294"/>
              <a:gd name="connsiteX17" fmla="*/ 569934 w 998951"/>
              <a:gd name="connsiteY17" fmla="*/ 685800 h 983294"/>
              <a:gd name="connsiteX18" fmla="*/ 557408 w 998951"/>
              <a:gd name="connsiteY18" fmla="*/ 695195 h 983294"/>
              <a:gd name="connsiteX19" fmla="*/ 529225 w 998951"/>
              <a:gd name="connsiteY19" fmla="*/ 713984 h 983294"/>
              <a:gd name="connsiteX20" fmla="*/ 519830 w 998951"/>
              <a:gd name="connsiteY20" fmla="*/ 723378 h 983294"/>
              <a:gd name="connsiteX21" fmla="*/ 501041 w 998951"/>
              <a:gd name="connsiteY21" fmla="*/ 735904 h 983294"/>
              <a:gd name="connsiteX22" fmla="*/ 485384 w 998951"/>
              <a:gd name="connsiteY22" fmla="*/ 751562 h 983294"/>
              <a:gd name="connsiteX23" fmla="*/ 466595 w 998951"/>
              <a:gd name="connsiteY23" fmla="*/ 770351 h 983294"/>
              <a:gd name="connsiteX24" fmla="*/ 447806 w 998951"/>
              <a:gd name="connsiteY24" fmla="*/ 789140 h 983294"/>
              <a:gd name="connsiteX25" fmla="*/ 441543 w 998951"/>
              <a:gd name="connsiteY25" fmla="*/ 798535 h 983294"/>
              <a:gd name="connsiteX26" fmla="*/ 422754 w 998951"/>
              <a:gd name="connsiteY26" fmla="*/ 811061 h 983294"/>
              <a:gd name="connsiteX27" fmla="*/ 397701 w 998951"/>
              <a:gd name="connsiteY27" fmla="*/ 832981 h 983294"/>
              <a:gd name="connsiteX28" fmla="*/ 388307 w 998951"/>
              <a:gd name="connsiteY28" fmla="*/ 839244 h 983294"/>
              <a:gd name="connsiteX29" fmla="*/ 378912 w 998951"/>
              <a:gd name="connsiteY29" fmla="*/ 845507 h 983294"/>
              <a:gd name="connsiteX30" fmla="*/ 372649 w 998951"/>
              <a:gd name="connsiteY30" fmla="*/ 854902 h 983294"/>
              <a:gd name="connsiteX31" fmla="*/ 366386 w 998951"/>
              <a:gd name="connsiteY31" fmla="*/ 873691 h 983294"/>
              <a:gd name="connsiteX32" fmla="*/ 360123 w 998951"/>
              <a:gd name="connsiteY32" fmla="*/ 883085 h 983294"/>
              <a:gd name="connsiteX33" fmla="*/ 353860 w 998951"/>
              <a:gd name="connsiteY33" fmla="*/ 901874 h 983294"/>
              <a:gd name="connsiteX34" fmla="*/ 350729 w 998951"/>
              <a:gd name="connsiteY34" fmla="*/ 926926 h 983294"/>
              <a:gd name="connsiteX35" fmla="*/ 344466 w 998951"/>
              <a:gd name="connsiteY35" fmla="*/ 983294 h 983294"/>
              <a:gd name="connsiteX36" fmla="*/ 331940 w 998951"/>
              <a:gd name="connsiteY36" fmla="*/ 967636 h 983294"/>
              <a:gd name="connsiteX37" fmla="*/ 322545 w 998951"/>
              <a:gd name="connsiteY37" fmla="*/ 948847 h 983294"/>
              <a:gd name="connsiteX38" fmla="*/ 319414 w 998951"/>
              <a:gd name="connsiteY38" fmla="*/ 933189 h 983294"/>
              <a:gd name="connsiteX39" fmla="*/ 316282 w 998951"/>
              <a:gd name="connsiteY39" fmla="*/ 914400 h 983294"/>
              <a:gd name="connsiteX40" fmla="*/ 310019 w 998951"/>
              <a:gd name="connsiteY40" fmla="*/ 895611 h 983294"/>
              <a:gd name="connsiteX41" fmla="*/ 297493 w 998951"/>
              <a:gd name="connsiteY41" fmla="*/ 876822 h 983294"/>
              <a:gd name="connsiteX42" fmla="*/ 291230 w 998951"/>
              <a:gd name="connsiteY42" fmla="*/ 867428 h 983294"/>
              <a:gd name="connsiteX43" fmla="*/ 272441 w 998951"/>
              <a:gd name="connsiteY43" fmla="*/ 858033 h 983294"/>
              <a:gd name="connsiteX44" fmla="*/ 256784 w 998951"/>
              <a:gd name="connsiteY44" fmla="*/ 829850 h 983294"/>
              <a:gd name="connsiteX45" fmla="*/ 244258 w 998951"/>
              <a:gd name="connsiteY45" fmla="*/ 826718 h 983294"/>
              <a:gd name="connsiteX46" fmla="*/ 234863 w 998951"/>
              <a:gd name="connsiteY46" fmla="*/ 820455 h 983294"/>
              <a:gd name="connsiteX47" fmla="*/ 234863 w 998951"/>
              <a:gd name="connsiteY47" fmla="*/ 798535 h 983294"/>
              <a:gd name="connsiteX48" fmla="*/ 244258 w 998951"/>
              <a:gd name="connsiteY48" fmla="*/ 779746 h 983294"/>
              <a:gd name="connsiteX49" fmla="*/ 247389 w 998951"/>
              <a:gd name="connsiteY49" fmla="*/ 770351 h 983294"/>
              <a:gd name="connsiteX50" fmla="*/ 228600 w 998951"/>
              <a:gd name="connsiteY50" fmla="*/ 760957 h 983294"/>
              <a:gd name="connsiteX51" fmla="*/ 225469 w 998951"/>
              <a:gd name="connsiteY51" fmla="*/ 717115 h 983294"/>
              <a:gd name="connsiteX52" fmla="*/ 256784 w 998951"/>
              <a:gd name="connsiteY52" fmla="*/ 698326 h 983294"/>
              <a:gd name="connsiteX53" fmla="*/ 256784 w 998951"/>
              <a:gd name="connsiteY53" fmla="*/ 663880 h 983294"/>
              <a:gd name="connsiteX54" fmla="*/ 253652 w 998951"/>
              <a:gd name="connsiteY54" fmla="*/ 654485 h 983294"/>
              <a:gd name="connsiteX55" fmla="*/ 244258 w 998951"/>
              <a:gd name="connsiteY55" fmla="*/ 648222 h 983294"/>
              <a:gd name="connsiteX56" fmla="*/ 231732 w 998951"/>
              <a:gd name="connsiteY56" fmla="*/ 616907 h 983294"/>
              <a:gd name="connsiteX57" fmla="*/ 228600 w 998951"/>
              <a:gd name="connsiteY57" fmla="*/ 601250 h 983294"/>
              <a:gd name="connsiteX58" fmla="*/ 219206 w 998951"/>
              <a:gd name="connsiteY58" fmla="*/ 573066 h 983294"/>
              <a:gd name="connsiteX59" fmla="*/ 209811 w 998951"/>
              <a:gd name="connsiteY59" fmla="*/ 569935 h 983294"/>
              <a:gd name="connsiteX60" fmla="*/ 172233 w 998951"/>
              <a:gd name="connsiteY60" fmla="*/ 573066 h 983294"/>
              <a:gd name="connsiteX61" fmla="*/ 156575 w 998951"/>
              <a:gd name="connsiteY61" fmla="*/ 579329 h 983294"/>
              <a:gd name="connsiteX62" fmla="*/ 147181 w 998951"/>
              <a:gd name="connsiteY62" fmla="*/ 582461 h 983294"/>
              <a:gd name="connsiteX63" fmla="*/ 144049 w 998951"/>
              <a:gd name="connsiteY63" fmla="*/ 573066 h 983294"/>
              <a:gd name="connsiteX64" fmla="*/ 134655 w 998951"/>
              <a:gd name="connsiteY64" fmla="*/ 566803 h 983294"/>
              <a:gd name="connsiteX65" fmla="*/ 125260 w 998951"/>
              <a:gd name="connsiteY65" fmla="*/ 569935 h 983294"/>
              <a:gd name="connsiteX66" fmla="*/ 115866 w 998951"/>
              <a:gd name="connsiteY66" fmla="*/ 579329 h 983294"/>
              <a:gd name="connsiteX67" fmla="*/ 106471 w 998951"/>
              <a:gd name="connsiteY67" fmla="*/ 585592 h 983294"/>
              <a:gd name="connsiteX68" fmla="*/ 100208 w 998951"/>
              <a:gd name="connsiteY68" fmla="*/ 576198 h 983294"/>
              <a:gd name="connsiteX69" fmla="*/ 75156 w 998951"/>
              <a:gd name="connsiteY69" fmla="*/ 576198 h 983294"/>
              <a:gd name="connsiteX70" fmla="*/ 46973 w 998951"/>
              <a:gd name="connsiteY70" fmla="*/ 579329 h 983294"/>
              <a:gd name="connsiteX71" fmla="*/ 40710 w 998951"/>
              <a:gd name="connsiteY71" fmla="*/ 569935 h 983294"/>
              <a:gd name="connsiteX72" fmla="*/ 28184 w 998951"/>
              <a:gd name="connsiteY72" fmla="*/ 538620 h 983294"/>
              <a:gd name="connsiteX73" fmla="*/ 18789 w 998951"/>
              <a:gd name="connsiteY73" fmla="*/ 544883 h 983294"/>
              <a:gd name="connsiteX74" fmla="*/ 12526 w 998951"/>
              <a:gd name="connsiteY74" fmla="*/ 554277 h 983294"/>
              <a:gd name="connsiteX75" fmla="*/ 9395 w 998951"/>
              <a:gd name="connsiteY75" fmla="*/ 544883 h 983294"/>
              <a:gd name="connsiteX76" fmla="*/ 6263 w 998951"/>
              <a:gd name="connsiteY76" fmla="*/ 529225 h 983294"/>
              <a:gd name="connsiteX77" fmla="*/ 0 w 998951"/>
              <a:gd name="connsiteY77" fmla="*/ 510436 h 983294"/>
              <a:gd name="connsiteX78" fmla="*/ 12526 w 998951"/>
              <a:gd name="connsiteY78" fmla="*/ 491647 h 983294"/>
              <a:gd name="connsiteX79" fmla="*/ 18789 w 998951"/>
              <a:gd name="connsiteY79" fmla="*/ 482252 h 983294"/>
              <a:gd name="connsiteX80" fmla="*/ 37578 w 998951"/>
              <a:gd name="connsiteY80" fmla="*/ 466595 h 983294"/>
              <a:gd name="connsiteX81" fmla="*/ 43841 w 998951"/>
              <a:gd name="connsiteY81" fmla="*/ 457200 h 983294"/>
              <a:gd name="connsiteX82" fmla="*/ 62630 w 998951"/>
              <a:gd name="connsiteY82" fmla="*/ 438411 h 983294"/>
              <a:gd name="connsiteX83" fmla="*/ 72025 w 998951"/>
              <a:gd name="connsiteY83" fmla="*/ 419622 h 983294"/>
              <a:gd name="connsiteX84" fmla="*/ 78288 w 998951"/>
              <a:gd name="connsiteY84" fmla="*/ 400833 h 983294"/>
              <a:gd name="connsiteX85" fmla="*/ 87682 w 998951"/>
              <a:gd name="connsiteY85" fmla="*/ 366387 h 983294"/>
              <a:gd name="connsiteX86" fmla="*/ 97077 w 998951"/>
              <a:gd name="connsiteY86" fmla="*/ 335072 h 983294"/>
              <a:gd name="connsiteX87" fmla="*/ 100208 w 998951"/>
              <a:gd name="connsiteY87" fmla="*/ 325677 h 983294"/>
              <a:gd name="connsiteX88" fmla="*/ 106471 w 998951"/>
              <a:gd name="connsiteY88" fmla="*/ 284967 h 983294"/>
              <a:gd name="connsiteX89" fmla="*/ 109603 w 998951"/>
              <a:gd name="connsiteY89" fmla="*/ 275573 h 983294"/>
              <a:gd name="connsiteX90" fmla="*/ 115866 w 998951"/>
              <a:gd name="connsiteY90" fmla="*/ 253652 h 983294"/>
              <a:gd name="connsiteX91" fmla="*/ 103340 w 998951"/>
              <a:gd name="connsiteY91" fmla="*/ 203548 h 983294"/>
              <a:gd name="connsiteX92" fmla="*/ 93945 w 998951"/>
              <a:gd name="connsiteY92" fmla="*/ 197285 h 983294"/>
              <a:gd name="connsiteX93" fmla="*/ 81419 w 998951"/>
              <a:gd name="connsiteY93" fmla="*/ 178496 h 983294"/>
              <a:gd name="connsiteX94" fmla="*/ 68893 w 998951"/>
              <a:gd name="connsiteY94" fmla="*/ 159707 h 983294"/>
              <a:gd name="connsiteX95" fmla="*/ 62630 w 998951"/>
              <a:gd name="connsiteY95" fmla="*/ 150313 h 983294"/>
              <a:gd name="connsiteX96" fmla="*/ 56367 w 998951"/>
              <a:gd name="connsiteY96" fmla="*/ 140918 h 983294"/>
              <a:gd name="connsiteX97" fmla="*/ 59499 w 998951"/>
              <a:gd name="connsiteY97" fmla="*/ 125261 h 983294"/>
              <a:gd name="connsiteX98" fmla="*/ 72025 w 998951"/>
              <a:gd name="connsiteY98" fmla="*/ 106472 h 983294"/>
              <a:gd name="connsiteX99" fmla="*/ 78288 w 998951"/>
              <a:gd name="connsiteY99" fmla="*/ 118998 h 983294"/>
              <a:gd name="connsiteX100" fmla="*/ 118997 w 998951"/>
              <a:gd name="connsiteY100" fmla="*/ 112735 h 983294"/>
              <a:gd name="connsiteX101" fmla="*/ 137786 w 998951"/>
              <a:gd name="connsiteY101" fmla="*/ 100209 h 983294"/>
              <a:gd name="connsiteX102" fmla="*/ 150312 w 998951"/>
              <a:gd name="connsiteY102" fmla="*/ 84551 h 983294"/>
              <a:gd name="connsiteX103" fmla="*/ 162838 w 998951"/>
              <a:gd name="connsiteY103" fmla="*/ 97077 h 983294"/>
              <a:gd name="connsiteX104" fmla="*/ 172233 w 998951"/>
              <a:gd name="connsiteY104" fmla="*/ 100209 h 983294"/>
              <a:gd name="connsiteX105" fmla="*/ 200417 w 998951"/>
              <a:gd name="connsiteY105" fmla="*/ 87683 h 983294"/>
              <a:gd name="connsiteX106" fmla="*/ 216074 w 998951"/>
              <a:gd name="connsiteY106" fmla="*/ 109603 h 983294"/>
              <a:gd name="connsiteX107" fmla="*/ 225469 w 998951"/>
              <a:gd name="connsiteY107" fmla="*/ 112735 h 983294"/>
              <a:gd name="connsiteX108" fmla="*/ 253652 w 998951"/>
              <a:gd name="connsiteY108" fmla="*/ 115866 h 983294"/>
              <a:gd name="connsiteX109" fmla="*/ 263047 w 998951"/>
              <a:gd name="connsiteY109" fmla="*/ 118998 h 983294"/>
              <a:gd name="connsiteX110" fmla="*/ 306888 w 998951"/>
              <a:gd name="connsiteY110" fmla="*/ 112735 h 983294"/>
              <a:gd name="connsiteX111" fmla="*/ 322545 w 998951"/>
              <a:gd name="connsiteY111" fmla="*/ 84551 h 983294"/>
              <a:gd name="connsiteX112" fmla="*/ 328808 w 998951"/>
              <a:gd name="connsiteY112" fmla="*/ 75157 h 983294"/>
              <a:gd name="connsiteX113" fmla="*/ 338203 w 998951"/>
              <a:gd name="connsiteY113" fmla="*/ 68894 h 983294"/>
              <a:gd name="connsiteX114" fmla="*/ 350729 w 998951"/>
              <a:gd name="connsiteY114" fmla="*/ 72025 h 983294"/>
              <a:gd name="connsiteX115" fmla="*/ 356992 w 998951"/>
              <a:gd name="connsiteY115" fmla="*/ 90814 h 983294"/>
              <a:gd name="connsiteX116" fmla="*/ 360123 w 998951"/>
              <a:gd name="connsiteY116" fmla="*/ 100209 h 983294"/>
              <a:gd name="connsiteX117" fmla="*/ 369518 w 998951"/>
              <a:gd name="connsiteY117" fmla="*/ 103340 h 983294"/>
              <a:gd name="connsiteX118" fmla="*/ 450937 w 998951"/>
              <a:gd name="connsiteY118" fmla="*/ 97077 h 983294"/>
              <a:gd name="connsiteX119" fmla="*/ 460332 w 998951"/>
              <a:gd name="connsiteY119" fmla="*/ 93946 h 983294"/>
              <a:gd name="connsiteX120" fmla="*/ 482252 w 998951"/>
              <a:gd name="connsiteY120" fmla="*/ 87683 h 983294"/>
              <a:gd name="connsiteX121" fmla="*/ 501041 w 998951"/>
              <a:gd name="connsiteY121" fmla="*/ 72025 h 983294"/>
              <a:gd name="connsiteX122" fmla="*/ 529225 w 998951"/>
              <a:gd name="connsiteY122" fmla="*/ 78288 h 983294"/>
              <a:gd name="connsiteX123" fmla="*/ 538619 w 998951"/>
              <a:gd name="connsiteY123" fmla="*/ 84551 h 983294"/>
              <a:gd name="connsiteX124" fmla="*/ 557408 w 998951"/>
              <a:gd name="connsiteY124" fmla="*/ 81420 h 983294"/>
              <a:gd name="connsiteX125" fmla="*/ 576197 w 998951"/>
              <a:gd name="connsiteY125" fmla="*/ 43841 h 983294"/>
              <a:gd name="connsiteX126" fmla="*/ 591855 w 998951"/>
              <a:gd name="connsiteY126" fmla="*/ 28184 h 983294"/>
              <a:gd name="connsiteX127" fmla="*/ 607512 w 998951"/>
              <a:gd name="connsiteY127" fmla="*/ 9395 h 983294"/>
              <a:gd name="connsiteX128" fmla="*/ 626301 w 998951"/>
              <a:gd name="connsiteY128" fmla="*/ 3132 h 983294"/>
              <a:gd name="connsiteX129" fmla="*/ 635696 w 998951"/>
              <a:gd name="connsiteY129" fmla="*/ 0 h 983294"/>
              <a:gd name="connsiteX130" fmla="*/ 632564 w 998951"/>
              <a:gd name="connsiteY130" fmla="*/ 12526 h 983294"/>
              <a:gd name="connsiteX131" fmla="*/ 632564 w 998951"/>
              <a:gd name="connsiteY131" fmla="*/ 37578 h 983294"/>
              <a:gd name="connsiteX132" fmla="*/ 648222 w 998951"/>
              <a:gd name="connsiteY132" fmla="*/ 53236 h 983294"/>
              <a:gd name="connsiteX133" fmla="*/ 651354 w 998951"/>
              <a:gd name="connsiteY133" fmla="*/ 100209 h 983294"/>
              <a:gd name="connsiteX134" fmla="*/ 660748 w 998951"/>
              <a:gd name="connsiteY134" fmla="*/ 103340 h 983294"/>
              <a:gd name="connsiteX135" fmla="*/ 667011 w 998951"/>
              <a:gd name="connsiteY135" fmla="*/ 112735 h 983294"/>
              <a:gd name="connsiteX136" fmla="*/ 663880 w 998951"/>
              <a:gd name="connsiteY136" fmla="*/ 125261 h 983294"/>
              <a:gd name="connsiteX137" fmla="*/ 654485 w 998951"/>
              <a:gd name="connsiteY137" fmla="*/ 128392 h 983294"/>
              <a:gd name="connsiteX138" fmla="*/ 648222 w 998951"/>
              <a:gd name="connsiteY138" fmla="*/ 137787 h 983294"/>
              <a:gd name="connsiteX139" fmla="*/ 667011 w 998951"/>
              <a:gd name="connsiteY139" fmla="*/ 144050 h 983294"/>
              <a:gd name="connsiteX140" fmla="*/ 676406 w 998951"/>
              <a:gd name="connsiteY140" fmla="*/ 147181 h 983294"/>
              <a:gd name="connsiteX141" fmla="*/ 688932 w 998951"/>
              <a:gd name="connsiteY141" fmla="*/ 175365 h 983294"/>
              <a:gd name="connsiteX142" fmla="*/ 704589 w 998951"/>
              <a:gd name="connsiteY142" fmla="*/ 194154 h 983294"/>
              <a:gd name="connsiteX143" fmla="*/ 698326 w 998951"/>
              <a:gd name="connsiteY143" fmla="*/ 209811 h 983294"/>
              <a:gd name="connsiteX144" fmla="*/ 679537 w 998951"/>
              <a:gd name="connsiteY144" fmla="*/ 216074 h 983294"/>
              <a:gd name="connsiteX145" fmla="*/ 667011 w 998951"/>
              <a:gd name="connsiteY145" fmla="*/ 231732 h 983294"/>
              <a:gd name="connsiteX146" fmla="*/ 648222 w 998951"/>
              <a:gd name="connsiteY146" fmla="*/ 241126 h 983294"/>
              <a:gd name="connsiteX147" fmla="*/ 645091 w 998951"/>
              <a:gd name="connsiteY147" fmla="*/ 263047 h 983294"/>
              <a:gd name="connsiteX148" fmla="*/ 654485 w 998951"/>
              <a:gd name="connsiteY148" fmla="*/ 266178 h 983294"/>
              <a:gd name="connsiteX149" fmla="*/ 660748 w 998951"/>
              <a:gd name="connsiteY149" fmla="*/ 294362 h 983294"/>
              <a:gd name="connsiteX150" fmla="*/ 670143 w 998951"/>
              <a:gd name="connsiteY150" fmla="*/ 316283 h 983294"/>
              <a:gd name="connsiteX151" fmla="*/ 679537 w 998951"/>
              <a:gd name="connsiteY151" fmla="*/ 319414 h 983294"/>
              <a:gd name="connsiteX152" fmla="*/ 710852 w 998951"/>
              <a:gd name="connsiteY152" fmla="*/ 325677 h 983294"/>
              <a:gd name="connsiteX153" fmla="*/ 729641 w 998951"/>
              <a:gd name="connsiteY153" fmla="*/ 331940 h 983294"/>
              <a:gd name="connsiteX154" fmla="*/ 735904 w 998951"/>
              <a:gd name="connsiteY154" fmla="*/ 341335 h 983294"/>
              <a:gd name="connsiteX155" fmla="*/ 754693 w 998951"/>
              <a:gd name="connsiteY155" fmla="*/ 353861 h 983294"/>
              <a:gd name="connsiteX156" fmla="*/ 748430 w 998951"/>
              <a:gd name="connsiteY156" fmla="*/ 325677 h 983294"/>
              <a:gd name="connsiteX157" fmla="*/ 754693 w 998951"/>
              <a:gd name="connsiteY157" fmla="*/ 325678 h 983294"/>
              <a:gd name="connsiteX158" fmla="*/ 770351 w 998951"/>
              <a:gd name="connsiteY158" fmla="*/ 325677 h 983294"/>
              <a:gd name="connsiteX159" fmla="*/ 776614 w 998951"/>
              <a:gd name="connsiteY159" fmla="*/ 306888 h 983294"/>
              <a:gd name="connsiteX160" fmla="*/ 786008 w 998951"/>
              <a:gd name="connsiteY160" fmla="*/ 278704 h 983294"/>
              <a:gd name="connsiteX161" fmla="*/ 807929 w 998951"/>
              <a:gd name="connsiteY161" fmla="*/ 281836 h 983294"/>
              <a:gd name="connsiteX162" fmla="*/ 820455 w 998951"/>
              <a:gd name="connsiteY162" fmla="*/ 297494 h 983294"/>
              <a:gd name="connsiteX163" fmla="*/ 829849 w 998951"/>
              <a:gd name="connsiteY163" fmla="*/ 294362 h 983294"/>
              <a:gd name="connsiteX164" fmla="*/ 848638 w 998951"/>
              <a:gd name="connsiteY164" fmla="*/ 281836 h 983294"/>
              <a:gd name="connsiteX165" fmla="*/ 867428 w 998951"/>
              <a:gd name="connsiteY165" fmla="*/ 275573 h 983294"/>
              <a:gd name="connsiteX166" fmla="*/ 876822 w 998951"/>
              <a:gd name="connsiteY166" fmla="*/ 269310 h 983294"/>
              <a:gd name="connsiteX167" fmla="*/ 883085 w 998951"/>
              <a:gd name="connsiteY167" fmla="*/ 250521 h 983294"/>
              <a:gd name="connsiteX168" fmla="*/ 905006 w 998951"/>
              <a:gd name="connsiteY168" fmla="*/ 241126 h 983294"/>
              <a:gd name="connsiteX169" fmla="*/ 914400 w 998951"/>
              <a:gd name="connsiteY169" fmla="*/ 231732 h 983294"/>
              <a:gd name="connsiteX170" fmla="*/ 936321 w 998951"/>
              <a:gd name="connsiteY170" fmla="*/ 247389 h 983294"/>
              <a:gd name="connsiteX171" fmla="*/ 942584 w 998951"/>
              <a:gd name="connsiteY171" fmla="*/ 256784 h 983294"/>
              <a:gd name="connsiteX172" fmla="*/ 961373 w 998951"/>
              <a:gd name="connsiteY172" fmla="*/ 263047 h 983294"/>
              <a:gd name="connsiteX173" fmla="*/ 970767 w 998951"/>
              <a:gd name="connsiteY173" fmla="*/ 269310 h 983294"/>
              <a:gd name="connsiteX174" fmla="*/ 980162 w 998951"/>
              <a:gd name="connsiteY174" fmla="*/ 272441 h 983294"/>
              <a:gd name="connsiteX175" fmla="*/ 967636 w 998951"/>
              <a:gd name="connsiteY175" fmla="*/ 284967 h 983294"/>
              <a:gd name="connsiteX176" fmla="*/ 948847 w 998951"/>
              <a:gd name="connsiteY176" fmla="*/ 303757 h 983294"/>
              <a:gd name="connsiteX177" fmla="*/ 945715 w 998951"/>
              <a:gd name="connsiteY177" fmla="*/ 313151 h 983294"/>
              <a:gd name="connsiteX178" fmla="*/ 951978 w 998951"/>
              <a:gd name="connsiteY178" fmla="*/ 338203 h 983294"/>
              <a:gd name="connsiteX179" fmla="*/ 958241 w 998951"/>
              <a:gd name="connsiteY179" fmla="*/ 347598 h 983294"/>
              <a:gd name="connsiteX180" fmla="*/ 967636 w 998951"/>
              <a:gd name="connsiteY180" fmla="*/ 350729 h 983294"/>
              <a:gd name="connsiteX181" fmla="*/ 964504 w 998951"/>
              <a:gd name="connsiteY181" fmla="*/ 363255 h 983294"/>
              <a:gd name="connsiteX182" fmla="*/ 964504 w 998951"/>
              <a:gd name="connsiteY182" fmla="*/ 394570 h 983294"/>
              <a:gd name="connsiteX183" fmla="*/ 995819 w 998951"/>
              <a:gd name="connsiteY183" fmla="*/ 388308 h 983294"/>
              <a:gd name="connsiteX184" fmla="*/ 998951 w 998951"/>
              <a:gd name="connsiteY184" fmla="*/ 400833 h 983294"/>
              <a:gd name="connsiteX185" fmla="*/ 986425 w 998951"/>
              <a:gd name="connsiteY185" fmla="*/ 419622 h 983294"/>
              <a:gd name="connsiteX186" fmla="*/ 977030 w 998951"/>
              <a:gd name="connsiteY186" fmla="*/ 438411 h 983294"/>
              <a:gd name="connsiteX187" fmla="*/ 973899 w 998951"/>
              <a:gd name="connsiteY187" fmla="*/ 469726 h 983294"/>
              <a:gd name="connsiteX188" fmla="*/ 967636 w 998951"/>
              <a:gd name="connsiteY188" fmla="*/ 479121 h 983294"/>
              <a:gd name="connsiteX189" fmla="*/ 964504 w 998951"/>
              <a:gd name="connsiteY189" fmla="*/ 488515 h 983294"/>
              <a:gd name="connsiteX190" fmla="*/ 967636 w 998951"/>
              <a:gd name="connsiteY190" fmla="*/ 522962 h 983294"/>
              <a:gd name="connsiteX191" fmla="*/ 970767 w 998951"/>
              <a:gd name="connsiteY191" fmla="*/ 532357 h 983294"/>
              <a:gd name="connsiteX192" fmla="*/ 980162 w 998951"/>
              <a:gd name="connsiteY192" fmla="*/ 563672 h 983294"/>
              <a:gd name="connsiteX0" fmla="*/ 980162 w 998951"/>
              <a:gd name="connsiteY0" fmla="*/ 563672 h 983294"/>
              <a:gd name="connsiteX1" fmla="*/ 955110 w 998951"/>
              <a:gd name="connsiteY1" fmla="*/ 563672 h 983294"/>
              <a:gd name="connsiteX2" fmla="*/ 936321 w 998951"/>
              <a:gd name="connsiteY2" fmla="*/ 576198 h 983294"/>
              <a:gd name="connsiteX3" fmla="*/ 851770 w 998951"/>
              <a:gd name="connsiteY3" fmla="*/ 569935 h 983294"/>
              <a:gd name="connsiteX4" fmla="*/ 842375 w 998951"/>
              <a:gd name="connsiteY4" fmla="*/ 566803 h 983294"/>
              <a:gd name="connsiteX5" fmla="*/ 776614 w 998951"/>
              <a:gd name="connsiteY5" fmla="*/ 569935 h 983294"/>
              <a:gd name="connsiteX6" fmla="*/ 764088 w 998951"/>
              <a:gd name="connsiteY6" fmla="*/ 579329 h 983294"/>
              <a:gd name="connsiteX7" fmla="*/ 754693 w 998951"/>
              <a:gd name="connsiteY7" fmla="*/ 582461 h 983294"/>
              <a:gd name="connsiteX8" fmla="*/ 745299 w 998951"/>
              <a:gd name="connsiteY8" fmla="*/ 588724 h 983294"/>
              <a:gd name="connsiteX9" fmla="*/ 688932 w 998951"/>
              <a:gd name="connsiteY9" fmla="*/ 601250 h 983294"/>
              <a:gd name="connsiteX10" fmla="*/ 679537 w 998951"/>
              <a:gd name="connsiteY10" fmla="*/ 610644 h 983294"/>
              <a:gd name="connsiteX11" fmla="*/ 660748 w 998951"/>
              <a:gd name="connsiteY11" fmla="*/ 623170 h 983294"/>
              <a:gd name="connsiteX12" fmla="*/ 641959 w 998951"/>
              <a:gd name="connsiteY12" fmla="*/ 635696 h 983294"/>
              <a:gd name="connsiteX13" fmla="*/ 623170 w 998951"/>
              <a:gd name="connsiteY13" fmla="*/ 641959 h 983294"/>
              <a:gd name="connsiteX14" fmla="*/ 604381 w 998951"/>
              <a:gd name="connsiteY14" fmla="*/ 654485 h 983294"/>
              <a:gd name="connsiteX15" fmla="*/ 598118 w 998951"/>
              <a:gd name="connsiteY15" fmla="*/ 663880 h 983294"/>
              <a:gd name="connsiteX16" fmla="*/ 579329 w 998951"/>
              <a:gd name="connsiteY16" fmla="*/ 676406 h 983294"/>
              <a:gd name="connsiteX17" fmla="*/ 569934 w 998951"/>
              <a:gd name="connsiteY17" fmla="*/ 685800 h 983294"/>
              <a:gd name="connsiteX18" fmla="*/ 557408 w 998951"/>
              <a:gd name="connsiteY18" fmla="*/ 695195 h 983294"/>
              <a:gd name="connsiteX19" fmla="*/ 529225 w 998951"/>
              <a:gd name="connsiteY19" fmla="*/ 713984 h 983294"/>
              <a:gd name="connsiteX20" fmla="*/ 519830 w 998951"/>
              <a:gd name="connsiteY20" fmla="*/ 723378 h 983294"/>
              <a:gd name="connsiteX21" fmla="*/ 501041 w 998951"/>
              <a:gd name="connsiteY21" fmla="*/ 735904 h 983294"/>
              <a:gd name="connsiteX22" fmla="*/ 485384 w 998951"/>
              <a:gd name="connsiteY22" fmla="*/ 751562 h 983294"/>
              <a:gd name="connsiteX23" fmla="*/ 466595 w 998951"/>
              <a:gd name="connsiteY23" fmla="*/ 770351 h 983294"/>
              <a:gd name="connsiteX24" fmla="*/ 447806 w 998951"/>
              <a:gd name="connsiteY24" fmla="*/ 789140 h 983294"/>
              <a:gd name="connsiteX25" fmla="*/ 441543 w 998951"/>
              <a:gd name="connsiteY25" fmla="*/ 798535 h 983294"/>
              <a:gd name="connsiteX26" fmla="*/ 422754 w 998951"/>
              <a:gd name="connsiteY26" fmla="*/ 811061 h 983294"/>
              <a:gd name="connsiteX27" fmla="*/ 397701 w 998951"/>
              <a:gd name="connsiteY27" fmla="*/ 832981 h 983294"/>
              <a:gd name="connsiteX28" fmla="*/ 388307 w 998951"/>
              <a:gd name="connsiteY28" fmla="*/ 839244 h 983294"/>
              <a:gd name="connsiteX29" fmla="*/ 378912 w 998951"/>
              <a:gd name="connsiteY29" fmla="*/ 845507 h 983294"/>
              <a:gd name="connsiteX30" fmla="*/ 372649 w 998951"/>
              <a:gd name="connsiteY30" fmla="*/ 854902 h 983294"/>
              <a:gd name="connsiteX31" fmla="*/ 366386 w 998951"/>
              <a:gd name="connsiteY31" fmla="*/ 873691 h 983294"/>
              <a:gd name="connsiteX32" fmla="*/ 360123 w 998951"/>
              <a:gd name="connsiteY32" fmla="*/ 883085 h 983294"/>
              <a:gd name="connsiteX33" fmla="*/ 353860 w 998951"/>
              <a:gd name="connsiteY33" fmla="*/ 901874 h 983294"/>
              <a:gd name="connsiteX34" fmla="*/ 350729 w 998951"/>
              <a:gd name="connsiteY34" fmla="*/ 926926 h 983294"/>
              <a:gd name="connsiteX35" fmla="*/ 344466 w 998951"/>
              <a:gd name="connsiteY35" fmla="*/ 983294 h 983294"/>
              <a:gd name="connsiteX36" fmla="*/ 331940 w 998951"/>
              <a:gd name="connsiteY36" fmla="*/ 967636 h 983294"/>
              <a:gd name="connsiteX37" fmla="*/ 322545 w 998951"/>
              <a:gd name="connsiteY37" fmla="*/ 948847 h 983294"/>
              <a:gd name="connsiteX38" fmla="*/ 319414 w 998951"/>
              <a:gd name="connsiteY38" fmla="*/ 933189 h 983294"/>
              <a:gd name="connsiteX39" fmla="*/ 316282 w 998951"/>
              <a:gd name="connsiteY39" fmla="*/ 914400 h 983294"/>
              <a:gd name="connsiteX40" fmla="*/ 310019 w 998951"/>
              <a:gd name="connsiteY40" fmla="*/ 895611 h 983294"/>
              <a:gd name="connsiteX41" fmla="*/ 297493 w 998951"/>
              <a:gd name="connsiteY41" fmla="*/ 876822 h 983294"/>
              <a:gd name="connsiteX42" fmla="*/ 291230 w 998951"/>
              <a:gd name="connsiteY42" fmla="*/ 867428 h 983294"/>
              <a:gd name="connsiteX43" fmla="*/ 272441 w 998951"/>
              <a:gd name="connsiteY43" fmla="*/ 858033 h 983294"/>
              <a:gd name="connsiteX44" fmla="*/ 256784 w 998951"/>
              <a:gd name="connsiteY44" fmla="*/ 829850 h 983294"/>
              <a:gd name="connsiteX45" fmla="*/ 244258 w 998951"/>
              <a:gd name="connsiteY45" fmla="*/ 826718 h 983294"/>
              <a:gd name="connsiteX46" fmla="*/ 234863 w 998951"/>
              <a:gd name="connsiteY46" fmla="*/ 820455 h 983294"/>
              <a:gd name="connsiteX47" fmla="*/ 234863 w 998951"/>
              <a:gd name="connsiteY47" fmla="*/ 798535 h 983294"/>
              <a:gd name="connsiteX48" fmla="*/ 244258 w 998951"/>
              <a:gd name="connsiteY48" fmla="*/ 779746 h 983294"/>
              <a:gd name="connsiteX49" fmla="*/ 247389 w 998951"/>
              <a:gd name="connsiteY49" fmla="*/ 770351 h 983294"/>
              <a:gd name="connsiteX50" fmla="*/ 228600 w 998951"/>
              <a:gd name="connsiteY50" fmla="*/ 760957 h 983294"/>
              <a:gd name="connsiteX51" fmla="*/ 225469 w 998951"/>
              <a:gd name="connsiteY51" fmla="*/ 717115 h 983294"/>
              <a:gd name="connsiteX52" fmla="*/ 256784 w 998951"/>
              <a:gd name="connsiteY52" fmla="*/ 698326 h 983294"/>
              <a:gd name="connsiteX53" fmla="*/ 256784 w 998951"/>
              <a:gd name="connsiteY53" fmla="*/ 663880 h 983294"/>
              <a:gd name="connsiteX54" fmla="*/ 253652 w 998951"/>
              <a:gd name="connsiteY54" fmla="*/ 654485 h 983294"/>
              <a:gd name="connsiteX55" fmla="*/ 244258 w 998951"/>
              <a:gd name="connsiteY55" fmla="*/ 648222 h 983294"/>
              <a:gd name="connsiteX56" fmla="*/ 231732 w 998951"/>
              <a:gd name="connsiteY56" fmla="*/ 616907 h 983294"/>
              <a:gd name="connsiteX57" fmla="*/ 228600 w 998951"/>
              <a:gd name="connsiteY57" fmla="*/ 601250 h 983294"/>
              <a:gd name="connsiteX58" fmla="*/ 219206 w 998951"/>
              <a:gd name="connsiteY58" fmla="*/ 573066 h 983294"/>
              <a:gd name="connsiteX59" fmla="*/ 209811 w 998951"/>
              <a:gd name="connsiteY59" fmla="*/ 569935 h 983294"/>
              <a:gd name="connsiteX60" fmla="*/ 172233 w 998951"/>
              <a:gd name="connsiteY60" fmla="*/ 573066 h 983294"/>
              <a:gd name="connsiteX61" fmla="*/ 156575 w 998951"/>
              <a:gd name="connsiteY61" fmla="*/ 579329 h 983294"/>
              <a:gd name="connsiteX62" fmla="*/ 147181 w 998951"/>
              <a:gd name="connsiteY62" fmla="*/ 582461 h 983294"/>
              <a:gd name="connsiteX63" fmla="*/ 144049 w 998951"/>
              <a:gd name="connsiteY63" fmla="*/ 573066 h 983294"/>
              <a:gd name="connsiteX64" fmla="*/ 134655 w 998951"/>
              <a:gd name="connsiteY64" fmla="*/ 579329 h 983294"/>
              <a:gd name="connsiteX65" fmla="*/ 125260 w 998951"/>
              <a:gd name="connsiteY65" fmla="*/ 569935 h 983294"/>
              <a:gd name="connsiteX66" fmla="*/ 115866 w 998951"/>
              <a:gd name="connsiteY66" fmla="*/ 579329 h 983294"/>
              <a:gd name="connsiteX67" fmla="*/ 106471 w 998951"/>
              <a:gd name="connsiteY67" fmla="*/ 585592 h 983294"/>
              <a:gd name="connsiteX68" fmla="*/ 100208 w 998951"/>
              <a:gd name="connsiteY68" fmla="*/ 576198 h 983294"/>
              <a:gd name="connsiteX69" fmla="*/ 75156 w 998951"/>
              <a:gd name="connsiteY69" fmla="*/ 576198 h 983294"/>
              <a:gd name="connsiteX70" fmla="*/ 46973 w 998951"/>
              <a:gd name="connsiteY70" fmla="*/ 579329 h 983294"/>
              <a:gd name="connsiteX71" fmla="*/ 40710 w 998951"/>
              <a:gd name="connsiteY71" fmla="*/ 569935 h 983294"/>
              <a:gd name="connsiteX72" fmla="*/ 28184 w 998951"/>
              <a:gd name="connsiteY72" fmla="*/ 538620 h 983294"/>
              <a:gd name="connsiteX73" fmla="*/ 18789 w 998951"/>
              <a:gd name="connsiteY73" fmla="*/ 544883 h 983294"/>
              <a:gd name="connsiteX74" fmla="*/ 12526 w 998951"/>
              <a:gd name="connsiteY74" fmla="*/ 554277 h 983294"/>
              <a:gd name="connsiteX75" fmla="*/ 9395 w 998951"/>
              <a:gd name="connsiteY75" fmla="*/ 544883 h 983294"/>
              <a:gd name="connsiteX76" fmla="*/ 6263 w 998951"/>
              <a:gd name="connsiteY76" fmla="*/ 529225 h 983294"/>
              <a:gd name="connsiteX77" fmla="*/ 0 w 998951"/>
              <a:gd name="connsiteY77" fmla="*/ 510436 h 983294"/>
              <a:gd name="connsiteX78" fmla="*/ 12526 w 998951"/>
              <a:gd name="connsiteY78" fmla="*/ 491647 h 983294"/>
              <a:gd name="connsiteX79" fmla="*/ 18789 w 998951"/>
              <a:gd name="connsiteY79" fmla="*/ 482252 h 983294"/>
              <a:gd name="connsiteX80" fmla="*/ 37578 w 998951"/>
              <a:gd name="connsiteY80" fmla="*/ 466595 h 983294"/>
              <a:gd name="connsiteX81" fmla="*/ 43841 w 998951"/>
              <a:gd name="connsiteY81" fmla="*/ 457200 h 983294"/>
              <a:gd name="connsiteX82" fmla="*/ 62630 w 998951"/>
              <a:gd name="connsiteY82" fmla="*/ 438411 h 983294"/>
              <a:gd name="connsiteX83" fmla="*/ 72025 w 998951"/>
              <a:gd name="connsiteY83" fmla="*/ 419622 h 983294"/>
              <a:gd name="connsiteX84" fmla="*/ 78288 w 998951"/>
              <a:gd name="connsiteY84" fmla="*/ 400833 h 983294"/>
              <a:gd name="connsiteX85" fmla="*/ 87682 w 998951"/>
              <a:gd name="connsiteY85" fmla="*/ 366387 h 983294"/>
              <a:gd name="connsiteX86" fmla="*/ 97077 w 998951"/>
              <a:gd name="connsiteY86" fmla="*/ 335072 h 983294"/>
              <a:gd name="connsiteX87" fmla="*/ 100208 w 998951"/>
              <a:gd name="connsiteY87" fmla="*/ 325677 h 983294"/>
              <a:gd name="connsiteX88" fmla="*/ 106471 w 998951"/>
              <a:gd name="connsiteY88" fmla="*/ 284967 h 983294"/>
              <a:gd name="connsiteX89" fmla="*/ 109603 w 998951"/>
              <a:gd name="connsiteY89" fmla="*/ 275573 h 983294"/>
              <a:gd name="connsiteX90" fmla="*/ 115866 w 998951"/>
              <a:gd name="connsiteY90" fmla="*/ 253652 h 983294"/>
              <a:gd name="connsiteX91" fmla="*/ 103340 w 998951"/>
              <a:gd name="connsiteY91" fmla="*/ 203548 h 983294"/>
              <a:gd name="connsiteX92" fmla="*/ 93945 w 998951"/>
              <a:gd name="connsiteY92" fmla="*/ 197285 h 983294"/>
              <a:gd name="connsiteX93" fmla="*/ 81419 w 998951"/>
              <a:gd name="connsiteY93" fmla="*/ 178496 h 983294"/>
              <a:gd name="connsiteX94" fmla="*/ 68893 w 998951"/>
              <a:gd name="connsiteY94" fmla="*/ 159707 h 983294"/>
              <a:gd name="connsiteX95" fmla="*/ 62630 w 998951"/>
              <a:gd name="connsiteY95" fmla="*/ 150313 h 983294"/>
              <a:gd name="connsiteX96" fmla="*/ 56367 w 998951"/>
              <a:gd name="connsiteY96" fmla="*/ 140918 h 983294"/>
              <a:gd name="connsiteX97" fmla="*/ 59499 w 998951"/>
              <a:gd name="connsiteY97" fmla="*/ 125261 h 983294"/>
              <a:gd name="connsiteX98" fmla="*/ 72025 w 998951"/>
              <a:gd name="connsiteY98" fmla="*/ 106472 h 983294"/>
              <a:gd name="connsiteX99" fmla="*/ 78288 w 998951"/>
              <a:gd name="connsiteY99" fmla="*/ 118998 h 983294"/>
              <a:gd name="connsiteX100" fmla="*/ 118997 w 998951"/>
              <a:gd name="connsiteY100" fmla="*/ 112735 h 983294"/>
              <a:gd name="connsiteX101" fmla="*/ 137786 w 998951"/>
              <a:gd name="connsiteY101" fmla="*/ 100209 h 983294"/>
              <a:gd name="connsiteX102" fmla="*/ 150312 w 998951"/>
              <a:gd name="connsiteY102" fmla="*/ 84551 h 983294"/>
              <a:gd name="connsiteX103" fmla="*/ 162838 w 998951"/>
              <a:gd name="connsiteY103" fmla="*/ 97077 h 983294"/>
              <a:gd name="connsiteX104" fmla="*/ 172233 w 998951"/>
              <a:gd name="connsiteY104" fmla="*/ 100209 h 983294"/>
              <a:gd name="connsiteX105" fmla="*/ 200417 w 998951"/>
              <a:gd name="connsiteY105" fmla="*/ 87683 h 983294"/>
              <a:gd name="connsiteX106" fmla="*/ 216074 w 998951"/>
              <a:gd name="connsiteY106" fmla="*/ 109603 h 983294"/>
              <a:gd name="connsiteX107" fmla="*/ 225469 w 998951"/>
              <a:gd name="connsiteY107" fmla="*/ 112735 h 983294"/>
              <a:gd name="connsiteX108" fmla="*/ 253652 w 998951"/>
              <a:gd name="connsiteY108" fmla="*/ 115866 h 983294"/>
              <a:gd name="connsiteX109" fmla="*/ 263047 w 998951"/>
              <a:gd name="connsiteY109" fmla="*/ 118998 h 983294"/>
              <a:gd name="connsiteX110" fmla="*/ 306888 w 998951"/>
              <a:gd name="connsiteY110" fmla="*/ 112735 h 983294"/>
              <a:gd name="connsiteX111" fmla="*/ 322545 w 998951"/>
              <a:gd name="connsiteY111" fmla="*/ 84551 h 983294"/>
              <a:gd name="connsiteX112" fmla="*/ 328808 w 998951"/>
              <a:gd name="connsiteY112" fmla="*/ 75157 h 983294"/>
              <a:gd name="connsiteX113" fmla="*/ 338203 w 998951"/>
              <a:gd name="connsiteY113" fmla="*/ 68894 h 983294"/>
              <a:gd name="connsiteX114" fmla="*/ 350729 w 998951"/>
              <a:gd name="connsiteY114" fmla="*/ 72025 h 983294"/>
              <a:gd name="connsiteX115" fmla="*/ 356992 w 998951"/>
              <a:gd name="connsiteY115" fmla="*/ 90814 h 983294"/>
              <a:gd name="connsiteX116" fmla="*/ 360123 w 998951"/>
              <a:gd name="connsiteY116" fmla="*/ 100209 h 983294"/>
              <a:gd name="connsiteX117" fmla="*/ 369518 w 998951"/>
              <a:gd name="connsiteY117" fmla="*/ 103340 h 983294"/>
              <a:gd name="connsiteX118" fmla="*/ 450937 w 998951"/>
              <a:gd name="connsiteY118" fmla="*/ 97077 h 983294"/>
              <a:gd name="connsiteX119" fmla="*/ 460332 w 998951"/>
              <a:gd name="connsiteY119" fmla="*/ 93946 h 983294"/>
              <a:gd name="connsiteX120" fmla="*/ 482252 w 998951"/>
              <a:gd name="connsiteY120" fmla="*/ 87683 h 983294"/>
              <a:gd name="connsiteX121" fmla="*/ 501041 w 998951"/>
              <a:gd name="connsiteY121" fmla="*/ 72025 h 983294"/>
              <a:gd name="connsiteX122" fmla="*/ 529225 w 998951"/>
              <a:gd name="connsiteY122" fmla="*/ 78288 h 983294"/>
              <a:gd name="connsiteX123" fmla="*/ 538619 w 998951"/>
              <a:gd name="connsiteY123" fmla="*/ 84551 h 983294"/>
              <a:gd name="connsiteX124" fmla="*/ 557408 w 998951"/>
              <a:gd name="connsiteY124" fmla="*/ 81420 h 983294"/>
              <a:gd name="connsiteX125" fmla="*/ 576197 w 998951"/>
              <a:gd name="connsiteY125" fmla="*/ 43841 h 983294"/>
              <a:gd name="connsiteX126" fmla="*/ 591855 w 998951"/>
              <a:gd name="connsiteY126" fmla="*/ 28184 h 983294"/>
              <a:gd name="connsiteX127" fmla="*/ 607512 w 998951"/>
              <a:gd name="connsiteY127" fmla="*/ 9395 h 983294"/>
              <a:gd name="connsiteX128" fmla="*/ 626301 w 998951"/>
              <a:gd name="connsiteY128" fmla="*/ 3132 h 983294"/>
              <a:gd name="connsiteX129" fmla="*/ 635696 w 998951"/>
              <a:gd name="connsiteY129" fmla="*/ 0 h 983294"/>
              <a:gd name="connsiteX130" fmla="*/ 632564 w 998951"/>
              <a:gd name="connsiteY130" fmla="*/ 12526 h 983294"/>
              <a:gd name="connsiteX131" fmla="*/ 632564 w 998951"/>
              <a:gd name="connsiteY131" fmla="*/ 37578 h 983294"/>
              <a:gd name="connsiteX132" fmla="*/ 648222 w 998951"/>
              <a:gd name="connsiteY132" fmla="*/ 53236 h 983294"/>
              <a:gd name="connsiteX133" fmla="*/ 651354 w 998951"/>
              <a:gd name="connsiteY133" fmla="*/ 100209 h 983294"/>
              <a:gd name="connsiteX134" fmla="*/ 660748 w 998951"/>
              <a:gd name="connsiteY134" fmla="*/ 103340 h 983294"/>
              <a:gd name="connsiteX135" fmla="*/ 667011 w 998951"/>
              <a:gd name="connsiteY135" fmla="*/ 112735 h 983294"/>
              <a:gd name="connsiteX136" fmla="*/ 663880 w 998951"/>
              <a:gd name="connsiteY136" fmla="*/ 125261 h 983294"/>
              <a:gd name="connsiteX137" fmla="*/ 654485 w 998951"/>
              <a:gd name="connsiteY137" fmla="*/ 128392 h 983294"/>
              <a:gd name="connsiteX138" fmla="*/ 648222 w 998951"/>
              <a:gd name="connsiteY138" fmla="*/ 137787 h 983294"/>
              <a:gd name="connsiteX139" fmla="*/ 667011 w 998951"/>
              <a:gd name="connsiteY139" fmla="*/ 144050 h 983294"/>
              <a:gd name="connsiteX140" fmla="*/ 676406 w 998951"/>
              <a:gd name="connsiteY140" fmla="*/ 147181 h 983294"/>
              <a:gd name="connsiteX141" fmla="*/ 688932 w 998951"/>
              <a:gd name="connsiteY141" fmla="*/ 175365 h 983294"/>
              <a:gd name="connsiteX142" fmla="*/ 704589 w 998951"/>
              <a:gd name="connsiteY142" fmla="*/ 194154 h 983294"/>
              <a:gd name="connsiteX143" fmla="*/ 698326 w 998951"/>
              <a:gd name="connsiteY143" fmla="*/ 209811 h 983294"/>
              <a:gd name="connsiteX144" fmla="*/ 679537 w 998951"/>
              <a:gd name="connsiteY144" fmla="*/ 216074 h 983294"/>
              <a:gd name="connsiteX145" fmla="*/ 667011 w 998951"/>
              <a:gd name="connsiteY145" fmla="*/ 231732 h 983294"/>
              <a:gd name="connsiteX146" fmla="*/ 648222 w 998951"/>
              <a:gd name="connsiteY146" fmla="*/ 241126 h 983294"/>
              <a:gd name="connsiteX147" fmla="*/ 645091 w 998951"/>
              <a:gd name="connsiteY147" fmla="*/ 263047 h 983294"/>
              <a:gd name="connsiteX148" fmla="*/ 654485 w 998951"/>
              <a:gd name="connsiteY148" fmla="*/ 266178 h 983294"/>
              <a:gd name="connsiteX149" fmla="*/ 660748 w 998951"/>
              <a:gd name="connsiteY149" fmla="*/ 294362 h 983294"/>
              <a:gd name="connsiteX150" fmla="*/ 670143 w 998951"/>
              <a:gd name="connsiteY150" fmla="*/ 316283 h 983294"/>
              <a:gd name="connsiteX151" fmla="*/ 679537 w 998951"/>
              <a:gd name="connsiteY151" fmla="*/ 319414 h 983294"/>
              <a:gd name="connsiteX152" fmla="*/ 710852 w 998951"/>
              <a:gd name="connsiteY152" fmla="*/ 325677 h 983294"/>
              <a:gd name="connsiteX153" fmla="*/ 729641 w 998951"/>
              <a:gd name="connsiteY153" fmla="*/ 331940 h 983294"/>
              <a:gd name="connsiteX154" fmla="*/ 735904 w 998951"/>
              <a:gd name="connsiteY154" fmla="*/ 341335 h 983294"/>
              <a:gd name="connsiteX155" fmla="*/ 754693 w 998951"/>
              <a:gd name="connsiteY155" fmla="*/ 353861 h 983294"/>
              <a:gd name="connsiteX156" fmla="*/ 748430 w 998951"/>
              <a:gd name="connsiteY156" fmla="*/ 325677 h 983294"/>
              <a:gd name="connsiteX157" fmla="*/ 754693 w 998951"/>
              <a:gd name="connsiteY157" fmla="*/ 325678 h 983294"/>
              <a:gd name="connsiteX158" fmla="*/ 770351 w 998951"/>
              <a:gd name="connsiteY158" fmla="*/ 325677 h 983294"/>
              <a:gd name="connsiteX159" fmla="*/ 776614 w 998951"/>
              <a:gd name="connsiteY159" fmla="*/ 306888 h 983294"/>
              <a:gd name="connsiteX160" fmla="*/ 786008 w 998951"/>
              <a:gd name="connsiteY160" fmla="*/ 278704 h 983294"/>
              <a:gd name="connsiteX161" fmla="*/ 807929 w 998951"/>
              <a:gd name="connsiteY161" fmla="*/ 281836 h 983294"/>
              <a:gd name="connsiteX162" fmla="*/ 820455 w 998951"/>
              <a:gd name="connsiteY162" fmla="*/ 297494 h 983294"/>
              <a:gd name="connsiteX163" fmla="*/ 829849 w 998951"/>
              <a:gd name="connsiteY163" fmla="*/ 294362 h 983294"/>
              <a:gd name="connsiteX164" fmla="*/ 848638 w 998951"/>
              <a:gd name="connsiteY164" fmla="*/ 281836 h 983294"/>
              <a:gd name="connsiteX165" fmla="*/ 867428 w 998951"/>
              <a:gd name="connsiteY165" fmla="*/ 275573 h 983294"/>
              <a:gd name="connsiteX166" fmla="*/ 876822 w 998951"/>
              <a:gd name="connsiteY166" fmla="*/ 269310 h 983294"/>
              <a:gd name="connsiteX167" fmla="*/ 883085 w 998951"/>
              <a:gd name="connsiteY167" fmla="*/ 250521 h 983294"/>
              <a:gd name="connsiteX168" fmla="*/ 905006 w 998951"/>
              <a:gd name="connsiteY168" fmla="*/ 241126 h 983294"/>
              <a:gd name="connsiteX169" fmla="*/ 914400 w 998951"/>
              <a:gd name="connsiteY169" fmla="*/ 231732 h 983294"/>
              <a:gd name="connsiteX170" fmla="*/ 936321 w 998951"/>
              <a:gd name="connsiteY170" fmla="*/ 247389 h 983294"/>
              <a:gd name="connsiteX171" fmla="*/ 942584 w 998951"/>
              <a:gd name="connsiteY171" fmla="*/ 256784 h 983294"/>
              <a:gd name="connsiteX172" fmla="*/ 961373 w 998951"/>
              <a:gd name="connsiteY172" fmla="*/ 263047 h 983294"/>
              <a:gd name="connsiteX173" fmla="*/ 970767 w 998951"/>
              <a:gd name="connsiteY173" fmla="*/ 269310 h 983294"/>
              <a:gd name="connsiteX174" fmla="*/ 980162 w 998951"/>
              <a:gd name="connsiteY174" fmla="*/ 272441 h 983294"/>
              <a:gd name="connsiteX175" fmla="*/ 967636 w 998951"/>
              <a:gd name="connsiteY175" fmla="*/ 284967 h 983294"/>
              <a:gd name="connsiteX176" fmla="*/ 948847 w 998951"/>
              <a:gd name="connsiteY176" fmla="*/ 303757 h 983294"/>
              <a:gd name="connsiteX177" fmla="*/ 945715 w 998951"/>
              <a:gd name="connsiteY177" fmla="*/ 313151 h 983294"/>
              <a:gd name="connsiteX178" fmla="*/ 951978 w 998951"/>
              <a:gd name="connsiteY178" fmla="*/ 338203 h 983294"/>
              <a:gd name="connsiteX179" fmla="*/ 958241 w 998951"/>
              <a:gd name="connsiteY179" fmla="*/ 347598 h 983294"/>
              <a:gd name="connsiteX180" fmla="*/ 967636 w 998951"/>
              <a:gd name="connsiteY180" fmla="*/ 350729 h 983294"/>
              <a:gd name="connsiteX181" fmla="*/ 964504 w 998951"/>
              <a:gd name="connsiteY181" fmla="*/ 363255 h 983294"/>
              <a:gd name="connsiteX182" fmla="*/ 964504 w 998951"/>
              <a:gd name="connsiteY182" fmla="*/ 394570 h 983294"/>
              <a:gd name="connsiteX183" fmla="*/ 995819 w 998951"/>
              <a:gd name="connsiteY183" fmla="*/ 388308 h 983294"/>
              <a:gd name="connsiteX184" fmla="*/ 998951 w 998951"/>
              <a:gd name="connsiteY184" fmla="*/ 400833 h 983294"/>
              <a:gd name="connsiteX185" fmla="*/ 986425 w 998951"/>
              <a:gd name="connsiteY185" fmla="*/ 419622 h 983294"/>
              <a:gd name="connsiteX186" fmla="*/ 977030 w 998951"/>
              <a:gd name="connsiteY186" fmla="*/ 438411 h 983294"/>
              <a:gd name="connsiteX187" fmla="*/ 973899 w 998951"/>
              <a:gd name="connsiteY187" fmla="*/ 469726 h 983294"/>
              <a:gd name="connsiteX188" fmla="*/ 967636 w 998951"/>
              <a:gd name="connsiteY188" fmla="*/ 479121 h 983294"/>
              <a:gd name="connsiteX189" fmla="*/ 964504 w 998951"/>
              <a:gd name="connsiteY189" fmla="*/ 488515 h 983294"/>
              <a:gd name="connsiteX190" fmla="*/ 967636 w 998951"/>
              <a:gd name="connsiteY190" fmla="*/ 522962 h 983294"/>
              <a:gd name="connsiteX191" fmla="*/ 970767 w 998951"/>
              <a:gd name="connsiteY191" fmla="*/ 532357 h 983294"/>
              <a:gd name="connsiteX192" fmla="*/ 980162 w 998951"/>
              <a:gd name="connsiteY192" fmla="*/ 563672 h 983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</a:cxnLst>
            <a:rect l="l" t="t" r="r" b="b"/>
            <a:pathLst>
              <a:path w="998951" h="983294">
                <a:moveTo>
                  <a:pt x="980162" y="563672"/>
                </a:moveTo>
                <a:cubicBezTo>
                  <a:pt x="977553" y="568891"/>
                  <a:pt x="965307" y="558007"/>
                  <a:pt x="955110" y="563672"/>
                </a:cubicBezTo>
                <a:cubicBezTo>
                  <a:pt x="948530" y="567328"/>
                  <a:pt x="936321" y="576198"/>
                  <a:pt x="936321" y="576198"/>
                </a:cubicBezTo>
                <a:cubicBezTo>
                  <a:pt x="902466" y="574659"/>
                  <a:pt x="880626" y="577149"/>
                  <a:pt x="851770" y="569935"/>
                </a:cubicBezTo>
                <a:cubicBezTo>
                  <a:pt x="848567" y="569134"/>
                  <a:pt x="845507" y="567847"/>
                  <a:pt x="842375" y="566803"/>
                </a:cubicBezTo>
                <a:cubicBezTo>
                  <a:pt x="820455" y="567847"/>
                  <a:pt x="798284" y="566468"/>
                  <a:pt x="776614" y="569935"/>
                </a:cubicBezTo>
                <a:cubicBezTo>
                  <a:pt x="771460" y="570760"/>
                  <a:pt x="768619" y="576740"/>
                  <a:pt x="764088" y="579329"/>
                </a:cubicBezTo>
                <a:cubicBezTo>
                  <a:pt x="761222" y="580967"/>
                  <a:pt x="757646" y="580985"/>
                  <a:pt x="754693" y="582461"/>
                </a:cubicBezTo>
                <a:cubicBezTo>
                  <a:pt x="751327" y="584144"/>
                  <a:pt x="748738" y="587195"/>
                  <a:pt x="745299" y="588724"/>
                </a:cubicBezTo>
                <a:cubicBezTo>
                  <a:pt x="727514" y="596628"/>
                  <a:pt x="707929" y="598536"/>
                  <a:pt x="688932" y="601250"/>
                </a:cubicBezTo>
                <a:cubicBezTo>
                  <a:pt x="685800" y="604381"/>
                  <a:pt x="683033" y="607925"/>
                  <a:pt x="679537" y="610644"/>
                </a:cubicBezTo>
                <a:cubicBezTo>
                  <a:pt x="673595" y="615265"/>
                  <a:pt x="667011" y="618995"/>
                  <a:pt x="660748" y="623170"/>
                </a:cubicBezTo>
                <a:lnTo>
                  <a:pt x="641959" y="635696"/>
                </a:lnTo>
                <a:cubicBezTo>
                  <a:pt x="636466" y="639358"/>
                  <a:pt x="623170" y="641959"/>
                  <a:pt x="623170" y="641959"/>
                </a:cubicBezTo>
                <a:lnTo>
                  <a:pt x="604381" y="654485"/>
                </a:lnTo>
                <a:cubicBezTo>
                  <a:pt x="601249" y="656573"/>
                  <a:pt x="600528" y="660989"/>
                  <a:pt x="598118" y="663880"/>
                </a:cubicBezTo>
                <a:cubicBezTo>
                  <a:pt x="589097" y="674705"/>
                  <a:pt x="590906" y="672546"/>
                  <a:pt x="579329" y="676406"/>
                </a:cubicBezTo>
                <a:cubicBezTo>
                  <a:pt x="576197" y="679537"/>
                  <a:pt x="573296" y="682918"/>
                  <a:pt x="569934" y="685800"/>
                </a:cubicBezTo>
                <a:cubicBezTo>
                  <a:pt x="565971" y="689197"/>
                  <a:pt x="561684" y="692202"/>
                  <a:pt x="557408" y="695195"/>
                </a:cubicBezTo>
                <a:cubicBezTo>
                  <a:pt x="548158" y="701670"/>
                  <a:pt x="538619" y="707721"/>
                  <a:pt x="529225" y="713984"/>
                </a:cubicBezTo>
                <a:cubicBezTo>
                  <a:pt x="525540" y="716441"/>
                  <a:pt x="523326" y="720659"/>
                  <a:pt x="519830" y="723378"/>
                </a:cubicBezTo>
                <a:cubicBezTo>
                  <a:pt x="513888" y="727999"/>
                  <a:pt x="501041" y="735904"/>
                  <a:pt x="501041" y="735904"/>
                </a:cubicBezTo>
                <a:cubicBezTo>
                  <a:pt x="488136" y="755262"/>
                  <a:pt x="502463" y="736380"/>
                  <a:pt x="485384" y="751562"/>
                </a:cubicBezTo>
                <a:cubicBezTo>
                  <a:pt x="478764" y="757446"/>
                  <a:pt x="472858" y="764088"/>
                  <a:pt x="466595" y="770351"/>
                </a:cubicBezTo>
                <a:lnTo>
                  <a:pt x="447806" y="789140"/>
                </a:lnTo>
                <a:cubicBezTo>
                  <a:pt x="445145" y="791801"/>
                  <a:pt x="444375" y="796057"/>
                  <a:pt x="441543" y="798535"/>
                </a:cubicBezTo>
                <a:cubicBezTo>
                  <a:pt x="435878" y="803492"/>
                  <a:pt x="422754" y="811061"/>
                  <a:pt x="422754" y="811061"/>
                </a:cubicBezTo>
                <a:cubicBezTo>
                  <a:pt x="412315" y="826719"/>
                  <a:pt x="419623" y="818367"/>
                  <a:pt x="397701" y="832981"/>
                </a:cubicBezTo>
                <a:lnTo>
                  <a:pt x="388307" y="839244"/>
                </a:lnTo>
                <a:lnTo>
                  <a:pt x="378912" y="845507"/>
                </a:lnTo>
                <a:cubicBezTo>
                  <a:pt x="376824" y="848639"/>
                  <a:pt x="374178" y="851463"/>
                  <a:pt x="372649" y="854902"/>
                </a:cubicBezTo>
                <a:cubicBezTo>
                  <a:pt x="369968" y="860935"/>
                  <a:pt x="370048" y="868198"/>
                  <a:pt x="366386" y="873691"/>
                </a:cubicBezTo>
                <a:lnTo>
                  <a:pt x="360123" y="883085"/>
                </a:lnTo>
                <a:cubicBezTo>
                  <a:pt x="358035" y="889348"/>
                  <a:pt x="354679" y="895323"/>
                  <a:pt x="353860" y="901874"/>
                </a:cubicBezTo>
                <a:cubicBezTo>
                  <a:pt x="352816" y="910225"/>
                  <a:pt x="351658" y="918562"/>
                  <a:pt x="350729" y="926926"/>
                </a:cubicBezTo>
                <a:cubicBezTo>
                  <a:pt x="342790" y="998378"/>
                  <a:pt x="352083" y="922350"/>
                  <a:pt x="344466" y="983294"/>
                </a:cubicBezTo>
                <a:cubicBezTo>
                  <a:pt x="338642" y="977469"/>
                  <a:pt x="335890" y="975535"/>
                  <a:pt x="331940" y="967636"/>
                </a:cubicBezTo>
                <a:cubicBezTo>
                  <a:pt x="318975" y="941707"/>
                  <a:pt x="340493" y="975767"/>
                  <a:pt x="322545" y="948847"/>
                </a:cubicBezTo>
                <a:cubicBezTo>
                  <a:pt x="321501" y="943628"/>
                  <a:pt x="320366" y="938426"/>
                  <a:pt x="319414" y="933189"/>
                </a:cubicBezTo>
                <a:cubicBezTo>
                  <a:pt x="318278" y="926942"/>
                  <a:pt x="317822" y="920560"/>
                  <a:pt x="316282" y="914400"/>
                </a:cubicBezTo>
                <a:cubicBezTo>
                  <a:pt x="314681" y="907995"/>
                  <a:pt x="312107" y="901874"/>
                  <a:pt x="310019" y="895611"/>
                </a:cubicBezTo>
                <a:cubicBezTo>
                  <a:pt x="307639" y="888470"/>
                  <a:pt x="301668" y="883085"/>
                  <a:pt x="297493" y="876822"/>
                </a:cubicBezTo>
                <a:cubicBezTo>
                  <a:pt x="295405" y="873691"/>
                  <a:pt x="294361" y="869516"/>
                  <a:pt x="291230" y="867428"/>
                </a:cubicBezTo>
                <a:cubicBezTo>
                  <a:pt x="279089" y="859334"/>
                  <a:pt x="285406" y="862355"/>
                  <a:pt x="272441" y="858033"/>
                </a:cubicBezTo>
                <a:cubicBezTo>
                  <a:pt x="268477" y="846141"/>
                  <a:pt x="268365" y="836468"/>
                  <a:pt x="256784" y="829850"/>
                </a:cubicBezTo>
                <a:cubicBezTo>
                  <a:pt x="253047" y="827715"/>
                  <a:pt x="248433" y="827762"/>
                  <a:pt x="244258" y="826718"/>
                </a:cubicBezTo>
                <a:cubicBezTo>
                  <a:pt x="241126" y="824630"/>
                  <a:pt x="237214" y="823394"/>
                  <a:pt x="234863" y="820455"/>
                </a:cubicBezTo>
                <a:cubicBezTo>
                  <a:pt x="229034" y="813169"/>
                  <a:pt x="232676" y="806191"/>
                  <a:pt x="234863" y="798535"/>
                </a:cubicBezTo>
                <a:cubicBezTo>
                  <a:pt x="238104" y="787192"/>
                  <a:pt x="237397" y="790038"/>
                  <a:pt x="244258" y="779746"/>
                </a:cubicBezTo>
                <a:cubicBezTo>
                  <a:pt x="245302" y="776614"/>
                  <a:pt x="248615" y="773416"/>
                  <a:pt x="247389" y="770351"/>
                </a:cubicBezTo>
                <a:cubicBezTo>
                  <a:pt x="245521" y="765680"/>
                  <a:pt x="232555" y="762275"/>
                  <a:pt x="228600" y="760957"/>
                </a:cubicBezTo>
                <a:cubicBezTo>
                  <a:pt x="223808" y="746579"/>
                  <a:pt x="216251" y="732917"/>
                  <a:pt x="225469" y="717115"/>
                </a:cubicBezTo>
                <a:cubicBezTo>
                  <a:pt x="228581" y="711780"/>
                  <a:pt x="249657" y="701890"/>
                  <a:pt x="256784" y="698326"/>
                </a:cubicBezTo>
                <a:cubicBezTo>
                  <a:pt x="262167" y="682174"/>
                  <a:pt x="261366" y="689082"/>
                  <a:pt x="256784" y="663880"/>
                </a:cubicBezTo>
                <a:cubicBezTo>
                  <a:pt x="256193" y="660632"/>
                  <a:pt x="255714" y="657063"/>
                  <a:pt x="253652" y="654485"/>
                </a:cubicBezTo>
                <a:cubicBezTo>
                  <a:pt x="251301" y="651546"/>
                  <a:pt x="247389" y="650310"/>
                  <a:pt x="244258" y="648222"/>
                </a:cubicBezTo>
                <a:cubicBezTo>
                  <a:pt x="238690" y="637087"/>
                  <a:pt x="234313" y="629807"/>
                  <a:pt x="231732" y="616907"/>
                </a:cubicBezTo>
                <a:cubicBezTo>
                  <a:pt x="230688" y="611688"/>
                  <a:pt x="229552" y="606487"/>
                  <a:pt x="228600" y="601250"/>
                </a:cubicBezTo>
                <a:cubicBezTo>
                  <a:pt x="226909" y="591952"/>
                  <a:pt x="227770" y="579917"/>
                  <a:pt x="219206" y="573066"/>
                </a:cubicBezTo>
                <a:cubicBezTo>
                  <a:pt x="216628" y="571004"/>
                  <a:pt x="212943" y="570979"/>
                  <a:pt x="209811" y="569935"/>
                </a:cubicBezTo>
                <a:cubicBezTo>
                  <a:pt x="197285" y="570979"/>
                  <a:pt x="184319" y="569613"/>
                  <a:pt x="172233" y="573066"/>
                </a:cubicBezTo>
                <a:cubicBezTo>
                  <a:pt x="148262" y="579915"/>
                  <a:pt x="183466" y="588294"/>
                  <a:pt x="156575" y="579329"/>
                </a:cubicBezTo>
                <a:cubicBezTo>
                  <a:pt x="149232" y="557298"/>
                  <a:pt x="158790" y="578592"/>
                  <a:pt x="147181" y="582461"/>
                </a:cubicBezTo>
                <a:cubicBezTo>
                  <a:pt x="144049" y="583505"/>
                  <a:pt x="146137" y="573588"/>
                  <a:pt x="144049" y="573066"/>
                </a:cubicBezTo>
                <a:cubicBezTo>
                  <a:pt x="141961" y="572544"/>
                  <a:pt x="137786" y="581417"/>
                  <a:pt x="134655" y="579329"/>
                </a:cubicBezTo>
                <a:cubicBezTo>
                  <a:pt x="131523" y="580373"/>
                  <a:pt x="128391" y="569935"/>
                  <a:pt x="125260" y="569935"/>
                </a:cubicBezTo>
                <a:cubicBezTo>
                  <a:pt x="122129" y="569935"/>
                  <a:pt x="119268" y="576494"/>
                  <a:pt x="115866" y="579329"/>
                </a:cubicBezTo>
                <a:cubicBezTo>
                  <a:pt x="112975" y="581738"/>
                  <a:pt x="109603" y="583504"/>
                  <a:pt x="106471" y="585592"/>
                </a:cubicBezTo>
                <a:cubicBezTo>
                  <a:pt x="104383" y="582461"/>
                  <a:pt x="103147" y="578549"/>
                  <a:pt x="100208" y="576198"/>
                </a:cubicBezTo>
                <a:cubicBezTo>
                  <a:pt x="92504" y="570034"/>
                  <a:pt x="83183" y="574592"/>
                  <a:pt x="75156" y="576198"/>
                </a:cubicBezTo>
                <a:cubicBezTo>
                  <a:pt x="64289" y="583443"/>
                  <a:pt x="63046" y="587366"/>
                  <a:pt x="46973" y="579329"/>
                </a:cubicBezTo>
                <a:cubicBezTo>
                  <a:pt x="43607" y="577646"/>
                  <a:pt x="42798" y="573066"/>
                  <a:pt x="40710" y="569935"/>
                </a:cubicBezTo>
                <a:cubicBezTo>
                  <a:pt x="40082" y="564284"/>
                  <a:pt x="45544" y="535726"/>
                  <a:pt x="28184" y="538620"/>
                </a:cubicBezTo>
                <a:cubicBezTo>
                  <a:pt x="24471" y="539239"/>
                  <a:pt x="21921" y="542795"/>
                  <a:pt x="18789" y="544883"/>
                </a:cubicBezTo>
                <a:cubicBezTo>
                  <a:pt x="16701" y="548014"/>
                  <a:pt x="16289" y="554277"/>
                  <a:pt x="12526" y="554277"/>
                </a:cubicBezTo>
                <a:cubicBezTo>
                  <a:pt x="9225" y="554277"/>
                  <a:pt x="10196" y="548085"/>
                  <a:pt x="9395" y="544883"/>
                </a:cubicBezTo>
                <a:cubicBezTo>
                  <a:pt x="8104" y="539719"/>
                  <a:pt x="7664" y="534360"/>
                  <a:pt x="6263" y="529225"/>
                </a:cubicBezTo>
                <a:cubicBezTo>
                  <a:pt x="4526" y="522856"/>
                  <a:pt x="0" y="510436"/>
                  <a:pt x="0" y="510436"/>
                </a:cubicBezTo>
                <a:cubicBezTo>
                  <a:pt x="5504" y="493925"/>
                  <a:pt x="-506" y="507286"/>
                  <a:pt x="12526" y="491647"/>
                </a:cubicBezTo>
                <a:cubicBezTo>
                  <a:pt x="14935" y="488756"/>
                  <a:pt x="16128" y="484913"/>
                  <a:pt x="18789" y="482252"/>
                </a:cubicBezTo>
                <a:cubicBezTo>
                  <a:pt x="43420" y="457621"/>
                  <a:pt x="11931" y="497372"/>
                  <a:pt x="37578" y="466595"/>
                </a:cubicBezTo>
                <a:cubicBezTo>
                  <a:pt x="39987" y="463704"/>
                  <a:pt x="41341" y="460013"/>
                  <a:pt x="43841" y="457200"/>
                </a:cubicBezTo>
                <a:cubicBezTo>
                  <a:pt x="49725" y="450580"/>
                  <a:pt x="62630" y="438411"/>
                  <a:pt x="62630" y="438411"/>
                </a:cubicBezTo>
                <a:cubicBezTo>
                  <a:pt x="74057" y="404138"/>
                  <a:pt x="55830" y="456061"/>
                  <a:pt x="72025" y="419622"/>
                </a:cubicBezTo>
                <a:cubicBezTo>
                  <a:pt x="74706" y="413589"/>
                  <a:pt x="76200" y="407096"/>
                  <a:pt x="78288" y="400833"/>
                </a:cubicBezTo>
                <a:cubicBezTo>
                  <a:pt x="84140" y="383276"/>
                  <a:pt x="80620" y="394633"/>
                  <a:pt x="87682" y="366387"/>
                </a:cubicBezTo>
                <a:cubicBezTo>
                  <a:pt x="92414" y="347458"/>
                  <a:pt x="89454" y="357941"/>
                  <a:pt x="97077" y="335072"/>
                </a:cubicBezTo>
                <a:lnTo>
                  <a:pt x="100208" y="325677"/>
                </a:lnTo>
                <a:cubicBezTo>
                  <a:pt x="101204" y="318704"/>
                  <a:pt x="104737" y="292771"/>
                  <a:pt x="106471" y="284967"/>
                </a:cubicBezTo>
                <a:cubicBezTo>
                  <a:pt x="107187" y="281745"/>
                  <a:pt x="108696" y="278747"/>
                  <a:pt x="109603" y="275573"/>
                </a:cubicBezTo>
                <a:cubicBezTo>
                  <a:pt x="117470" y="248040"/>
                  <a:pt x="108354" y="276184"/>
                  <a:pt x="115866" y="253652"/>
                </a:cubicBezTo>
                <a:cubicBezTo>
                  <a:pt x="114375" y="238743"/>
                  <a:pt x="115803" y="216011"/>
                  <a:pt x="103340" y="203548"/>
                </a:cubicBezTo>
                <a:cubicBezTo>
                  <a:pt x="100679" y="200887"/>
                  <a:pt x="97077" y="199373"/>
                  <a:pt x="93945" y="197285"/>
                </a:cubicBezTo>
                <a:cubicBezTo>
                  <a:pt x="87957" y="179319"/>
                  <a:pt x="95102" y="196089"/>
                  <a:pt x="81419" y="178496"/>
                </a:cubicBezTo>
                <a:cubicBezTo>
                  <a:pt x="76798" y="172554"/>
                  <a:pt x="73068" y="165970"/>
                  <a:pt x="68893" y="159707"/>
                </a:cubicBezTo>
                <a:lnTo>
                  <a:pt x="62630" y="150313"/>
                </a:lnTo>
                <a:lnTo>
                  <a:pt x="56367" y="140918"/>
                </a:lnTo>
                <a:cubicBezTo>
                  <a:pt x="57411" y="135699"/>
                  <a:pt x="57296" y="130106"/>
                  <a:pt x="59499" y="125261"/>
                </a:cubicBezTo>
                <a:cubicBezTo>
                  <a:pt x="62614" y="118409"/>
                  <a:pt x="72025" y="106472"/>
                  <a:pt x="72025" y="106472"/>
                </a:cubicBezTo>
                <a:cubicBezTo>
                  <a:pt x="74113" y="110647"/>
                  <a:pt x="73759" y="117866"/>
                  <a:pt x="78288" y="118998"/>
                </a:cubicBezTo>
                <a:cubicBezTo>
                  <a:pt x="92126" y="122457"/>
                  <a:pt x="106183" y="117006"/>
                  <a:pt x="118997" y="112735"/>
                </a:cubicBezTo>
                <a:cubicBezTo>
                  <a:pt x="125260" y="108560"/>
                  <a:pt x="135405" y="107350"/>
                  <a:pt x="137786" y="100209"/>
                </a:cubicBezTo>
                <a:cubicBezTo>
                  <a:pt x="142108" y="87244"/>
                  <a:pt x="138171" y="92645"/>
                  <a:pt x="150312" y="84551"/>
                </a:cubicBezTo>
                <a:cubicBezTo>
                  <a:pt x="175367" y="92904"/>
                  <a:pt x="146136" y="80375"/>
                  <a:pt x="162838" y="97077"/>
                </a:cubicBezTo>
                <a:cubicBezTo>
                  <a:pt x="165172" y="99411"/>
                  <a:pt x="169101" y="99165"/>
                  <a:pt x="172233" y="100209"/>
                </a:cubicBezTo>
                <a:cubicBezTo>
                  <a:pt x="194593" y="92756"/>
                  <a:pt x="185529" y="97608"/>
                  <a:pt x="200417" y="87683"/>
                </a:cubicBezTo>
                <a:cubicBezTo>
                  <a:pt x="216074" y="92901"/>
                  <a:pt x="208767" y="87683"/>
                  <a:pt x="216074" y="109603"/>
                </a:cubicBezTo>
                <a:cubicBezTo>
                  <a:pt x="217118" y="112735"/>
                  <a:pt x="222213" y="112192"/>
                  <a:pt x="225469" y="112735"/>
                </a:cubicBezTo>
                <a:cubicBezTo>
                  <a:pt x="234793" y="114289"/>
                  <a:pt x="244258" y="114822"/>
                  <a:pt x="253652" y="115866"/>
                </a:cubicBezTo>
                <a:cubicBezTo>
                  <a:pt x="256784" y="116910"/>
                  <a:pt x="259746" y="118998"/>
                  <a:pt x="263047" y="118998"/>
                </a:cubicBezTo>
                <a:cubicBezTo>
                  <a:pt x="290486" y="118998"/>
                  <a:pt x="289503" y="118529"/>
                  <a:pt x="306888" y="112735"/>
                </a:cubicBezTo>
                <a:cubicBezTo>
                  <a:pt x="312399" y="96199"/>
                  <a:pt x="308188" y="106086"/>
                  <a:pt x="322545" y="84551"/>
                </a:cubicBezTo>
                <a:cubicBezTo>
                  <a:pt x="324633" y="81420"/>
                  <a:pt x="325677" y="77245"/>
                  <a:pt x="328808" y="75157"/>
                </a:cubicBezTo>
                <a:lnTo>
                  <a:pt x="338203" y="68894"/>
                </a:lnTo>
                <a:cubicBezTo>
                  <a:pt x="342378" y="69938"/>
                  <a:pt x="347928" y="68757"/>
                  <a:pt x="350729" y="72025"/>
                </a:cubicBezTo>
                <a:cubicBezTo>
                  <a:pt x="355025" y="77037"/>
                  <a:pt x="354904" y="84551"/>
                  <a:pt x="356992" y="90814"/>
                </a:cubicBezTo>
                <a:cubicBezTo>
                  <a:pt x="358036" y="93946"/>
                  <a:pt x="356991" y="99165"/>
                  <a:pt x="360123" y="100209"/>
                </a:cubicBezTo>
                <a:lnTo>
                  <a:pt x="369518" y="103340"/>
                </a:lnTo>
                <a:cubicBezTo>
                  <a:pt x="393026" y="102103"/>
                  <a:pt x="425471" y="102170"/>
                  <a:pt x="450937" y="97077"/>
                </a:cubicBezTo>
                <a:cubicBezTo>
                  <a:pt x="454174" y="96430"/>
                  <a:pt x="457158" y="94853"/>
                  <a:pt x="460332" y="93946"/>
                </a:cubicBezTo>
                <a:cubicBezTo>
                  <a:pt x="487848" y="86084"/>
                  <a:pt x="459735" y="95188"/>
                  <a:pt x="482252" y="87683"/>
                </a:cubicBezTo>
                <a:cubicBezTo>
                  <a:pt x="484688" y="85247"/>
                  <a:pt x="496137" y="72570"/>
                  <a:pt x="501041" y="72025"/>
                </a:cubicBezTo>
                <a:cubicBezTo>
                  <a:pt x="509305" y="71107"/>
                  <a:pt x="520971" y="75537"/>
                  <a:pt x="529225" y="78288"/>
                </a:cubicBezTo>
                <a:cubicBezTo>
                  <a:pt x="532356" y="80376"/>
                  <a:pt x="534879" y="84135"/>
                  <a:pt x="538619" y="84551"/>
                </a:cubicBezTo>
                <a:cubicBezTo>
                  <a:pt x="544930" y="85252"/>
                  <a:pt x="552206" y="85061"/>
                  <a:pt x="557408" y="81420"/>
                </a:cubicBezTo>
                <a:cubicBezTo>
                  <a:pt x="575887" y="68485"/>
                  <a:pt x="565544" y="59819"/>
                  <a:pt x="576197" y="43841"/>
                </a:cubicBezTo>
                <a:cubicBezTo>
                  <a:pt x="584548" y="31315"/>
                  <a:pt x="579329" y="36535"/>
                  <a:pt x="591855" y="28184"/>
                </a:cubicBezTo>
                <a:cubicBezTo>
                  <a:pt x="595753" y="22337"/>
                  <a:pt x="601129" y="12941"/>
                  <a:pt x="607512" y="9395"/>
                </a:cubicBezTo>
                <a:cubicBezTo>
                  <a:pt x="613283" y="6189"/>
                  <a:pt x="620038" y="5220"/>
                  <a:pt x="626301" y="3132"/>
                </a:cubicBezTo>
                <a:lnTo>
                  <a:pt x="635696" y="0"/>
                </a:lnTo>
                <a:cubicBezTo>
                  <a:pt x="634652" y="4175"/>
                  <a:pt x="633746" y="8388"/>
                  <a:pt x="632564" y="12526"/>
                </a:cubicBezTo>
                <a:cubicBezTo>
                  <a:pt x="629728" y="22453"/>
                  <a:pt x="625597" y="25967"/>
                  <a:pt x="632564" y="37578"/>
                </a:cubicBezTo>
                <a:cubicBezTo>
                  <a:pt x="636362" y="43907"/>
                  <a:pt x="648222" y="53236"/>
                  <a:pt x="648222" y="53236"/>
                </a:cubicBezTo>
                <a:cubicBezTo>
                  <a:pt x="649266" y="68894"/>
                  <a:pt x="647548" y="84985"/>
                  <a:pt x="651354" y="100209"/>
                </a:cubicBezTo>
                <a:cubicBezTo>
                  <a:pt x="652155" y="103411"/>
                  <a:pt x="658171" y="101278"/>
                  <a:pt x="660748" y="103340"/>
                </a:cubicBezTo>
                <a:cubicBezTo>
                  <a:pt x="663687" y="105691"/>
                  <a:pt x="664923" y="109603"/>
                  <a:pt x="667011" y="112735"/>
                </a:cubicBezTo>
                <a:cubicBezTo>
                  <a:pt x="665967" y="116910"/>
                  <a:pt x="666569" y="121900"/>
                  <a:pt x="663880" y="125261"/>
                </a:cubicBezTo>
                <a:cubicBezTo>
                  <a:pt x="661818" y="127839"/>
                  <a:pt x="657063" y="126330"/>
                  <a:pt x="654485" y="128392"/>
                </a:cubicBezTo>
                <a:cubicBezTo>
                  <a:pt x="651546" y="130743"/>
                  <a:pt x="650310" y="134655"/>
                  <a:pt x="648222" y="137787"/>
                </a:cubicBezTo>
                <a:lnTo>
                  <a:pt x="667011" y="144050"/>
                </a:lnTo>
                <a:lnTo>
                  <a:pt x="676406" y="147181"/>
                </a:lnTo>
                <a:cubicBezTo>
                  <a:pt x="686331" y="162069"/>
                  <a:pt x="681479" y="153005"/>
                  <a:pt x="688932" y="175365"/>
                </a:cubicBezTo>
                <a:cubicBezTo>
                  <a:pt x="691111" y="181903"/>
                  <a:pt x="700230" y="189795"/>
                  <a:pt x="704589" y="194154"/>
                </a:cubicBezTo>
                <a:cubicBezTo>
                  <a:pt x="708224" y="205058"/>
                  <a:pt x="711251" y="204067"/>
                  <a:pt x="698326" y="209811"/>
                </a:cubicBezTo>
                <a:cubicBezTo>
                  <a:pt x="692293" y="212492"/>
                  <a:pt x="679537" y="216074"/>
                  <a:pt x="679537" y="216074"/>
                </a:cubicBezTo>
                <a:cubicBezTo>
                  <a:pt x="652617" y="234022"/>
                  <a:pt x="684297" y="210124"/>
                  <a:pt x="667011" y="231732"/>
                </a:cubicBezTo>
                <a:cubicBezTo>
                  <a:pt x="662595" y="237252"/>
                  <a:pt x="654412" y="239063"/>
                  <a:pt x="648222" y="241126"/>
                </a:cubicBezTo>
                <a:cubicBezTo>
                  <a:pt x="643108" y="248797"/>
                  <a:pt x="637002" y="252936"/>
                  <a:pt x="645091" y="263047"/>
                </a:cubicBezTo>
                <a:cubicBezTo>
                  <a:pt x="647153" y="265624"/>
                  <a:pt x="651354" y="265134"/>
                  <a:pt x="654485" y="266178"/>
                </a:cubicBezTo>
                <a:cubicBezTo>
                  <a:pt x="660581" y="284463"/>
                  <a:pt x="655236" y="266803"/>
                  <a:pt x="660748" y="294362"/>
                </a:cubicBezTo>
                <a:cubicBezTo>
                  <a:pt x="662181" y="301525"/>
                  <a:pt x="663777" y="311190"/>
                  <a:pt x="670143" y="316283"/>
                </a:cubicBezTo>
                <a:cubicBezTo>
                  <a:pt x="672720" y="318345"/>
                  <a:pt x="676315" y="318698"/>
                  <a:pt x="679537" y="319414"/>
                </a:cubicBezTo>
                <a:cubicBezTo>
                  <a:pt x="701287" y="324247"/>
                  <a:pt x="693037" y="320333"/>
                  <a:pt x="710852" y="325677"/>
                </a:cubicBezTo>
                <a:cubicBezTo>
                  <a:pt x="717175" y="327574"/>
                  <a:pt x="729641" y="331940"/>
                  <a:pt x="729641" y="331940"/>
                </a:cubicBezTo>
                <a:cubicBezTo>
                  <a:pt x="731729" y="335072"/>
                  <a:pt x="733072" y="338857"/>
                  <a:pt x="735904" y="341335"/>
                </a:cubicBezTo>
                <a:cubicBezTo>
                  <a:pt x="741569" y="346292"/>
                  <a:pt x="752605" y="356471"/>
                  <a:pt x="754693" y="353861"/>
                </a:cubicBezTo>
                <a:cubicBezTo>
                  <a:pt x="756781" y="351251"/>
                  <a:pt x="748430" y="330374"/>
                  <a:pt x="748430" y="325677"/>
                </a:cubicBezTo>
                <a:cubicBezTo>
                  <a:pt x="748430" y="320980"/>
                  <a:pt x="751040" y="325678"/>
                  <a:pt x="754693" y="325678"/>
                </a:cubicBezTo>
                <a:cubicBezTo>
                  <a:pt x="758346" y="325678"/>
                  <a:pt x="766698" y="328809"/>
                  <a:pt x="770351" y="325677"/>
                </a:cubicBezTo>
                <a:cubicBezTo>
                  <a:pt x="774004" y="322545"/>
                  <a:pt x="776614" y="306888"/>
                  <a:pt x="776614" y="306888"/>
                </a:cubicBezTo>
                <a:cubicBezTo>
                  <a:pt x="776713" y="306291"/>
                  <a:pt x="778387" y="280398"/>
                  <a:pt x="786008" y="278704"/>
                </a:cubicBezTo>
                <a:cubicBezTo>
                  <a:pt x="793213" y="277103"/>
                  <a:pt x="800622" y="280792"/>
                  <a:pt x="807929" y="281836"/>
                </a:cubicBezTo>
                <a:cubicBezTo>
                  <a:pt x="808828" y="283185"/>
                  <a:pt x="817024" y="296808"/>
                  <a:pt x="820455" y="297494"/>
                </a:cubicBezTo>
                <a:cubicBezTo>
                  <a:pt x="823692" y="298141"/>
                  <a:pt x="826964" y="295965"/>
                  <a:pt x="829849" y="294362"/>
                </a:cubicBezTo>
                <a:cubicBezTo>
                  <a:pt x="836429" y="290706"/>
                  <a:pt x="842375" y="286011"/>
                  <a:pt x="848638" y="281836"/>
                </a:cubicBezTo>
                <a:cubicBezTo>
                  <a:pt x="854131" y="278174"/>
                  <a:pt x="867428" y="275573"/>
                  <a:pt x="867428" y="275573"/>
                </a:cubicBezTo>
                <a:cubicBezTo>
                  <a:pt x="870559" y="273485"/>
                  <a:pt x="874827" y="272501"/>
                  <a:pt x="876822" y="269310"/>
                </a:cubicBezTo>
                <a:cubicBezTo>
                  <a:pt x="880321" y="263712"/>
                  <a:pt x="876822" y="252609"/>
                  <a:pt x="883085" y="250521"/>
                </a:cubicBezTo>
                <a:cubicBezTo>
                  <a:pt x="890751" y="247965"/>
                  <a:pt x="898235" y="245963"/>
                  <a:pt x="905006" y="241126"/>
                </a:cubicBezTo>
                <a:cubicBezTo>
                  <a:pt x="908610" y="238552"/>
                  <a:pt x="911269" y="234863"/>
                  <a:pt x="914400" y="231732"/>
                </a:cubicBezTo>
                <a:cubicBezTo>
                  <a:pt x="927062" y="238063"/>
                  <a:pt x="927254" y="236509"/>
                  <a:pt x="936321" y="247389"/>
                </a:cubicBezTo>
                <a:cubicBezTo>
                  <a:pt x="938731" y="250280"/>
                  <a:pt x="939392" y="254789"/>
                  <a:pt x="942584" y="256784"/>
                </a:cubicBezTo>
                <a:cubicBezTo>
                  <a:pt x="948182" y="260283"/>
                  <a:pt x="955110" y="260959"/>
                  <a:pt x="961373" y="263047"/>
                </a:cubicBezTo>
                <a:cubicBezTo>
                  <a:pt x="964943" y="264237"/>
                  <a:pt x="967401" y="267627"/>
                  <a:pt x="970767" y="269310"/>
                </a:cubicBezTo>
                <a:cubicBezTo>
                  <a:pt x="973720" y="270786"/>
                  <a:pt x="977030" y="271397"/>
                  <a:pt x="980162" y="272441"/>
                </a:cubicBezTo>
                <a:cubicBezTo>
                  <a:pt x="973480" y="292485"/>
                  <a:pt x="982668" y="273275"/>
                  <a:pt x="967636" y="284967"/>
                </a:cubicBezTo>
                <a:cubicBezTo>
                  <a:pt x="960644" y="290405"/>
                  <a:pt x="948847" y="303757"/>
                  <a:pt x="948847" y="303757"/>
                </a:cubicBezTo>
                <a:cubicBezTo>
                  <a:pt x="947803" y="306888"/>
                  <a:pt x="945715" y="309850"/>
                  <a:pt x="945715" y="313151"/>
                </a:cubicBezTo>
                <a:cubicBezTo>
                  <a:pt x="945715" y="316722"/>
                  <a:pt x="949508" y="333262"/>
                  <a:pt x="951978" y="338203"/>
                </a:cubicBezTo>
                <a:cubicBezTo>
                  <a:pt x="953661" y="341569"/>
                  <a:pt x="955302" y="345247"/>
                  <a:pt x="958241" y="347598"/>
                </a:cubicBezTo>
                <a:cubicBezTo>
                  <a:pt x="960819" y="349660"/>
                  <a:pt x="964504" y="349685"/>
                  <a:pt x="967636" y="350729"/>
                </a:cubicBezTo>
                <a:cubicBezTo>
                  <a:pt x="966592" y="354904"/>
                  <a:pt x="965686" y="359117"/>
                  <a:pt x="964504" y="363255"/>
                </a:cubicBezTo>
                <a:cubicBezTo>
                  <a:pt x="960999" y="375524"/>
                  <a:pt x="959285" y="390395"/>
                  <a:pt x="964504" y="394570"/>
                </a:cubicBezTo>
                <a:cubicBezTo>
                  <a:pt x="969723" y="398745"/>
                  <a:pt x="992571" y="387717"/>
                  <a:pt x="995819" y="388308"/>
                </a:cubicBezTo>
                <a:cubicBezTo>
                  <a:pt x="1004099" y="389813"/>
                  <a:pt x="990600" y="399789"/>
                  <a:pt x="998951" y="400833"/>
                </a:cubicBezTo>
                <a:cubicBezTo>
                  <a:pt x="993447" y="417344"/>
                  <a:pt x="999457" y="403983"/>
                  <a:pt x="986425" y="419622"/>
                </a:cubicBezTo>
                <a:cubicBezTo>
                  <a:pt x="979681" y="427715"/>
                  <a:pt x="980169" y="428997"/>
                  <a:pt x="977030" y="438411"/>
                </a:cubicBezTo>
                <a:cubicBezTo>
                  <a:pt x="975986" y="448849"/>
                  <a:pt x="976258" y="459504"/>
                  <a:pt x="973899" y="469726"/>
                </a:cubicBezTo>
                <a:cubicBezTo>
                  <a:pt x="973053" y="473393"/>
                  <a:pt x="969319" y="475755"/>
                  <a:pt x="967636" y="479121"/>
                </a:cubicBezTo>
                <a:cubicBezTo>
                  <a:pt x="966160" y="482073"/>
                  <a:pt x="965548" y="485384"/>
                  <a:pt x="964504" y="488515"/>
                </a:cubicBezTo>
                <a:cubicBezTo>
                  <a:pt x="965548" y="499997"/>
                  <a:pt x="966005" y="511548"/>
                  <a:pt x="967636" y="522962"/>
                </a:cubicBezTo>
                <a:cubicBezTo>
                  <a:pt x="968103" y="526230"/>
                  <a:pt x="970051" y="529135"/>
                  <a:pt x="970767" y="532357"/>
                </a:cubicBezTo>
                <a:cubicBezTo>
                  <a:pt x="974242" y="547996"/>
                  <a:pt x="982771" y="558453"/>
                  <a:pt x="980162" y="563672"/>
                </a:cubicBezTo>
                <a:close/>
              </a:path>
            </a:pathLst>
          </a:custGeom>
          <a:solidFill>
            <a:srgbClr val="FDECDF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 dirty="0">
              <a:solidFill>
                <a:srgbClr val="182F41"/>
              </a:solidFill>
            </a:endParaRPr>
          </a:p>
        </p:txBody>
      </p:sp>
      <p:sp>
        <p:nvSpPr>
          <p:cNvPr id="15" name="Forme libre 120">
            <a:extLst>
              <a:ext uri="{FF2B5EF4-FFF2-40B4-BE49-F238E27FC236}">
                <a16:creationId xmlns:a16="http://schemas.microsoft.com/office/drawing/2014/main" id="{2524B4FA-4E05-4836-9031-712047380239}"/>
              </a:ext>
            </a:extLst>
          </p:cNvPr>
          <p:cNvSpPr/>
          <p:nvPr/>
        </p:nvSpPr>
        <p:spPr>
          <a:xfrm>
            <a:off x="1884363" y="3536334"/>
            <a:ext cx="866775" cy="979041"/>
          </a:xfrm>
          <a:custGeom>
            <a:avLst/>
            <a:gdLst>
              <a:gd name="connsiteX0" fmla="*/ 867427 w 876822"/>
              <a:gd name="connsiteY0" fmla="*/ 450937 h 933189"/>
              <a:gd name="connsiteX1" fmla="*/ 873690 w 876822"/>
              <a:gd name="connsiteY1" fmla="*/ 541751 h 933189"/>
              <a:gd name="connsiteX2" fmla="*/ 876822 w 876822"/>
              <a:gd name="connsiteY2" fmla="*/ 554277 h 933189"/>
              <a:gd name="connsiteX3" fmla="*/ 873690 w 876822"/>
              <a:gd name="connsiteY3" fmla="*/ 820455 h 933189"/>
              <a:gd name="connsiteX4" fmla="*/ 867427 w 876822"/>
              <a:gd name="connsiteY4" fmla="*/ 842375 h 933189"/>
              <a:gd name="connsiteX5" fmla="*/ 858033 w 876822"/>
              <a:gd name="connsiteY5" fmla="*/ 873690 h 933189"/>
              <a:gd name="connsiteX6" fmla="*/ 854901 w 876822"/>
              <a:gd name="connsiteY6" fmla="*/ 892479 h 933189"/>
              <a:gd name="connsiteX7" fmla="*/ 851770 w 876822"/>
              <a:gd name="connsiteY7" fmla="*/ 901874 h 933189"/>
              <a:gd name="connsiteX8" fmla="*/ 845507 w 876822"/>
              <a:gd name="connsiteY8" fmla="*/ 933189 h 933189"/>
              <a:gd name="connsiteX9" fmla="*/ 829849 w 876822"/>
              <a:gd name="connsiteY9" fmla="*/ 930058 h 933189"/>
              <a:gd name="connsiteX10" fmla="*/ 811060 w 876822"/>
              <a:gd name="connsiteY10" fmla="*/ 923795 h 933189"/>
              <a:gd name="connsiteX11" fmla="*/ 795403 w 876822"/>
              <a:gd name="connsiteY11" fmla="*/ 911268 h 933189"/>
              <a:gd name="connsiteX12" fmla="*/ 782877 w 876822"/>
              <a:gd name="connsiteY12" fmla="*/ 892479 h 933189"/>
              <a:gd name="connsiteX13" fmla="*/ 773482 w 876822"/>
              <a:gd name="connsiteY13" fmla="*/ 879953 h 933189"/>
              <a:gd name="connsiteX14" fmla="*/ 770351 w 876822"/>
              <a:gd name="connsiteY14" fmla="*/ 870559 h 933189"/>
              <a:gd name="connsiteX15" fmla="*/ 760956 w 876822"/>
              <a:gd name="connsiteY15" fmla="*/ 858033 h 933189"/>
              <a:gd name="connsiteX16" fmla="*/ 754693 w 876822"/>
              <a:gd name="connsiteY16" fmla="*/ 848638 h 933189"/>
              <a:gd name="connsiteX17" fmla="*/ 748430 w 876822"/>
              <a:gd name="connsiteY17" fmla="*/ 836112 h 933189"/>
              <a:gd name="connsiteX18" fmla="*/ 735904 w 876822"/>
              <a:gd name="connsiteY18" fmla="*/ 817323 h 933189"/>
              <a:gd name="connsiteX19" fmla="*/ 717115 w 876822"/>
              <a:gd name="connsiteY19" fmla="*/ 789140 h 933189"/>
              <a:gd name="connsiteX20" fmla="*/ 701458 w 876822"/>
              <a:gd name="connsiteY20" fmla="*/ 770351 h 933189"/>
              <a:gd name="connsiteX21" fmla="*/ 695195 w 876822"/>
              <a:gd name="connsiteY21" fmla="*/ 760956 h 933189"/>
              <a:gd name="connsiteX22" fmla="*/ 685800 w 876822"/>
              <a:gd name="connsiteY22" fmla="*/ 757825 h 933189"/>
              <a:gd name="connsiteX23" fmla="*/ 641959 w 876822"/>
              <a:gd name="connsiteY23" fmla="*/ 773482 h 933189"/>
              <a:gd name="connsiteX24" fmla="*/ 632564 w 876822"/>
              <a:gd name="connsiteY24" fmla="*/ 770351 h 933189"/>
              <a:gd name="connsiteX25" fmla="*/ 620038 w 876822"/>
              <a:gd name="connsiteY25" fmla="*/ 767219 h 933189"/>
              <a:gd name="connsiteX26" fmla="*/ 601249 w 876822"/>
              <a:gd name="connsiteY26" fmla="*/ 760956 h 933189"/>
              <a:gd name="connsiteX27" fmla="*/ 591855 w 876822"/>
              <a:gd name="connsiteY27" fmla="*/ 751562 h 933189"/>
              <a:gd name="connsiteX28" fmla="*/ 585592 w 876822"/>
              <a:gd name="connsiteY28" fmla="*/ 742167 h 933189"/>
              <a:gd name="connsiteX29" fmla="*/ 576197 w 876822"/>
              <a:gd name="connsiteY29" fmla="*/ 735904 h 933189"/>
              <a:gd name="connsiteX30" fmla="*/ 551145 w 876822"/>
              <a:gd name="connsiteY30" fmla="*/ 707721 h 933189"/>
              <a:gd name="connsiteX31" fmla="*/ 538619 w 876822"/>
              <a:gd name="connsiteY31" fmla="*/ 692063 h 933189"/>
              <a:gd name="connsiteX32" fmla="*/ 522962 w 876822"/>
              <a:gd name="connsiteY32" fmla="*/ 679537 h 933189"/>
              <a:gd name="connsiteX33" fmla="*/ 513567 w 876822"/>
              <a:gd name="connsiteY33" fmla="*/ 685800 h 933189"/>
              <a:gd name="connsiteX34" fmla="*/ 494778 w 876822"/>
              <a:gd name="connsiteY34" fmla="*/ 692063 h 933189"/>
              <a:gd name="connsiteX35" fmla="*/ 469726 w 876822"/>
              <a:gd name="connsiteY35" fmla="*/ 688932 h 933189"/>
              <a:gd name="connsiteX36" fmla="*/ 457200 w 876822"/>
              <a:gd name="connsiteY36" fmla="*/ 673274 h 933189"/>
              <a:gd name="connsiteX37" fmla="*/ 447805 w 876822"/>
              <a:gd name="connsiteY37" fmla="*/ 660748 h 933189"/>
              <a:gd name="connsiteX38" fmla="*/ 432148 w 876822"/>
              <a:gd name="connsiteY38" fmla="*/ 641959 h 933189"/>
              <a:gd name="connsiteX39" fmla="*/ 413359 w 876822"/>
              <a:gd name="connsiteY39" fmla="*/ 635696 h 933189"/>
              <a:gd name="connsiteX40" fmla="*/ 335071 w 876822"/>
              <a:gd name="connsiteY40" fmla="*/ 629433 h 933189"/>
              <a:gd name="connsiteX41" fmla="*/ 316282 w 876822"/>
              <a:gd name="connsiteY41" fmla="*/ 620038 h 933189"/>
              <a:gd name="connsiteX42" fmla="*/ 306888 w 876822"/>
              <a:gd name="connsiteY42" fmla="*/ 616907 h 933189"/>
              <a:gd name="connsiteX43" fmla="*/ 284967 w 876822"/>
              <a:gd name="connsiteY43" fmla="*/ 620038 h 933189"/>
              <a:gd name="connsiteX44" fmla="*/ 266178 w 876822"/>
              <a:gd name="connsiteY44" fmla="*/ 626301 h 933189"/>
              <a:gd name="connsiteX45" fmla="*/ 203548 w 876822"/>
              <a:gd name="connsiteY45" fmla="*/ 629433 h 933189"/>
              <a:gd name="connsiteX46" fmla="*/ 191022 w 876822"/>
              <a:gd name="connsiteY46" fmla="*/ 632564 h 933189"/>
              <a:gd name="connsiteX47" fmla="*/ 181627 w 876822"/>
              <a:gd name="connsiteY47" fmla="*/ 641959 h 933189"/>
              <a:gd name="connsiteX48" fmla="*/ 137786 w 876822"/>
              <a:gd name="connsiteY48" fmla="*/ 638827 h 933189"/>
              <a:gd name="connsiteX49" fmla="*/ 128392 w 876822"/>
              <a:gd name="connsiteY49" fmla="*/ 632564 h 933189"/>
              <a:gd name="connsiteX50" fmla="*/ 122129 w 876822"/>
              <a:gd name="connsiteY50" fmla="*/ 623170 h 933189"/>
              <a:gd name="connsiteX51" fmla="*/ 103340 w 876822"/>
              <a:gd name="connsiteY51" fmla="*/ 610644 h 933189"/>
              <a:gd name="connsiteX52" fmla="*/ 84551 w 876822"/>
              <a:gd name="connsiteY52" fmla="*/ 604381 h 933189"/>
              <a:gd name="connsiteX53" fmla="*/ 75156 w 876822"/>
              <a:gd name="connsiteY53" fmla="*/ 601249 h 933189"/>
              <a:gd name="connsiteX54" fmla="*/ 65762 w 876822"/>
              <a:gd name="connsiteY54" fmla="*/ 598118 h 933189"/>
              <a:gd name="connsiteX55" fmla="*/ 46973 w 876822"/>
              <a:gd name="connsiteY55" fmla="*/ 566803 h 933189"/>
              <a:gd name="connsiteX56" fmla="*/ 40710 w 876822"/>
              <a:gd name="connsiteY56" fmla="*/ 548014 h 933189"/>
              <a:gd name="connsiteX57" fmla="*/ 37578 w 876822"/>
              <a:gd name="connsiteY57" fmla="*/ 538619 h 933189"/>
              <a:gd name="connsiteX58" fmla="*/ 34447 w 876822"/>
              <a:gd name="connsiteY58" fmla="*/ 529225 h 933189"/>
              <a:gd name="connsiteX59" fmla="*/ 25052 w 876822"/>
              <a:gd name="connsiteY59" fmla="*/ 510436 h 933189"/>
              <a:gd name="connsiteX60" fmla="*/ 6263 w 876822"/>
              <a:gd name="connsiteY60" fmla="*/ 479121 h 933189"/>
              <a:gd name="connsiteX61" fmla="*/ 0 w 876822"/>
              <a:gd name="connsiteY61" fmla="*/ 460332 h 933189"/>
              <a:gd name="connsiteX62" fmla="*/ 9395 w 876822"/>
              <a:gd name="connsiteY62" fmla="*/ 454068 h 933189"/>
              <a:gd name="connsiteX63" fmla="*/ 18789 w 876822"/>
              <a:gd name="connsiteY63" fmla="*/ 450937 h 933189"/>
              <a:gd name="connsiteX64" fmla="*/ 37578 w 876822"/>
              <a:gd name="connsiteY64" fmla="*/ 438411 h 933189"/>
              <a:gd name="connsiteX65" fmla="*/ 56367 w 876822"/>
              <a:gd name="connsiteY65" fmla="*/ 422753 h 933189"/>
              <a:gd name="connsiteX66" fmla="*/ 65762 w 876822"/>
              <a:gd name="connsiteY66" fmla="*/ 419622 h 933189"/>
              <a:gd name="connsiteX67" fmla="*/ 75156 w 876822"/>
              <a:gd name="connsiteY67" fmla="*/ 413359 h 933189"/>
              <a:gd name="connsiteX68" fmla="*/ 97077 w 876822"/>
              <a:gd name="connsiteY68" fmla="*/ 403964 h 933189"/>
              <a:gd name="connsiteX69" fmla="*/ 125260 w 876822"/>
              <a:gd name="connsiteY69" fmla="*/ 382044 h 933189"/>
              <a:gd name="connsiteX70" fmla="*/ 140918 w 876822"/>
              <a:gd name="connsiteY70" fmla="*/ 353860 h 933189"/>
              <a:gd name="connsiteX71" fmla="*/ 147181 w 876822"/>
              <a:gd name="connsiteY71" fmla="*/ 344466 h 933189"/>
              <a:gd name="connsiteX72" fmla="*/ 156575 w 876822"/>
              <a:gd name="connsiteY72" fmla="*/ 335071 h 933189"/>
              <a:gd name="connsiteX73" fmla="*/ 162838 w 876822"/>
              <a:gd name="connsiteY73" fmla="*/ 325677 h 933189"/>
              <a:gd name="connsiteX74" fmla="*/ 191022 w 876822"/>
              <a:gd name="connsiteY74" fmla="*/ 300625 h 933189"/>
              <a:gd name="connsiteX75" fmla="*/ 209811 w 876822"/>
              <a:gd name="connsiteY75" fmla="*/ 272441 h 933189"/>
              <a:gd name="connsiteX76" fmla="*/ 219205 w 876822"/>
              <a:gd name="connsiteY76" fmla="*/ 269310 h 933189"/>
              <a:gd name="connsiteX77" fmla="*/ 225468 w 876822"/>
              <a:gd name="connsiteY77" fmla="*/ 259915 h 933189"/>
              <a:gd name="connsiteX78" fmla="*/ 244258 w 876822"/>
              <a:gd name="connsiteY78" fmla="*/ 250521 h 933189"/>
              <a:gd name="connsiteX79" fmla="*/ 253652 w 876822"/>
              <a:gd name="connsiteY79" fmla="*/ 244258 h 933189"/>
              <a:gd name="connsiteX80" fmla="*/ 275573 w 876822"/>
              <a:gd name="connsiteY80" fmla="*/ 234863 h 933189"/>
              <a:gd name="connsiteX81" fmla="*/ 294362 w 876822"/>
              <a:gd name="connsiteY81" fmla="*/ 222337 h 933189"/>
              <a:gd name="connsiteX82" fmla="*/ 303756 w 876822"/>
              <a:gd name="connsiteY82" fmla="*/ 219205 h 933189"/>
              <a:gd name="connsiteX83" fmla="*/ 322545 w 876822"/>
              <a:gd name="connsiteY83" fmla="*/ 206679 h 933189"/>
              <a:gd name="connsiteX84" fmla="*/ 331940 w 876822"/>
              <a:gd name="connsiteY84" fmla="*/ 200416 h 933189"/>
              <a:gd name="connsiteX85" fmla="*/ 341334 w 876822"/>
              <a:gd name="connsiteY85" fmla="*/ 197285 h 933189"/>
              <a:gd name="connsiteX86" fmla="*/ 350729 w 876822"/>
              <a:gd name="connsiteY86" fmla="*/ 191022 h 933189"/>
              <a:gd name="connsiteX87" fmla="*/ 363255 w 876822"/>
              <a:gd name="connsiteY87" fmla="*/ 184759 h 933189"/>
              <a:gd name="connsiteX88" fmla="*/ 372649 w 876822"/>
              <a:gd name="connsiteY88" fmla="*/ 175364 h 933189"/>
              <a:gd name="connsiteX89" fmla="*/ 382044 w 876822"/>
              <a:gd name="connsiteY89" fmla="*/ 169101 h 933189"/>
              <a:gd name="connsiteX90" fmla="*/ 397701 w 876822"/>
              <a:gd name="connsiteY90" fmla="*/ 153444 h 933189"/>
              <a:gd name="connsiteX91" fmla="*/ 403964 w 876822"/>
              <a:gd name="connsiteY91" fmla="*/ 144049 h 933189"/>
              <a:gd name="connsiteX92" fmla="*/ 413359 w 876822"/>
              <a:gd name="connsiteY92" fmla="*/ 134655 h 933189"/>
              <a:gd name="connsiteX93" fmla="*/ 425885 w 876822"/>
              <a:gd name="connsiteY93" fmla="*/ 115866 h 933189"/>
              <a:gd name="connsiteX94" fmla="*/ 441542 w 876822"/>
              <a:gd name="connsiteY94" fmla="*/ 97077 h 933189"/>
              <a:gd name="connsiteX95" fmla="*/ 450937 w 876822"/>
              <a:gd name="connsiteY95" fmla="*/ 90814 h 933189"/>
              <a:gd name="connsiteX96" fmla="*/ 466595 w 876822"/>
              <a:gd name="connsiteY96" fmla="*/ 75156 h 933189"/>
              <a:gd name="connsiteX97" fmla="*/ 472858 w 876822"/>
              <a:gd name="connsiteY97" fmla="*/ 56367 h 933189"/>
              <a:gd name="connsiteX98" fmla="*/ 491647 w 876822"/>
              <a:gd name="connsiteY98" fmla="*/ 28184 h 933189"/>
              <a:gd name="connsiteX99" fmla="*/ 497910 w 876822"/>
              <a:gd name="connsiteY99" fmla="*/ 18789 h 933189"/>
              <a:gd name="connsiteX100" fmla="*/ 504173 w 876822"/>
              <a:gd name="connsiteY100" fmla="*/ 9395 h 933189"/>
              <a:gd name="connsiteX101" fmla="*/ 507304 w 876822"/>
              <a:gd name="connsiteY101" fmla="*/ 0 h 933189"/>
              <a:gd name="connsiteX102" fmla="*/ 513567 w 876822"/>
              <a:gd name="connsiteY102" fmla="*/ 9395 h 933189"/>
              <a:gd name="connsiteX103" fmla="*/ 519830 w 876822"/>
              <a:gd name="connsiteY103" fmla="*/ 28184 h 933189"/>
              <a:gd name="connsiteX104" fmla="*/ 522962 w 876822"/>
              <a:gd name="connsiteY104" fmla="*/ 37578 h 933189"/>
              <a:gd name="connsiteX105" fmla="*/ 532356 w 876822"/>
              <a:gd name="connsiteY105" fmla="*/ 34447 h 933189"/>
              <a:gd name="connsiteX106" fmla="*/ 544882 w 876822"/>
              <a:gd name="connsiteY106" fmla="*/ 25052 h 933189"/>
              <a:gd name="connsiteX107" fmla="*/ 551145 w 876822"/>
              <a:gd name="connsiteY107" fmla="*/ 43841 h 933189"/>
              <a:gd name="connsiteX108" fmla="*/ 563671 w 876822"/>
              <a:gd name="connsiteY108" fmla="*/ 59499 h 933189"/>
              <a:gd name="connsiteX109" fmla="*/ 623170 w 876822"/>
              <a:gd name="connsiteY109" fmla="*/ 62630 h 933189"/>
              <a:gd name="connsiteX110" fmla="*/ 632564 w 876822"/>
              <a:gd name="connsiteY110" fmla="*/ 65762 h 933189"/>
              <a:gd name="connsiteX111" fmla="*/ 648222 w 876822"/>
              <a:gd name="connsiteY111" fmla="*/ 53236 h 933189"/>
              <a:gd name="connsiteX112" fmla="*/ 657616 w 876822"/>
              <a:gd name="connsiteY112" fmla="*/ 46973 h 933189"/>
              <a:gd name="connsiteX113" fmla="*/ 739036 w 876822"/>
              <a:gd name="connsiteY113" fmla="*/ 50104 h 933189"/>
              <a:gd name="connsiteX114" fmla="*/ 742167 w 876822"/>
              <a:gd name="connsiteY114" fmla="*/ 59499 h 933189"/>
              <a:gd name="connsiteX115" fmla="*/ 757825 w 876822"/>
              <a:gd name="connsiteY115" fmla="*/ 87682 h 933189"/>
              <a:gd name="connsiteX116" fmla="*/ 760956 w 876822"/>
              <a:gd name="connsiteY116" fmla="*/ 115866 h 933189"/>
              <a:gd name="connsiteX117" fmla="*/ 767219 w 876822"/>
              <a:gd name="connsiteY117" fmla="*/ 134655 h 933189"/>
              <a:gd name="connsiteX118" fmla="*/ 770351 w 876822"/>
              <a:gd name="connsiteY118" fmla="*/ 144049 h 933189"/>
              <a:gd name="connsiteX119" fmla="*/ 767219 w 876822"/>
              <a:gd name="connsiteY119" fmla="*/ 169101 h 933189"/>
              <a:gd name="connsiteX120" fmla="*/ 748430 w 876822"/>
              <a:gd name="connsiteY120" fmla="*/ 178496 h 933189"/>
              <a:gd name="connsiteX121" fmla="*/ 729641 w 876822"/>
              <a:gd name="connsiteY121" fmla="*/ 194153 h 933189"/>
              <a:gd name="connsiteX122" fmla="*/ 729641 w 876822"/>
              <a:gd name="connsiteY122" fmla="*/ 231732 h 933189"/>
              <a:gd name="connsiteX123" fmla="*/ 732773 w 876822"/>
              <a:gd name="connsiteY123" fmla="*/ 241126 h 933189"/>
              <a:gd name="connsiteX124" fmla="*/ 742167 w 876822"/>
              <a:gd name="connsiteY124" fmla="*/ 247389 h 933189"/>
              <a:gd name="connsiteX125" fmla="*/ 751562 w 876822"/>
              <a:gd name="connsiteY125" fmla="*/ 266178 h 933189"/>
              <a:gd name="connsiteX126" fmla="*/ 748430 w 876822"/>
              <a:gd name="connsiteY126" fmla="*/ 278704 h 933189"/>
              <a:gd name="connsiteX127" fmla="*/ 739036 w 876822"/>
              <a:gd name="connsiteY127" fmla="*/ 297493 h 933189"/>
              <a:gd name="connsiteX128" fmla="*/ 748430 w 876822"/>
              <a:gd name="connsiteY128" fmla="*/ 306888 h 933189"/>
              <a:gd name="connsiteX129" fmla="*/ 776614 w 876822"/>
              <a:gd name="connsiteY129" fmla="*/ 313151 h 933189"/>
              <a:gd name="connsiteX130" fmla="*/ 795403 w 876822"/>
              <a:gd name="connsiteY130" fmla="*/ 328808 h 933189"/>
              <a:gd name="connsiteX131" fmla="*/ 804797 w 876822"/>
              <a:gd name="connsiteY131" fmla="*/ 331940 h 933189"/>
              <a:gd name="connsiteX132" fmla="*/ 823586 w 876822"/>
              <a:gd name="connsiteY132" fmla="*/ 347597 h 933189"/>
              <a:gd name="connsiteX133" fmla="*/ 836112 w 876822"/>
              <a:gd name="connsiteY133" fmla="*/ 385175 h 933189"/>
              <a:gd name="connsiteX134" fmla="*/ 842375 w 876822"/>
              <a:gd name="connsiteY134" fmla="*/ 403964 h 933189"/>
              <a:gd name="connsiteX135" fmla="*/ 845507 w 876822"/>
              <a:gd name="connsiteY135" fmla="*/ 413359 h 933189"/>
              <a:gd name="connsiteX136" fmla="*/ 851770 w 876822"/>
              <a:gd name="connsiteY136" fmla="*/ 422753 h 933189"/>
              <a:gd name="connsiteX137" fmla="*/ 864296 w 876822"/>
              <a:gd name="connsiteY137" fmla="*/ 441542 h 933189"/>
              <a:gd name="connsiteX138" fmla="*/ 867427 w 876822"/>
              <a:gd name="connsiteY138" fmla="*/ 450937 h 933189"/>
              <a:gd name="connsiteX0" fmla="*/ 867427 w 876822"/>
              <a:gd name="connsiteY0" fmla="*/ 450937 h 933189"/>
              <a:gd name="connsiteX1" fmla="*/ 873690 w 876822"/>
              <a:gd name="connsiteY1" fmla="*/ 541751 h 933189"/>
              <a:gd name="connsiteX2" fmla="*/ 876822 w 876822"/>
              <a:gd name="connsiteY2" fmla="*/ 554277 h 933189"/>
              <a:gd name="connsiteX3" fmla="*/ 873690 w 876822"/>
              <a:gd name="connsiteY3" fmla="*/ 820455 h 933189"/>
              <a:gd name="connsiteX4" fmla="*/ 867427 w 876822"/>
              <a:gd name="connsiteY4" fmla="*/ 842375 h 933189"/>
              <a:gd name="connsiteX5" fmla="*/ 858033 w 876822"/>
              <a:gd name="connsiteY5" fmla="*/ 873690 h 933189"/>
              <a:gd name="connsiteX6" fmla="*/ 854901 w 876822"/>
              <a:gd name="connsiteY6" fmla="*/ 892479 h 933189"/>
              <a:gd name="connsiteX7" fmla="*/ 851770 w 876822"/>
              <a:gd name="connsiteY7" fmla="*/ 901874 h 933189"/>
              <a:gd name="connsiteX8" fmla="*/ 845507 w 876822"/>
              <a:gd name="connsiteY8" fmla="*/ 933189 h 933189"/>
              <a:gd name="connsiteX9" fmla="*/ 829849 w 876822"/>
              <a:gd name="connsiteY9" fmla="*/ 930058 h 933189"/>
              <a:gd name="connsiteX10" fmla="*/ 811060 w 876822"/>
              <a:gd name="connsiteY10" fmla="*/ 923795 h 933189"/>
              <a:gd name="connsiteX11" fmla="*/ 795403 w 876822"/>
              <a:gd name="connsiteY11" fmla="*/ 911268 h 933189"/>
              <a:gd name="connsiteX12" fmla="*/ 782877 w 876822"/>
              <a:gd name="connsiteY12" fmla="*/ 892479 h 933189"/>
              <a:gd name="connsiteX13" fmla="*/ 773482 w 876822"/>
              <a:gd name="connsiteY13" fmla="*/ 879953 h 933189"/>
              <a:gd name="connsiteX14" fmla="*/ 770351 w 876822"/>
              <a:gd name="connsiteY14" fmla="*/ 870559 h 933189"/>
              <a:gd name="connsiteX15" fmla="*/ 760956 w 876822"/>
              <a:gd name="connsiteY15" fmla="*/ 858033 h 933189"/>
              <a:gd name="connsiteX16" fmla="*/ 754693 w 876822"/>
              <a:gd name="connsiteY16" fmla="*/ 848638 h 933189"/>
              <a:gd name="connsiteX17" fmla="*/ 748430 w 876822"/>
              <a:gd name="connsiteY17" fmla="*/ 836112 h 933189"/>
              <a:gd name="connsiteX18" fmla="*/ 735904 w 876822"/>
              <a:gd name="connsiteY18" fmla="*/ 817323 h 933189"/>
              <a:gd name="connsiteX19" fmla="*/ 717115 w 876822"/>
              <a:gd name="connsiteY19" fmla="*/ 789140 h 933189"/>
              <a:gd name="connsiteX20" fmla="*/ 701458 w 876822"/>
              <a:gd name="connsiteY20" fmla="*/ 770351 h 933189"/>
              <a:gd name="connsiteX21" fmla="*/ 695195 w 876822"/>
              <a:gd name="connsiteY21" fmla="*/ 760956 h 933189"/>
              <a:gd name="connsiteX22" fmla="*/ 685800 w 876822"/>
              <a:gd name="connsiteY22" fmla="*/ 757825 h 933189"/>
              <a:gd name="connsiteX23" fmla="*/ 641959 w 876822"/>
              <a:gd name="connsiteY23" fmla="*/ 773482 h 933189"/>
              <a:gd name="connsiteX24" fmla="*/ 632564 w 876822"/>
              <a:gd name="connsiteY24" fmla="*/ 770351 h 933189"/>
              <a:gd name="connsiteX25" fmla="*/ 620038 w 876822"/>
              <a:gd name="connsiteY25" fmla="*/ 767219 h 933189"/>
              <a:gd name="connsiteX26" fmla="*/ 601249 w 876822"/>
              <a:gd name="connsiteY26" fmla="*/ 760956 h 933189"/>
              <a:gd name="connsiteX27" fmla="*/ 591855 w 876822"/>
              <a:gd name="connsiteY27" fmla="*/ 751562 h 933189"/>
              <a:gd name="connsiteX28" fmla="*/ 585592 w 876822"/>
              <a:gd name="connsiteY28" fmla="*/ 742167 h 933189"/>
              <a:gd name="connsiteX29" fmla="*/ 576197 w 876822"/>
              <a:gd name="connsiteY29" fmla="*/ 735904 h 933189"/>
              <a:gd name="connsiteX30" fmla="*/ 551145 w 876822"/>
              <a:gd name="connsiteY30" fmla="*/ 707721 h 933189"/>
              <a:gd name="connsiteX31" fmla="*/ 538619 w 876822"/>
              <a:gd name="connsiteY31" fmla="*/ 692063 h 933189"/>
              <a:gd name="connsiteX32" fmla="*/ 522962 w 876822"/>
              <a:gd name="connsiteY32" fmla="*/ 679537 h 933189"/>
              <a:gd name="connsiteX33" fmla="*/ 513567 w 876822"/>
              <a:gd name="connsiteY33" fmla="*/ 685800 h 933189"/>
              <a:gd name="connsiteX34" fmla="*/ 494778 w 876822"/>
              <a:gd name="connsiteY34" fmla="*/ 692063 h 933189"/>
              <a:gd name="connsiteX35" fmla="*/ 469726 w 876822"/>
              <a:gd name="connsiteY35" fmla="*/ 688932 h 933189"/>
              <a:gd name="connsiteX36" fmla="*/ 457200 w 876822"/>
              <a:gd name="connsiteY36" fmla="*/ 673274 h 933189"/>
              <a:gd name="connsiteX37" fmla="*/ 447805 w 876822"/>
              <a:gd name="connsiteY37" fmla="*/ 660748 h 933189"/>
              <a:gd name="connsiteX38" fmla="*/ 432148 w 876822"/>
              <a:gd name="connsiteY38" fmla="*/ 641959 h 933189"/>
              <a:gd name="connsiteX39" fmla="*/ 413359 w 876822"/>
              <a:gd name="connsiteY39" fmla="*/ 635696 h 933189"/>
              <a:gd name="connsiteX40" fmla="*/ 335071 w 876822"/>
              <a:gd name="connsiteY40" fmla="*/ 629433 h 933189"/>
              <a:gd name="connsiteX41" fmla="*/ 316282 w 876822"/>
              <a:gd name="connsiteY41" fmla="*/ 620038 h 933189"/>
              <a:gd name="connsiteX42" fmla="*/ 306888 w 876822"/>
              <a:gd name="connsiteY42" fmla="*/ 616907 h 933189"/>
              <a:gd name="connsiteX43" fmla="*/ 284967 w 876822"/>
              <a:gd name="connsiteY43" fmla="*/ 620038 h 933189"/>
              <a:gd name="connsiteX44" fmla="*/ 266178 w 876822"/>
              <a:gd name="connsiteY44" fmla="*/ 626301 h 933189"/>
              <a:gd name="connsiteX45" fmla="*/ 203548 w 876822"/>
              <a:gd name="connsiteY45" fmla="*/ 629433 h 933189"/>
              <a:gd name="connsiteX46" fmla="*/ 191022 w 876822"/>
              <a:gd name="connsiteY46" fmla="*/ 632564 h 933189"/>
              <a:gd name="connsiteX47" fmla="*/ 181627 w 876822"/>
              <a:gd name="connsiteY47" fmla="*/ 641959 h 933189"/>
              <a:gd name="connsiteX48" fmla="*/ 137786 w 876822"/>
              <a:gd name="connsiteY48" fmla="*/ 638827 h 933189"/>
              <a:gd name="connsiteX49" fmla="*/ 128392 w 876822"/>
              <a:gd name="connsiteY49" fmla="*/ 632564 h 933189"/>
              <a:gd name="connsiteX50" fmla="*/ 122129 w 876822"/>
              <a:gd name="connsiteY50" fmla="*/ 623170 h 933189"/>
              <a:gd name="connsiteX51" fmla="*/ 103340 w 876822"/>
              <a:gd name="connsiteY51" fmla="*/ 610644 h 933189"/>
              <a:gd name="connsiteX52" fmla="*/ 84551 w 876822"/>
              <a:gd name="connsiteY52" fmla="*/ 604381 h 933189"/>
              <a:gd name="connsiteX53" fmla="*/ 75156 w 876822"/>
              <a:gd name="connsiteY53" fmla="*/ 601249 h 933189"/>
              <a:gd name="connsiteX54" fmla="*/ 65762 w 876822"/>
              <a:gd name="connsiteY54" fmla="*/ 598118 h 933189"/>
              <a:gd name="connsiteX55" fmla="*/ 46973 w 876822"/>
              <a:gd name="connsiteY55" fmla="*/ 566803 h 933189"/>
              <a:gd name="connsiteX56" fmla="*/ 40710 w 876822"/>
              <a:gd name="connsiteY56" fmla="*/ 548014 h 933189"/>
              <a:gd name="connsiteX57" fmla="*/ 37578 w 876822"/>
              <a:gd name="connsiteY57" fmla="*/ 538619 h 933189"/>
              <a:gd name="connsiteX58" fmla="*/ 34447 w 876822"/>
              <a:gd name="connsiteY58" fmla="*/ 529225 h 933189"/>
              <a:gd name="connsiteX59" fmla="*/ 25052 w 876822"/>
              <a:gd name="connsiteY59" fmla="*/ 510436 h 933189"/>
              <a:gd name="connsiteX60" fmla="*/ 6263 w 876822"/>
              <a:gd name="connsiteY60" fmla="*/ 479121 h 933189"/>
              <a:gd name="connsiteX61" fmla="*/ 0 w 876822"/>
              <a:gd name="connsiteY61" fmla="*/ 460332 h 933189"/>
              <a:gd name="connsiteX62" fmla="*/ 9395 w 876822"/>
              <a:gd name="connsiteY62" fmla="*/ 454068 h 933189"/>
              <a:gd name="connsiteX63" fmla="*/ 18789 w 876822"/>
              <a:gd name="connsiteY63" fmla="*/ 450937 h 933189"/>
              <a:gd name="connsiteX64" fmla="*/ 37578 w 876822"/>
              <a:gd name="connsiteY64" fmla="*/ 438411 h 933189"/>
              <a:gd name="connsiteX65" fmla="*/ 56367 w 876822"/>
              <a:gd name="connsiteY65" fmla="*/ 422753 h 933189"/>
              <a:gd name="connsiteX66" fmla="*/ 65762 w 876822"/>
              <a:gd name="connsiteY66" fmla="*/ 419622 h 933189"/>
              <a:gd name="connsiteX67" fmla="*/ 75156 w 876822"/>
              <a:gd name="connsiteY67" fmla="*/ 413359 h 933189"/>
              <a:gd name="connsiteX68" fmla="*/ 97077 w 876822"/>
              <a:gd name="connsiteY68" fmla="*/ 403964 h 933189"/>
              <a:gd name="connsiteX69" fmla="*/ 125260 w 876822"/>
              <a:gd name="connsiteY69" fmla="*/ 382044 h 933189"/>
              <a:gd name="connsiteX70" fmla="*/ 140918 w 876822"/>
              <a:gd name="connsiteY70" fmla="*/ 353860 h 933189"/>
              <a:gd name="connsiteX71" fmla="*/ 147181 w 876822"/>
              <a:gd name="connsiteY71" fmla="*/ 344466 h 933189"/>
              <a:gd name="connsiteX72" fmla="*/ 156575 w 876822"/>
              <a:gd name="connsiteY72" fmla="*/ 335071 h 933189"/>
              <a:gd name="connsiteX73" fmla="*/ 162838 w 876822"/>
              <a:gd name="connsiteY73" fmla="*/ 325677 h 933189"/>
              <a:gd name="connsiteX74" fmla="*/ 191022 w 876822"/>
              <a:gd name="connsiteY74" fmla="*/ 300625 h 933189"/>
              <a:gd name="connsiteX75" fmla="*/ 209811 w 876822"/>
              <a:gd name="connsiteY75" fmla="*/ 272441 h 933189"/>
              <a:gd name="connsiteX76" fmla="*/ 219205 w 876822"/>
              <a:gd name="connsiteY76" fmla="*/ 269310 h 933189"/>
              <a:gd name="connsiteX77" fmla="*/ 225468 w 876822"/>
              <a:gd name="connsiteY77" fmla="*/ 259915 h 933189"/>
              <a:gd name="connsiteX78" fmla="*/ 244258 w 876822"/>
              <a:gd name="connsiteY78" fmla="*/ 250521 h 933189"/>
              <a:gd name="connsiteX79" fmla="*/ 253652 w 876822"/>
              <a:gd name="connsiteY79" fmla="*/ 244258 h 933189"/>
              <a:gd name="connsiteX80" fmla="*/ 275573 w 876822"/>
              <a:gd name="connsiteY80" fmla="*/ 234863 h 933189"/>
              <a:gd name="connsiteX81" fmla="*/ 294362 w 876822"/>
              <a:gd name="connsiteY81" fmla="*/ 222337 h 933189"/>
              <a:gd name="connsiteX82" fmla="*/ 303756 w 876822"/>
              <a:gd name="connsiteY82" fmla="*/ 219205 h 933189"/>
              <a:gd name="connsiteX83" fmla="*/ 322545 w 876822"/>
              <a:gd name="connsiteY83" fmla="*/ 206679 h 933189"/>
              <a:gd name="connsiteX84" fmla="*/ 331940 w 876822"/>
              <a:gd name="connsiteY84" fmla="*/ 200416 h 933189"/>
              <a:gd name="connsiteX85" fmla="*/ 341334 w 876822"/>
              <a:gd name="connsiteY85" fmla="*/ 197285 h 933189"/>
              <a:gd name="connsiteX86" fmla="*/ 350729 w 876822"/>
              <a:gd name="connsiteY86" fmla="*/ 191022 h 933189"/>
              <a:gd name="connsiteX87" fmla="*/ 363255 w 876822"/>
              <a:gd name="connsiteY87" fmla="*/ 184759 h 933189"/>
              <a:gd name="connsiteX88" fmla="*/ 372649 w 876822"/>
              <a:gd name="connsiteY88" fmla="*/ 175364 h 933189"/>
              <a:gd name="connsiteX89" fmla="*/ 382044 w 876822"/>
              <a:gd name="connsiteY89" fmla="*/ 169101 h 933189"/>
              <a:gd name="connsiteX90" fmla="*/ 397701 w 876822"/>
              <a:gd name="connsiteY90" fmla="*/ 153444 h 933189"/>
              <a:gd name="connsiteX91" fmla="*/ 403964 w 876822"/>
              <a:gd name="connsiteY91" fmla="*/ 144049 h 933189"/>
              <a:gd name="connsiteX92" fmla="*/ 413359 w 876822"/>
              <a:gd name="connsiteY92" fmla="*/ 134655 h 933189"/>
              <a:gd name="connsiteX93" fmla="*/ 425885 w 876822"/>
              <a:gd name="connsiteY93" fmla="*/ 115866 h 933189"/>
              <a:gd name="connsiteX94" fmla="*/ 441542 w 876822"/>
              <a:gd name="connsiteY94" fmla="*/ 97077 h 933189"/>
              <a:gd name="connsiteX95" fmla="*/ 450937 w 876822"/>
              <a:gd name="connsiteY95" fmla="*/ 90814 h 933189"/>
              <a:gd name="connsiteX96" fmla="*/ 466595 w 876822"/>
              <a:gd name="connsiteY96" fmla="*/ 75156 h 933189"/>
              <a:gd name="connsiteX97" fmla="*/ 472858 w 876822"/>
              <a:gd name="connsiteY97" fmla="*/ 56367 h 933189"/>
              <a:gd name="connsiteX98" fmla="*/ 491647 w 876822"/>
              <a:gd name="connsiteY98" fmla="*/ 28184 h 933189"/>
              <a:gd name="connsiteX99" fmla="*/ 497910 w 876822"/>
              <a:gd name="connsiteY99" fmla="*/ 18789 h 933189"/>
              <a:gd name="connsiteX100" fmla="*/ 504173 w 876822"/>
              <a:gd name="connsiteY100" fmla="*/ 9395 h 933189"/>
              <a:gd name="connsiteX101" fmla="*/ 507304 w 876822"/>
              <a:gd name="connsiteY101" fmla="*/ 0 h 933189"/>
              <a:gd name="connsiteX102" fmla="*/ 513567 w 876822"/>
              <a:gd name="connsiteY102" fmla="*/ 9395 h 933189"/>
              <a:gd name="connsiteX103" fmla="*/ 519830 w 876822"/>
              <a:gd name="connsiteY103" fmla="*/ 28184 h 933189"/>
              <a:gd name="connsiteX104" fmla="*/ 522962 w 876822"/>
              <a:gd name="connsiteY104" fmla="*/ 37578 h 933189"/>
              <a:gd name="connsiteX105" fmla="*/ 532356 w 876822"/>
              <a:gd name="connsiteY105" fmla="*/ 34447 h 933189"/>
              <a:gd name="connsiteX106" fmla="*/ 544882 w 876822"/>
              <a:gd name="connsiteY106" fmla="*/ 25052 h 933189"/>
              <a:gd name="connsiteX107" fmla="*/ 551145 w 876822"/>
              <a:gd name="connsiteY107" fmla="*/ 43841 h 933189"/>
              <a:gd name="connsiteX108" fmla="*/ 563671 w 876822"/>
              <a:gd name="connsiteY108" fmla="*/ 59499 h 933189"/>
              <a:gd name="connsiteX109" fmla="*/ 623170 w 876822"/>
              <a:gd name="connsiteY109" fmla="*/ 62630 h 933189"/>
              <a:gd name="connsiteX110" fmla="*/ 632564 w 876822"/>
              <a:gd name="connsiteY110" fmla="*/ 65762 h 933189"/>
              <a:gd name="connsiteX111" fmla="*/ 648222 w 876822"/>
              <a:gd name="connsiteY111" fmla="*/ 53236 h 933189"/>
              <a:gd name="connsiteX112" fmla="*/ 657616 w 876822"/>
              <a:gd name="connsiteY112" fmla="*/ 46973 h 933189"/>
              <a:gd name="connsiteX113" fmla="*/ 739036 w 876822"/>
              <a:gd name="connsiteY113" fmla="*/ 50104 h 933189"/>
              <a:gd name="connsiteX114" fmla="*/ 742167 w 876822"/>
              <a:gd name="connsiteY114" fmla="*/ 59499 h 933189"/>
              <a:gd name="connsiteX115" fmla="*/ 757825 w 876822"/>
              <a:gd name="connsiteY115" fmla="*/ 87682 h 933189"/>
              <a:gd name="connsiteX116" fmla="*/ 760956 w 876822"/>
              <a:gd name="connsiteY116" fmla="*/ 115866 h 933189"/>
              <a:gd name="connsiteX117" fmla="*/ 767219 w 876822"/>
              <a:gd name="connsiteY117" fmla="*/ 134655 h 933189"/>
              <a:gd name="connsiteX118" fmla="*/ 770351 w 876822"/>
              <a:gd name="connsiteY118" fmla="*/ 144049 h 933189"/>
              <a:gd name="connsiteX119" fmla="*/ 767219 w 876822"/>
              <a:gd name="connsiteY119" fmla="*/ 169101 h 933189"/>
              <a:gd name="connsiteX120" fmla="*/ 748430 w 876822"/>
              <a:gd name="connsiteY120" fmla="*/ 178496 h 933189"/>
              <a:gd name="connsiteX121" fmla="*/ 729641 w 876822"/>
              <a:gd name="connsiteY121" fmla="*/ 194153 h 933189"/>
              <a:gd name="connsiteX122" fmla="*/ 729641 w 876822"/>
              <a:gd name="connsiteY122" fmla="*/ 231732 h 933189"/>
              <a:gd name="connsiteX123" fmla="*/ 732773 w 876822"/>
              <a:gd name="connsiteY123" fmla="*/ 241126 h 933189"/>
              <a:gd name="connsiteX124" fmla="*/ 742167 w 876822"/>
              <a:gd name="connsiteY124" fmla="*/ 247389 h 933189"/>
              <a:gd name="connsiteX125" fmla="*/ 751562 w 876822"/>
              <a:gd name="connsiteY125" fmla="*/ 266178 h 933189"/>
              <a:gd name="connsiteX126" fmla="*/ 748430 w 876822"/>
              <a:gd name="connsiteY126" fmla="*/ 278704 h 933189"/>
              <a:gd name="connsiteX127" fmla="*/ 739036 w 876822"/>
              <a:gd name="connsiteY127" fmla="*/ 297493 h 933189"/>
              <a:gd name="connsiteX128" fmla="*/ 767219 w 876822"/>
              <a:gd name="connsiteY128" fmla="*/ 306888 h 933189"/>
              <a:gd name="connsiteX129" fmla="*/ 776614 w 876822"/>
              <a:gd name="connsiteY129" fmla="*/ 313151 h 933189"/>
              <a:gd name="connsiteX130" fmla="*/ 795403 w 876822"/>
              <a:gd name="connsiteY130" fmla="*/ 328808 h 933189"/>
              <a:gd name="connsiteX131" fmla="*/ 804797 w 876822"/>
              <a:gd name="connsiteY131" fmla="*/ 331940 h 933189"/>
              <a:gd name="connsiteX132" fmla="*/ 823586 w 876822"/>
              <a:gd name="connsiteY132" fmla="*/ 347597 h 933189"/>
              <a:gd name="connsiteX133" fmla="*/ 836112 w 876822"/>
              <a:gd name="connsiteY133" fmla="*/ 385175 h 933189"/>
              <a:gd name="connsiteX134" fmla="*/ 842375 w 876822"/>
              <a:gd name="connsiteY134" fmla="*/ 403964 h 933189"/>
              <a:gd name="connsiteX135" fmla="*/ 845507 w 876822"/>
              <a:gd name="connsiteY135" fmla="*/ 413359 h 933189"/>
              <a:gd name="connsiteX136" fmla="*/ 851770 w 876822"/>
              <a:gd name="connsiteY136" fmla="*/ 422753 h 933189"/>
              <a:gd name="connsiteX137" fmla="*/ 864296 w 876822"/>
              <a:gd name="connsiteY137" fmla="*/ 441542 h 933189"/>
              <a:gd name="connsiteX138" fmla="*/ 867427 w 876822"/>
              <a:gd name="connsiteY138" fmla="*/ 450937 h 933189"/>
              <a:gd name="connsiteX0" fmla="*/ 867427 w 876822"/>
              <a:gd name="connsiteY0" fmla="*/ 450937 h 933189"/>
              <a:gd name="connsiteX1" fmla="*/ 873690 w 876822"/>
              <a:gd name="connsiteY1" fmla="*/ 541751 h 933189"/>
              <a:gd name="connsiteX2" fmla="*/ 876822 w 876822"/>
              <a:gd name="connsiteY2" fmla="*/ 554277 h 933189"/>
              <a:gd name="connsiteX3" fmla="*/ 873690 w 876822"/>
              <a:gd name="connsiteY3" fmla="*/ 820455 h 933189"/>
              <a:gd name="connsiteX4" fmla="*/ 867427 w 876822"/>
              <a:gd name="connsiteY4" fmla="*/ 842375 h 933189"/>
              <a:gd name="connsiteX5" fmla="*/ 858033 w 876822"/>
              <a:gd name="connsiteY5" fmla="*/ 873690 h 933189"/>
              <a:gd name="connsiteX6" fmla="*/ 854901 w 876822"/>
              <a:gd name="connsiteY6" fmla="*/ 892479 h 933189"/>
              <a:gd name="connsiteX7" fmla="*/ 851770 w 876822"/>
              <a:gd name="connsiteY7" fmla="*/ 901874 h 933189"/>
              <a:gd name="connsiteX8" fmla="*/ 845507 w 876822"/>
              <a:gd name="connsiteY8" fmla="*/ 933189 h 933189"/>
              <a:gd name="connsiteX9" fmla="*/ 829849 w 876822"/>
              <a:gd name="connsiteY9" fmla="*/ 930058 h 933189"/>
              <a:gd name="connsiteX10" fmla="*/ 811060 w 876822"/>
              <a:gd name="connsiteY10" fmla="*/ 923795 h 933189"/>
              <a:gd name="connsiteX11" fmla="*/ 795403 w 876822"/>
              <a:gd name="connsiteY11" fmla="*/ 911268 h 933189"/>
              <a:gd name="connsiteX12" fmla="*/ 782877 w 876822"/>
              <a:gd name="connsiteY12" fmla="*/ 892479 h 933189"/>
              <a:gd name="connsiteX13" fmla="*/ 773482 w 876822"/>
              <a:gd name="connsiteY13" fmla="*/ 879953 h 933189"/>
              <a:gd name="connsiteX14" fmla="*/ 770351 w 876822"/>
              <a:gd name="connsiteY14" fmla="*/ 870559 h 933189"/>
              <a:gd name="connsiteX15" fmla="*/ 760956 w 876822"/>
              <a:gd name="connsiteY15" fmla="*/ 858033 h 933189"/>
              <a:gd name="connsiteX16" fmla="*/ 754693 w 876822"/>
              <a:gd name="connsiteY16" fmla="*/ 848638 h 933189"/>
              <a:gd name="connsiteX17" fmla="*/ 748430 w 876822"/>
              <a:gd name="connsiteY17" fmla="*/ 836112 h 933189"/>
              <a:gd name="connsiteX18" fmla="*/ 735904 w 876822"/>
              <a:gd name="connsiteY18" fmla="*/ 817323 h 933189"/>
              <a:gd name="connsiteX19" fmla="*/ 717115 w 876822"/>
              <a:gd name="connsiteY19" fmla="*/ 789140 h 933189"/>
              <a:gd name="connsiteX20" fmla="*/ 701458 w 876822"/>
              <a:gd name="connsiteY20" fmla="*/ 770351 h 933189"/>
              <a:gd name="connsiteX21" fmla="*/ 695195 w 876822"/>
              <a:gd name="connsiteY21" fmla="*/ 760956 h 933189"/>
              <a:gd name="connsiteX22" fmla="*/ 685800 w 876822"/>
              <a:gd name="connsiteY22" fmla="*/ 757825 h 933189"/>
              <a:gd name="connsiteX23" fmla="*/ 641959 w 876822"/>
              <a:gd name="connsiteY23" fmla="*/ 773482 h 933189"/>
              <a:gd name="connsiteX24" fmla="*/ 632564 w 876822"/>
              <a:gd name="connsiteY24" fmla="*/ 770351 h 933189"/>
              <a:gd name="connsiteX25" fmla="*/ 620038 w 876822"/>
              <a:gd name="connsiteY25" fmla="*/ 767219 h 933189"/>
              <a:gd name="connsiteX26" fmla="*/ 601249 w 876822"/>
              <a:gd name="connsiteY26" fmla="*/ 760956 h 933189"/>
              <a:gd name="connsiteX27" fmla="*/ 591855 w 876822"/>
              <a:gd name="connsiteY27" fmla="*/ 751562 h 933189"/>
              <a:gd name="connsiteX28" fmla="*/ 585592 w 876822"/>
              <a:gd name="connsiteY28" fmla="*/ 742167 h 933189"/>
              <a:gd name="connsiteX29" fmla="*/ 576197 w 876822"/>
              <a:gd name="connsiteY29" fmla="*/ 735904 h 933189"/>
              <a:gd name="connsiteX30" fmla="*/ 551145 w 876822"/>
              <a:gd name="connsiteY30" fmla="*/ 707721 h 933189"/>
              <a:gd name="connsiteX31" fmla="*/ 538619 w 876822"/>
              <a:gd name="connsiteY31" fmla="*/ 692063 h 933189"/>
              <a:gd name="connsiteX32" fmla="*/ 522962 w 876822"/>
              <a:gd name="connsiteY32" fmla="*/ 679537 h 933189"/>
              <a:gd name="connsiteX33" fmla="*/ 513567 w 876822"/>
              <a:gd name="connsiteY33" fmla="*/ 685800 h 933189"/>
              <a:gd name="connsiteX34" fmla="*/ 494778 w 876822"/>
              <a:gd name="connsiteY34" fmla="*/ 692063 h 933189"/>
              <a:gd name="connsiteX35" fmla="*/ 469726 w 876822"/>
              <a:gd name="connsiteY35" fmla="*/ 688932 h 933189"/>
              <a:gd name="connsiteX36" fmla="*/ 457200 w 876822"/>
              <a:gd name="connsiteY36" fmla="*/ 673274 h 933189"/>
              <a:gd name="connsiteX37" fmla="*/ 447805 w 876822"/>
              <a:gd name="connsiteY37" fmla="*/ 660748 h 933189"/>
              <a:gd name="connsiteX38" fmla="*/ 432148 w 876822"/>
              <a:gd name="connsiteY38" fmla="*/ 641959 h 933189"/>
              <a:gd name="connsiteX39" fmla="*/ 413359 w 876822"/>
              <a:gd name="connsiteY39" fmla="*/ 635696 h 933189"/>
              <a:gd name="connsiteX40" fmla="*/ 335071 w 876822"/>
              <a:gd name="connsiteY40" fmla="*/ 629433 h 933189"/>
              <a:gd name="connsiteX41" fmla="*/ 316282 w 876822"/>
              <a:gd name="connsiteY41" fmla="*/ 620038 h 933189"/>
              <a:gd name="connsiteX42" fmla="*/ 306888 w 876822"/>
              <a:gd name="connsiteY42" fmla="*/ 616907 h 933189"/>
              <a:gd name="connsiteX43" fmla="*/ 284967 w 876822"/>
              <a:gd name="connsiteY43" fmla="*/ 620038 h 933189"/>
              <a:gd name="connsiteX44" fmla="*/ 266178 w 876822"/>
              <a:gd name="connsiteY44" fmla="*/ 626301 h 933189"/>
              <a:gd name="connsiteX45" fmla="*/ 203548 w 876822"/>
              <a:gd name="connsiteY45" fmla="*/ 629433 h 933189"/>
              <a:gd name="connsiteX46" fmla="*/ 191022 w 876822"/>
              <a:gd name="connsiteY46" fmla="*/ 632564 h 933189"/>
              <a:gd name="connsiteX47" fmla="*/ 181627 w 876822"/>
              <a:gd name="connsiteY47" fmla="*/ 641959 h 933189"/>
              <a:gd name="connsiteX48" fmla="*/ 137786 w 876822"/>
              <a:gd name="connsiteY48" fmla="*/ 638827 h 933189"/>
              <a:gd name="connsiteX49" fmla="*/ 128392 w 876822"/>
              <a:gd name="connsiteY49" fmla="*/ 632564 h 933189"/>
              <a:gd name="connsiteX50" fmla="*/ 122129 w 876822"/>
              <a:gd name="connsiteY50" fmla="*/ 623170 h 933189"/>
              <a:gd name="connsiteX51" fmla="*/ 103340 w 876822"/>
              <a:gd name="connsiteY51" fmla="*/ 610644 h 933189"/>
              <a:gd name="connsiteX52" fmla="*/ 84551 w 876822"/>
              <a:gd name="connsiteY52" fmla="*/ 604381 h 933189"/>
              <a:gd name="connsiteX53" fmla="*/ 75156 w 876822"/>
              <a:gd name="connsiteY53" fmla="*/ 601249 h 933189"/>
              <a:gd name="connsiteX54" fmla="*/ 65762 w 876822"/>
              <a:gd name="connsiteY54" fmla="*/ 598118 h 933189"/>
              <a:gd name="connsiteX55" fmla="*/ 46973 w 876822"/>
              <a:gd name="connsiteY55" fmla="*/ 566803 h 933189"/>
              <a:gd name="connsiteX56" fmla="*/ 40710 w 876822"/>
              <a:gd name="connsiteY56" fmla="*/ 548014 h 933189"/>
              <a:gd name="connsiteX57" fmla="*/ 37578 w 876822"/>
              <a:gd name="connsiteY57" fmla="*/ 538619 h 933189"/>
              <a:gd name="connsiteX58" fmla="*/ 34447 w 876822"/>
              <a:gd name="connsiteY58" fmla="*/ 529225 h 933189"/>
              <a:gd name="connsiteX59" fmla="*/ 25052 w 876822"/>
              <a:gd name="connsiteY59" fmla="*/ 510436 h 933189"/>
              <a:gd name="connsiteX60" fmla="*/ 6263 w 876822"/>
              <a:gd name="connsiteY60" fmla="*/ 479121 h 933189"/>
              <a:gd name="connsiteX61" fmla="*/ 0 w 876822"/>
              <a:gd name="connsiteY61" fmla="*/ 460332 h 933189"/>
              <a:gd name="connsiteX62" fmla="*/ 9395 w 876822"/>
              <a:gd name="connsiteY62" fmla="*/ 454068 h 933189"/>
              <a:gd name="connsiteX63" fmla="*/ 18789 w 876822"/>
              <a:gd name="connsiteY63" fmla="*/ 450937 h 933189"/>
              <a:gd name="connsiteX64" fmla="*/ 37578 w 876822"/>
              <a:gd name="connsiteY64" fmla="*/ 438411 h 933189"/>
              <a:gd name="connsiteX65" fmla="*/ 56367 w 876822"/>
              <a:gd name="connsiteY65" fmla="*/ 422753 h 933189"/>
              <a:gd name="connsiteX66" fmla="*/ 65762 w 876822"/>
              <a:gd name="connsiteY66" fmla="*/ 419622 h 933189"/>
              <a:gd name="connsiteX67" fmla="*/ 75156 w 876822"/>
              <a:gd name="connsiteY67" fmla="*/ 413359 h 933189"/>
              <a:gd name="connsiteX68" fmla="*/ 97077 w 876822"/>
              <a:gd name="connsiteY68" fmla="*/ 403964 h 933189"/>
              <a:gd name="connsiteX69" fmla="*/ 125260 w 876822"/>
              <a:gd name="connsiteY69" fmla="*/ 382044 h 933189"/>
              <a:gd name="connsiteX70" fmla="*/ 140918 w 876822"/>
              <a:gd name="connsiteY70" fmla="*/ 353860 h 933189"/>
              <a:gd name="connsiteX71" fmla="*/ 147181 w 876822"/>
              <a:gd name="connsiteY71" fmla="*/ 344466 h 933189"/>
              <a:gd name="connsiteX72" fmla="*/ 156575 w 876822"/>
              <a:gd name="connsiteY72" fmla="*/ 335071 h 933189"/>
              <a:gd name="connsiteX73" fmla="*/ 162838 w 876822"/>
              <a:gd name="connsiteY73" fmla="*/ 325677 h 933189"/>
              <a:gd name="connsiteX74" fmla="*/ 191022 w 876822"/>
              <a:gd name="connsiteY74" fmla="*/ 300625 h 933189"/>
              <a:gd name="connsiteX75" fmla="*/ 209811 w 876822"/>
              <a:gd name="connsiteY75" fmla="*/ 272441 h 933189"/>
              <a:gd name="connsiteX76" fmla="*/ 219205 w 876822"/>
              <a:gd name="connsiteY76" fmla="*/ 269310 h 933189"/>
              <a:gd name="connsiteX77" fmla="*/ 225468 w 876822"/>
              <a:gd name="connsiteY77" fmla="*/ 259915 h 933189"/>
              <a:gd name="connsiteX78" fmla="*/ 244258 w 876822"/>
              <a:gd name="connsiteY78" fmla="*/ 250521 h 933189"/>
              <a:gd name="connsiteX79" fmla="*/ 253652 w 876822"/>
              <a:gd name="connsiteY79" fmla="*/ 244258 h 933189"/>
              <a:gd name="connsiteX80" fmla="*/ 275573 w 876822"/>
              <a:gd name="connsiteY80" fmla="*/ 234863 h 933189"/>
              <a:gd name="connsiteX81" fmla="*/ 294362 w 876822"/>
              <a:gd name="connsiteY81" fmla="*/ 222337 h 933189"/>
              <a:gd name="connsiteX82" fmla="*/ 303756 w 876822"/>
              <a:gd name="connsiteY82" fmla="*/ 219205 h 933189"/>
              <a:gd name="connsiteX83" fmla="*/ 322545 w 876822"/>
              <a:gd name="connsiteY83" fmla="*/ 206679 h 933189"/>
              <a:gd name="connsiteX84" fmla="*/ 331940 w 876822"/>
              <a:gd name="connsiteY84" fmla="*/ 200416 h 933189"/>
              <a:gd name="connsiteX85" fmla="*/ 341334 w 876822"/>
              <a:gd name="connsiteY85" fmla="*/ 197285 h 933189"/>
              <a:gd name="connsiteX86" fmla="*/ 350729 w 876822"/>
              <a:gd name="connsiteY86" fmla="*/ 191022 h 933189"/>
              <a:gd name="connsiteX87" fmla="*/ 363255 w 876822"/>
              <a:gd name="connsiteY87" fmla="*/ 184759 h 933189"/>
              <a:gd name="connsiteX88" fmla="*/ 372649 w 876822"/>
              <a:gd name="connsiteY88" fmla="*/ 175364 h 933189"/>
              <a:gd name="connsiteX89" fmla="*/ 382044 w 876822"/>
              <a:gd name="connsiteY89" fmla="*/ 169101 h 933189"/>
              <a:gd name="connsiteX90" fmla="*/ 397701 w 876822"/>
              <a:gd name="connsiteY90" fmla="*/ 153444 h 933189"/>
              <a:gd name="connsiteX91" fmla="*/ 403964 w 876822"/>
              <a:gd name="connsiteY91" fmla="*/ 144049 h 933189"/>
              <a:gd name="connsiteX92" fmla="*/ 413359 w 876822"/>
              <a:gd name="connsiteY92" fmla="*/ 134655 h 933189"/>
              <a:gd name="connsiteX93" fmla="*/ 425885 w 876822"/>
              <a:gd name="connsiteY93" fmla="*/ 115866 h 933189"/>
              <a:gd name="connsiteX94" fmla="*/ 441542 w 876822"/>
              <a:gd name="connsiteY94" fmla="*/ 97077 h 933189"/>
              <a:gd name="connsiteX95" fmla="*/ 450937 w 876822"/>
              <a:gd name="connsiteY95" fmla="*/ 90814 h 933189"/>
              <a:gd name="connsiteX96" fmla="*/ 466595 w 876822"/>
              <a:gd name="connsiteY96" fmla="*/ 75156 h 933189"/>
              <a:gd name="connsiteX97" fmla="*/ 472858 w 876822"/>
              <a:gd name="connsiteY97" fmla="*/ 56367 h 933189"/>
              <a:gd name="connsiteX98" fmla="*/ 491647 w 876822"/>
              <a:gd name="connsiteY98" fmla="*/ 28184 h 933189"/>
              <a:gd name="connsiteX99" fmla="*/ 497910 w 876822"/>
              <a:gd name="connsiteY99" fmla="*/ 18789 h 933189"/>
              <a:gd name="connsiteX100" fmla="*/ 504173 w 876822"/>
              <a:gd name="connsiteY100" fmla="*/ 9395 h 933189"/>
              <a:gd name="connsiteX101" fmla="*/ 507304 w 876822"/>
              <a:gd name="connsiteY101" fmla="*/ 0 h 933189"/>
              <a:gd name="connsiteX102" fmla="*/ 513567 w 876822"/>
              <a:gd name="connsiteY102" fmla="*/ 9395 h 933189"/>
              <a:gd name="connsiteX103" fmla="*/ 519830 w 876822"/>
              <a:gd name="connsiteY103" fmla="*/ 28184 h 933189"/>
              <a:gd name="connsiteX104" fmla="*/ 522962 w 876822"/>
              <a:gd name="connsiteY104" fmla="*/ 37578 h 933189"/>
              <a:gd name="connsiteX105" fmla="*/ 532356 w 876822"/>
              <a:gd name="connsiteY105" fmla="*/ 34447 h 933189"/>
              <a:gd name="connsiteX106" fmla="*/ 544882 w 876822"/>
              <a:gd name="connsiteY106" fmla="*/ 25052 h 933189"/>
              <a:gd name="connsiteX107" fmla="*/ 551145 w 876822"/>
              <a:gd name="connsiteY107" fmla="*/ 43841 h 933189"/>
              <a:gd name="connsiteX108" fmla="*/ 563671 w 876822"/>
              <a:gd name="connsiteY108" fmla="*/ 59499 h 933189"/>
              <a:gd name="connsiteX109" fmla="*/ 623170 w 876822"/>
              <a:gd name="connsiteY109" fmla="*/ 62630 h 933189"/>
              <a:gd name="connsiteX110" fmla="*/ 632564 w 876822"/>
              <a:gd name="connsiteY110" fmla="*/ 65762 h 933189"/>
              <a:gd name="connsiteX111" fmla="*/ 648222 w 876822"/>
              <a:gd name="connsiteY111" fmla="*/ 53236 h 933189"/>
              <a:gd name="connsiteX112" fmla="*/ 657616 w 876822"/>
              <a:gd name="connsiteY112" fmla="*/ 46973 h 933189"/>
              <a:gd name="connsiteX113" fmla="*/ 739036 w 876822"/>
              <a:gd name="connsiteY113" fmla="*/ 50104 h 933189"/>
              <a:gd name="connsiteX114" fmla="*/ 742167 w 876822"/>
              <a:gd name="connsiteY114" fmla="*/ 59499 h 933189"/>
              <a:gd name="connsiteX115" fmla="*/ 757825 w 876822"/>
              <a:gd name="connsiteY115" fmla="*/ 87682 h 933189"/>
              <a:gd name="connsiteX116" fmla="*/ 760956 w 876822"/>
              <a:gd name="connsiteY116" fmla="*/ 115866 h 933189"/>
              <a:gd name="connsiteX117" fmla="*/ 767219 w 876822"/>
              <a:gd name="connsiteY117" fmla="*/ 134655 h 933189"/>
              <a:gd name="connsiteX118" fmla="*/ 770351 w 876822"/>
              <a:gd name="connsiteY118" fmla="*/ 144049 h 933189"/>
              <a:gd name="connsiteX119" fmla="*/ 767219 w 876822"/>
              <a:gd name="connsiteY119" fmla="*/ 169101 h 933189"/>
              <a:gd name="connsiteX120" fmla="*/ 748430 w 876822"/>
              <a:gd name="connsiteY120" fmla="*/ 178496 h 933189"/>
              <a:gd name="connsiteX121" fmla="*/ 729641 w 876822"/>
              <a:gd name="connsiteY121" fmla="*/ 194153 h 933189"/>
              <a:gd name="connsiteX122" fmla="*/ 729641 w 876822"/>
              <a:gd name="connsiteY122" fmla="*/ 231732 h 933189"/>
              <a:gd name="connsiteX123" fmla="*/ 732773 w 876822"/>
              <a:gd name="connsiteY123" fmla="*/ 241126 h 933189"/>
              <a:gd name="connsiteX124" fmla="*/ 742167 w 876822"/>
              <a:gd name="connsiteY124" fmla="*/ 247389 h 933189"/>
              <a:gd name="connsiteX125" fmla="*/ 751562 w 876822"/>
              <a:gd name="connsiteY125" fmla="*/ 266178 h 933189"/>
              <a:gd name="connsiteX126" fmla="*/ 748430 w 876822"/>
              <a:gd name="connsiteY126" fmla="*/ 278704 h 933189"/>
              <a:gd name="connsiteX127" fmla="*/ 748430 w 876822"/>
              <a:gd name="connsiteY127" fmla="*/ 297493 h 933189"/>
              <a:gd name="connsiteX128" fmla="*/ 767219 w 876822"/>
              <a:gd name="connsiteY128" fmla="*/ 306888 h 933189"/>
              <a:gd name="connsiteX129" fmla="*/ 776614 w 876822"/>
              <a:gd name="connsiteY129" fmla="*/ 313151 h 933189"/>
              <a:gd name="connsiteX130" fmla="*/ 795403 w 876822"/>
              <a:gd name="connsiteY130" fmla="*/ 328808 h 933189"/>
              <a:gd name="connsiteX131" fmla="*/ 804797 w 876822"/>
              <a:gd name="connsiteY131" fmla="*/ 331940 h 933189"/>
              <a:gd name="connsiteX132" fmla="*/ 823586 w 876822"/>
              <a:gd name="connsiteY132" fmla="*/ 347597 h 933189"/>
              <a:gd name="connsiteX133" fmla="*/ 836112 w 876822"/>
              <a:gd name="connsiteY133" fmla="*/ 385175 h 933189"/>
              <a:gd name="connsiteX134" fmla="*/ 842375 w 876822"/>
              <a:gd name="connsiteY134" fmla="*/ 403964 h 933189"/>
              <a:gd name="connsiteX135" fmla="*/ 845507 w 876822"/>
              <a:gd name="connsiteY135" fmla="*/ 413359 h 933189"/>
              <a:gd name="connsiteX136" fmla="*/ 851770 w 876822"/>
              <a:gd name="connsiteY136" fmla="*/ 422753 h 933189"/>
              <a:gd name="connsiteX137" fmla="*/ 864296 w 876822"/>
              <a:gd name="connsiteY137" fmla="*/ 441542 h 933189"/>
              <a:gd name="connsiteX138" fmla="*/ 867427 w 876822"/>
              <a:gd name="connsiteY138" fmla="*/ 450937 h 933189"/>
              <a:gd name="connsiteX0" fmla="*/ 867427 w 876822"/>
              <a:gd name="connsiteY0" fmla="*/ 450937 h 933189"/>
              <a:gd name="connsiteX1" fmla="*/ 873690 w 876822"/>
              <a:gd name="connsiteY1" fmla="*/ 541751 h 933189"/>
              <a:gd name="connsiteX2" fmla="*/ 876822 w 876822"/>
              <a:gd name="connsiteY2" fmla="*/ 554277 h 933189"/>
              <a:gd name="connsiteX3" fmla="*/ 873690 w 876822"/>
              <a:gd name="connsiteY3" fmla="*/ 820455 h 933189"/>
              <a:gd name="connsiteX4" fmla="*/ 867427 w 876822"/>
              <a:gd name="connsiteY4" fmla="*/ 842375 h 933189"/>
              <a:gd name="connsiteX5" fmla="*/ 858033 w 876822"/>
              <a:gd name="connsiteY5" fmla="*/ 873690 h 933189"/>
              <a:gd name="connsiteX6" fmla="*/ 854901 w 876822"/>
              <a:gd name="connsiteY6" fmla="*/ 892479 h 933189"/>
              <a:gd name="connsiteX7" fmla="*/ 851770 w 876822"/>
              <a:gd name="connsiteY7" fmla="*/ 901874 h 933189"/>
              <a:gd name="connsiteX8" fmla="*/ 845507 w 876822"/>
              <a:gd name="connsiteY8" fmla="*/ 933189 h 933189"/>
              <a:gd name="connsiteX9" fmla="*/ 829849 w 876822"/>
              <a:gd name="connsiteY9" fmla="*/ 930058 h 933189"/>
              <a:gd name="connsiteX10" fmla="*/ 811060 w 876822"/>
              <a:gd name="connsiteY10" fmla="*/ 923795 h 933189"/>
              <a:gd name="connsiteX11" fmla="*/ 795403 w 876822"/>
              <a:gd name="connsiteY11" fmla="*/ 911268 h 933189"/>
              <a:gd name="connsiteX12" fmla="*/ 782877 w 876822"/>
              <a:gd name="connsiteY12" fmla="*/ 892479 h 933189"/>
              <a:gd name="connsiteX13" fmla="*/ 773482 w 876822"/>
              <a:gd name="connsiteY13" fmla="*/ 879953 h 933189"/>
              <a:gd name="connsiteX14" fmla="*/ 770351 w 876822"/>
              <a:gd name="connsiteY14" fmla="*/ 870559 h 933189"/>
              <a:gd name="connsiteX15" fmla="*/ 760956 w 876822"/>
              <a:gd name="connsiteY15" fmla="*/ 858033 h 933189"/>
              <a:gd name="connsiteX16" fmla="*/ 754693 w 876822"/>
              <a:gd name="connsiteY16" fmla="*/ 848638 h 933189"/>
              <a:gd name="connsiteX17" fmla="*/ 748430 w 876822"/>
              <a:gd name="connsiteY17" fmla="*/ 836112 h 933189"/>
              <a:gd name="connsiteX18" fmla="*/ 735904 w 876822"/>
              <a:gd name="connsiteY18" fmla="*/ 817323 h 933189"/>
              <a:gd name="connsiteX19" fmla="*/ 717115 w 876822"/>
              <a:gd name="connsiteY19" fmla="*/ 789140 h 933189"/>
              <a:gd name="connsiteX20" fmla="*/ 701458 w 876822"/>
              <a:gd name="connsiteY20" fmla="*/ 770351 h 933189"/>
              <a:gd name="connsiteX21" fmla="*/ 695195 w 876822"/>
              <a:gd name="connsiteY21" fmla="*/ 760956 h 933189"/>
              <a:gd name="connsiteX22" fmla="*/ 685800 w 876822"/>
              <a:gd name="connsiteY22" fmla="*/ 757825 h 933189"/>
              <a:gd name="connsiteX23" fmla="*/ 641959 w 876822"/>
              <a:gd name="connsiteY23" fmla="*/ 773482 h 933189"/>
              <a:gd name="connsiteX24" fmla="*/ 632564 w 876822"/>
              <a:gd name="connsiteY24" fmla="*/ 770351 h 933189"/>
              <a:gd name="connsiteX25" fmla="*/ 620038 w 876822"/>
              <a:gd name="connsiteY25" fmla="*/ 767219 h 933189"/>
              <a:gd name="connsiteX26" fmla="*/ 601249 w 876822"/>
              <a:gd name="connsiteY26" fmla="*/ 760956 h 933189"/>
              <a:gd name="connsiteX27" fmla="*/ 591855 w 876822"/>
              <a:gd name="connsiteY27" fmla="*/ 751562 h 933189"/>
              <a:gd name="connsiteX28" fmla="*/ 585592 w 876822"/>
              <a:gd name="connsiteY28" fmla="*/ 742167 h 933189"/>
              <a:gd name="connsiteX29" fmla="*/ 576197 w 876822"/>
              <a:gd name="connsiteY29" fmla="*/ 735904 h 933189"/>
              <a:gd name="connsiteX30" fmla="*/ 551145 w 876822"/>
              <a:gd name="connsiteY30" fmla="*/ 707721 h 933189"/>
              <a:gd name="connsiteX31" fmla="*/ 538619 w 876822"/>
              <a:gd name="connsiteY31" fmla="*/ 692063 h 933189"/>
              <a:gd name="connsiteX32" fmla="*/ 522962 w 876822"/>
              <a:gd name="connsiteY32" fmla="*/ 679537 h 933189"/>
              <a:gd name="connsiteX33" fmla="*/ 513567 w 876822"/>
              <a:gd name="connsiteY33" fmla="*/ 685800 h 933189"/>
              <a:gd name="connsiteX34" fmla="*/ 494778 w 876822"/>
              <a:gd name="connsiteY34" fmla="*/ 692063 h 933189"/>
              <a:gd name="connsiteX35" fmla="*/ 469726 w 876822"/>
              <a:gd name="connsiteY35" fmla="*/ 688932 h 933189"/>
              <a:gd name="connsiteX36" fmla="*/ 457200 w 876822"/>
              <a:gd name="connsiteY36" fmla="*/ 673274 h 933189"/>
              <a:gd name="connsiteX37" fmla="*/ 447805 w 876822"/>
              <a:gd name="connsiteY37" fmla="*/ 660748 h 933189"/>
              <a:gd name="connsiteX38" fmla="*/ 432148 w 876822"/>
              <a:gd name="connsiteY38" fmla="*/ 641959 h 933189"/>
              <a:gd name="connsiteX39" fmla="*/ 413359 w 876822"/>
              <a:gd name="connsiteY39" fmla="*/ 635696 h 933189"/>
              <a:gd name="connsiteX40" fmla="*/ 335071 w 876822"/>
              <a:gd name="connsiteY40" fmla="*/ 629433 h 933189"/>
              <a:gd name="connsiteX41" fmla="*/ 316282 w 876822"/>
              <a:gd name="connsiteY41" fmla="*/ 620038 h 933189"/>
              <a:gd name="connsiteX42" fmla="*/ 306888 w 876822"/>
              <a:gd name="connsiteY42" fmla="*/ 616907 h 933189"/>
              <a:gd name="connsiteX43" fmla="*/ 284967 w 876822"/>
              <a:gd name="connsiteY43" fmla="*/ 620038 h 933189"/>
              <a:gd name="connsiteX44" fmla="*/ 266178 w 876822"/>
              <a:gd name="connsiteY44" fmla="*/ 626301 h 933189"/>
              <a:gd name="connsiteX45" fmla="*/ 203548 w 876822"/>
              <a:gd name="connsiteY45" fmla="*/ 629433 h 933189"/>
              <a:gd name="connsiteX46" fmla="*/ 191022 w 876822"/>
              <a:gd name="connsiteY46" fmla="*/ 632564 h 933189"/>
              <a:gd name="connsiteX47" fmla="*/ 181627 w 876822"/>
              <a:gd name="connsiteY47" fmla="*/ 641959 h 933189"/>
              <a:gd name="connsiteX48" fmla="*/ 137786 w 876822"/>
              <a:gd name="connsiteY48" fmla="*/ 638827 h 933189"/>
              <a:gd name="connsiteX49" fmla="*/ 128392 w 876822"/>
              <a:gd name="connsiteY49" fmla="*/ 632564 h 933189"/>
              <a:gd name="connsiteX50" fmla="*/ 122129 w 876822"/>
              <a:gd name="connsiteY50" fmla="*/ 623170 h 933189"/>
              <a:gd name="connsiteX51" fmla="*/ 103340 w 876822"/>
              <a:gd name="connsiteY51" fmla="*/ 610644 h 933189"/>
              <a:gd name="connsiteX52" fmla="*/ 84551 w 876822"/>
              <a:gd name="connsiteY52" fmla="*/ 604381 h 933189"/>
              <a:gd name="connsiteX53" fmla="*/ 75156 w 876822"/>
              <a:gd name="connsiteY53" fmla="*/ 601249 h 933189"/>
              <a:gd name="connsiteX54" fmla="*/ 65762 w 876822"/>
              <a:gd name="connsiteY54" fmla="*/ 598118 h 933189"/>
              <a:gd name="connsiteX55" fmla="*/ 46973 w 876822"/>
              <a:gd name="connsiteY55" fmla="*/ 566803 h 933189"/>
              <a:gd name="connsiteX56" fmla="*/ 40710 w 876822"/>
              <a:gd name="connsiteY56" fmla="*/ 548014 h 933189"/>
              <a:gd name="connsiteX57" fmla="*/ 37578 w 876822"/>
              <a:gd name="connsiteY57" fmla="*/ 538619 h 933189"/>
              <a:gd name="connsiteX58" fmla="*/ 34447 w 876822"/>
              <a:gd name="connsiteY58" fmla="*/ 529225 h 933189"/>
              <a:gd name="connsiteX59" fmla="*/ 25052 w 876822"/>
              <a:gd name="connsiteY59" fmla="*/ 510436 h 933189"/>
              <a:gd name="connsiteX60" fmla="*/ 6263 w 876822"/>
              <a:gd name="connsiteY60" fmla="*/ 479121 h 933189"/>
              <a:gd name="connsiteX61" fmla="*/ 0 w 876822"/>
              <a:gd name="connsiteY61" fmla="*/ 460332 h 933189"/>
              <a:gd name="connsiteX62" fmla="*/ 9395 w 876822"/>
              <a:gd name="connsiteY62" fmla="*/ 454068 h 933189"/>
              <a:gd name="connsiteX63" fmla="*/ 18789 w 876822"/>
              <a:gd name="connsiteY63" fmla="*/ 450937 h 933189"/>
              <a:gd name="connsiteX64" fmla="*/ 37578 w 876822"/>
              <a:gd name="connsiteY64" fmla="*/ 438411 h 933189"/>
              <a:gd name="connsiteX65" fmla="*/ 56367 w 876822"/>
              <a:gd name="connsiteY65" fmla="*/ 422753 h 933189"/>
              <a:gd name="connsiteX66" fmla="*/ 65762 w 876822"/>
              <a:gd name="connsiteY66" fmla="*/ 419622 h 933189"/>
              <a:gd name="connsiteX67" fmla="*/ 75156 w 876822"/>
              <a:gd name="connsiteY67" fmla="*/ 413359 h 933189"/>
              <a:gd name="connsiteX68" fmla="*/ 97077 w 876822"/>
              <a:gd name="connsiteY68" fmla="*/ 403964 h 933189"/>
              <a:gd name="connsiteX69" fmla="*/ 125260 w 876822"/>
              <a:gd name="connsiteY69" fmla="*/ 382044 h 933189"/>
              <a:gd name="connsiteX70" fmla="*/ 140918 w 876822"/>
              <a:gd name="connsiteY70" fmla="*/ 353860 h 933189"/>
              <a:gd name="connsiteX71" fmla="*/ 147181 w 876822"/>
              <a:gd name="connsiteY71" fmla="*/ 344466 h 933189"/>
              <a:gd name="connsiteX72" fmla="*/ 156575 w 876822"/>
              <a:gd name="connsiteY72" fmla="*/ 335071 h 933189"/>
              <a:gd name="connsiteX73" fmla="*/ 162838 w 876822"/>
              <a:gd name="connsiteY73" fmla="*/ 325677 h 933189"/>
              <a:gd name="connsiteX74" fmla="*/ 191022 w 876822"/>
              <a:gd name="connsiteY74" fmla="*/ 300625 h 933189"/>
              <a:gd name="connsiteX75" fmla="*/ 209811 w 876822"/>
              <a:gd name="connsiteY75" fmla="*/ 272441 h 933189"/>
              <a:gd name="connsiteX76" fmla="*/ 219205 w 876822"/>
              <a:gd name="connsiteY76" fmla="*/ 269310 h 933189"/>
              <a:gd name="connsiteX77" fmla="*/ 225468 w 876822"/>
              <a:gd name="connsiteY77" fmla="*/ 259915 h 933189"/>
              <a:gd name="connsiteX78" fmla="*/ 244258 w 876822"/>
              <a:gd name="connsiteY78" fmla="*/ 250521 h 933189"/>
              <a:gd name="connsiteX79" fmla="*/ 253652 w 876822"/>
              <a:gd name="connsiteY79" fmla="*/ 244258 h 933189"/>
              <a:gd name="connsiteX80" fmla="*/ 275573 w 876822"/>
              <a:gd name="connsiteY80" fmla="*/ 234863 h 933189"/>
              <a:gd name="connsiteX81" fmla="*/ 294362 w 876822"/>
              <a:gd name="connsiteY81" fmla="*/ 222337 h 933189"/>
              <a:gd name="connsiteX82" fmla="*/ 303756 w 876822"/>
              <a:gd name="connsiteY82" fmla="*/ 219205 h 933189"/>
              <a:gd name="connsiteX83" fmla="*/ 322545 w 876822"/>
              <a:gd name="connsiteY83" fmla="*/ 206679 h 933189"/>
              <a:gd name="connsiteX84" fmla="*/ 331940 w 876822"/>
              <a:gd name="connsiteY84" fmla="*/ 200416 h 933189"/>
              <a:gd name="connsiteX85" fmla="*/ 341334 w 876822"/>
              <a:gd name="connsiteY85" fmla="*/ 197285 h 933189"/>
              <a:gd name="connsiteX86" fmla="*/ 350729 w 876822"/>
              <a:gd name="connsiteY86" fmla="*/ 191022 h 933189"/>
              <a:gd name="connsiteX87" fmla="*/ 363255 w 876822"/>
              <a:gd name="connsiteY87" fmla="*/ 184759 h 933189"/>
              <a:gd name="connsiteX88" fmla="*/ 372649 w 876822"/>
              <a:gd name="connsiteY88" fmla="*/ 175364 h 933189"/>
              <a:gd name="connsiteX89" fmla="*/ 382044 w 876822"/>
              <a:gd name="connsiteY89" fmla="*/ 169101 h 933189"/>
              <a:gd name="connsiteX90" fmla="*/ 397701 w 876822"/>
              <a:gd name="connsiteY90" fmla="*/ 153444 h 933189"/>
              <a:gd name="connsiteX91" fmla="*/ 403964 w 876822"/>
              <a:gd name="connsiteY91" fmla="*/ 144049 h 933189"/>
              <a:gd name="connsiteX92" fmla="*/ 413359 w 876822"/>
              <a:gd name="connsiteY92" fmla="*/ 134655 h 933189"/>
              <a:gd name="connsiteX93" fmla="*/ 425885 w 876822"/>
              <a:gd name="connsiteY93" fmla="*/ 115866 h 933189"/>
              <a:gd name="connsiteX94" fmla="*/ 441542 w 876822"/>
              <a:gd name="connsiteY94" fmla="*/ 97077 h 933189"/>
              <a:gd name="connsiteX95" fmla="*/ 450937 w 876822"/>
              <a:gd name="connsiteY95" fmla="*/ 90814 h 933189"/>
              <a:gd name="connsiteX96" fmla="*/ 466595 w 876822"/>
              <a:gd name="connsiteY96" fmla="*/ 75156 h 933189"/>
              <a:gd name="connsiteX97" fmla="*/ 472858 w 876822"/>
              <a:gd name="connsiteY97" fmla="*/ 56367 h 933189"/>
              <a:gd name="connsiteX98" fmla="*/ 491647 w 876822"/>
              <a:gd name="connsiteY98" fmla="*/ 28184 h 933189"/>
              <a:gd name="connsiteX99" fmla="*/ 497910 w 876822"/>
              <a:gd name="connsiteY99" fmla="*/ 18789 h 933189"/>
              <a:gd name="connsiteX100" fmla="*/ 504173 w 876822"/>
              <a:gd name="connsiteY100" fmla="*/ 9395 h 933189"/>
              <a:gd name="connsiteX101" fmla="*/ 507304 w 876822"/>
              <a:gd name="connsiteY101" fmla="*/ 0 h 933189"/>
              <a:gd name="connsiteX102" fmla="*/ 513567 w 876822"/>
              <a:gd name="connsiteY102" fmla="*/ 9395 h 933189"/>
              <a:gd name="connsiteX103" fmla="*/ 519830 w 876822"/>
              <a:gd name="connsiteY103" fmla="*/ 28184 h 933189"/>
              <a:gd name="connsiteX104" fmla="*/ 522962 w 876822"/>
              <a:gd name="connsiteY104" fmla="*/ 37578 h 933189"/>
              <a:gd name="connsiteX105" fmla="*/ 532356 w 876822"/>
              <a:gd name="connsiteY105" fmla="*/ 34447 h 933189"/>
              <a:gd name="connsiteX106" fmla="*/ 544882 w 876822"/>
              <a:gd name="connsiteY106" fmla="*/ 25052 h 933189"/>
              <a:gd name="connsiteX107" fmla="*/ 551145 w 876822"/>
              <a:gd name="connsiteY107" fmla="*/ 43841 h 933189"/>
              <a:gd name="connsiteX108" fmla="*/ 563671 w 876822"/>
              <a:gd name="connsiteY108" fmla="*/ 59499 h 933189"/>
              <a:gd name="connsiteX109" fmla="*/ 623170 w 876822"/>
              <a:gd name="connsiteY109" fmla="*/ 62630 h 933189"/>
              <a:gd name="connsiteX110" fmla="*/ 632564 w 876822"/>
              <a:gd name="connsiteY110" fmla="*/ 65762 h 933189"/>
              <a:gd name="connsiteX111" fmla="*/ 648222 w 876822"/>
              <a:gd name="connsiteY111" fmla="*/ 53236 h 933189"/>
              <a:gd name="connsiteX112" fmla="*/ 657616 w 876822"/>
              <a:gd name="connsiteY112" fmla="*/ 46973 h 933189"/>
              <a:gd name="connsiteX113" fmla="*/ 739036 w 876822"/>
              <a:gd name="connsiteY113" fmla="*/ 50104 h 933189"/>
              <a:gd name="connsiteX114" fmla="*/ 742167 w 876822"/>
              <a:gd name="connsiteY114" fmla="*/ 59499 h 933189"/>
              <a:gd name="connsiteX115" fmla="*/ 757825 w 876822"/>
              <a:gd name="connsiteY115" fmla="*/ 87682 h 933189"/>
              <a:gd name="connsiteX116" fmla="*/ 760956 w 876822"/>
              <a:gd name="connsiteY116" fmla="*/ 115866 h 933189"/>
              <a:gd name="connsiteX117" fmla="*/ 767219 w 876822"/>
              <a:gd name="connsiteY117" fmla="*/ 134655 h 933189"/>
              <a:gd name="connsiteX118" fmla="*/ 770351 w 876822"/>
              <a:gd name="connsiteY118" fmla="*/ 144049 h 933189"/>
              <a:gd name="connsiteX119" fmla="*/ 767219 w 876822"/>
              <a:gd name="connsiteY119" fmla="*/ 169101 h 933189"/>
              <a:gd name="connsiteX120" fmla="*/ 748430 w 876822"/>
              <a:gd name="connsiteY120" fmla="*/ 178496 h 933189"/>
              <a:gd name="connsiteX121" fmla="*/ 729641 w 876822"/>
              <a:gd name="connsiteY121" fmla="*/ 194153 h 933189"/>
              <a:gd name="connsiteX122" fmla="*/ 729641 w 876822"/>
              <a:gd name="connsiteY122" fmla="*/ 231732 h 933189"/>
              <a:gd name="connsiteX123" fmla="*/ 732773 w 876822"/>
              <a:gd name="connsiteY123" fmla="*/ 241126 h 933189"/>
              <a:gd name="connsiteX124" fmla="*/ 760956 w 876822"/>
              <a:gd name="connsiteY124" fmla="*/ 250521 h 933189"/>
              <a:gd name="connsiteX125" fmla="*/ 751562 w 876822"/>
              <a:gd name="connsiteY125" fmla="*/ 266178 h 933189"/>
              <a:gd name="connsiteX126" fmla="*/ 748430 w 876822"/>
              <a:gd name="connsiteY126" fmla="*/ 278704 h 933189"/>
              <a:gd name="connsiteX127" fmla="*/ 748430 w 876822"/>
              <a:gd name="connsiteY127" fmla="*/ 297493 h 933189"/>
              <a:gd name="connsiteX128" fmla="*/ 767219 w 876822"/>
              <a:gd name="connsiteY128" fmla="*/ 306888 h 933189"/>
              <a:gd name="connsiteX129" fmla="*/ 776614 w 876822"/>
              <a:gd name="connsiteY129" fmla="*/ 313151 h 933189"/>
              <a:gd name="connsiteX130" fmla="*/ 795403 w 876822"/>
              <a:gd name="connsiteY130" fmla="*/ 328808 h 933189"/>
              <a:gd name="connsiteX131" fmla="*/ 804797 w 876822"/>
              <a:gd name="connsiteY131" fmla="*/ 331940 h 933189"/>
              <a:gd name="connsiteX132" fmla="*/ 823586 w 876822"/>
              <a:gd name="connsiteY132" fmla="*/ 347597 h 933189"/>
              <a:gd name="connsiteX133" fmla="*/ 836112 w 876822"/>
              <a:gd name="connsiteY133" fmla="*/ 385175 h 933189"/>
              <a:gd name="connsiteX134" fmla="*/ 842375 w 876822"/>
              <a:gd name="connsiteY134" fmla="*/ 403964 h 933189"/>
              <a:gd name="connsiteX135" fmla="*/ 845507 w 876822"/>
              <a:gd name="connsiteY135" fmla="*/ 413359 h 933189"/>
              <a:gd name="connsiteX136" fmla="*/ 851770 w 876822"/>
              <a:gd name="connsiteY136" fmla="*/ 422753 h 933189"/>
              <a:gd name="connsiteX137" fmla="*/ 864296 w 876822"/>
              <a:gd name="connsiteY137" fmla="*/ 441542 h 933189"/>
              <a:gd name="connsiteX138" fmla="*/ 867427 w 876822"/>
              <a:gd name="connsiteY138" fmla="*/ 450937 h 933189"/>
              <a:gd name="connsiteX0" fmla="*/ 867427 w 876822"/>
              <a:gd name="connsiteY0" fmla="*/ 450937 h 933189"/>
              <a:gd name="connsiteX1" fmla="*/ 873690 w 876822"/>
              <a:gd name="connsiteY1" fmla="*/ 541751 h 933189"/>
              <a:gd name="connsiteX2" fmla="*/ 876822 w 876822"/>
              <a:gd name="connsiteY2" fmla="*/ 554277 h 933189"/>
              <a:gd name="connsiteX3" fmla="*/ 873690 w 876822"/>
              <a:gd name="connsiteY3" fmla="*/ 820455 h 933189"/>
              <a:gd name="connsiteX4" fmla="*/ 867427 w 876822"/>
              <a:gd name="connsiteY4" fmla="*/ 842375 h 933189"/>
              <a:gd name="connsiteX5" fmla="*/ 858033 w 876822"/>
              <a:gd name="connsiteY5" fmla="*/ 873690 h 933189"/>
              <a:gd name="connsiteX6" fmla="*/ 854901 w 876822"/>
              <a:gd name="connsiteY6" fmla="*/ 892479 h 933189"/>
              <a:gd name="connsiteX7" fmla="*/ 851770 w 876822"/>
              <a:gd name="connsiteY7" fmla="*/ 901874 h 933189"/>
              <a:gd name="connsiteX8" fmla="*/ 845507 w 876822"/>
              <a:gd name="connsiteY8" fmla="*/ 933189 h 933189"/>
              <a:gd name="connsiteX9" fmla="*/ 829849 w 876822"/>
              <a:gd name="connsiteY9" fmla="*/ 930058 h 933189"/>
              <a:gd name="connsiteX10" fmla="*/ 811060 w 876822"/>
              <a:gd name="connsiteY10" fmla="*/ 923795 h 933189"/>
              <a:gd name="connsiteX11" fmla="*/ 795403 w 876822"/>
              <a:gd name="connsiteY11" fmla="*/ 911268 h 933189"/>
              <a:gd name="connsiteX12" fmla="*/ 782877 w 876822"/>
              <a:gd name="connsiteY12" fmla="*/ 892479 h 933189"/>
              <a:gd name="connsiteX13" fmla="*/ 773482 w 876822"/>
              <a:gd name="connsiteY13" fmla="*/ 879953 h 933189"/>
              <a:gd name="connsiteX14" fmla="*/ 770351 w 876822"/>
              <a:gd name="connsiteY14" fmla="*/ 870559 h 933189"/>
              <a:gd name="connsiteX15" fmla="*/ 760956 w 876822"/>
              <a:gd name="connsiteY15" fmla="*/ 858033 h 933189"/>
              <a:gd name="connsiteX16" fmla="*/ 754693 w 876822"/>
              <a:gd name="connsiteY16" fmla="*/ 848638 h 933189"/>
              <a:gd name="connsiteX17" fmla="*/ 748430 w 876822"/>
              <a:gd name="connsiteY17" fmla="*/ 836112 h 933189"/>
              <a:gd name="connsiteX18" fmla="*/ 735904 w 876822"/>
              <a:gd name="connsiteY18" fmla="*/ 817323 h 933189"/>
              <a:gd name="connsiteX19" fmla="*/ 717115 w 876822"/>
              <a:gd name="connsiteY19" fmla="*/ 789140 h 933189"/>
              <a:gd name="connsiteX20" fmla="*/ 701458 w 876822"/>
              <a:gd name="connsiteY20" fmla="*/ 770351 h 933189"/>
              <a:gd name="connsiteX21" fmla="*/ 695195 w 876822"/>
              <a:gd name="connsiteY21" fmla="*/ 760956 h 933189"/>
              <a:gd name="connsiteX22" fmla="*/ 685800 w 876822"/>
              <a:gd name="connsiteY22" fmla="*/ 757825 h 933189"/>
              <a:gd name="connsiteX23" fmla="*/ 641959 w 876822"/>
              <a:gd name="connsiteY23" fmla="*/ 773482 h 933189"/>
              <a:gd name="connsiteX24" fmla="*/ 632564 w 876822"/>
              <a:gd name="connsiteY24" fmla="*/ 770351 h 933189"/>
              <a:gd name="connsiteX25" fmla="*/ 620038 w 876822"/>
              <a:gd name="connsiteY25" fmla="*/ 767219 h 933189"/>
              <a:gd name="connsiteX26" fmla="*/ 601249 w 876822"/>
              <a:gd name="connsiteY26" fmla="*/ 760956 h 933189"/>
              <a:gd name="connsiteX27" fmla="*/ 591855 w 876822"/>
              <a:gd name="connsiteY27" fmla="*/ 751562 h 933189"/>
              <a:gd name="connsiteX28" fmla="*/ 585592 w 876822"/>
              <a:gd name="connsiteY28" fmla="*/ 742167 h 933189"/>
              <a:gd name="connsiteX29" fmla="*/ 576197 w 876822"/>
              <a:gd name="connsiteY29" fmla="*/ 735904 h 933189"/>
              <a:gd name="connsiteX30" fmla="*/ 551145 w 876822"/>
              <a:gd name="connsiteY30" fmla="*/ 707721 h 933189"/>
              <a:gd name="connsiteX31" fmla="*/ 538619 w 876822"/>
              <a:gd name="connsiteY31" fmla="*/ 692063 h 933189"/>
              <a:gd name="connsiteX32" fmla="*/ 522962 w 876822"/>
              <a:gd name="connsiteY32" fmla="*/ 679537 h 933189"/>
              <a:gd name="connsiteX33" fmla="*/ 513567 w 876822"/>
              <a:gd name="connsiteY33" fmla="*/ 685800 h 933189"/>
              <a:gd name="connsiteX34" fmla="*/ 494778 w 876822"/>
              <a:gd name="connsiteY34" fmla="*/ 692063 h 933189"/>
              <a:gd name="connsiteX35" fmla="*/ 469726 w 876822"/>
              <a:gd name="connsiteY35" fmla="*/ 688932 h 933189"/>
              <a:gd name="connsiteX36" fmla="*/ 457200 w 876822"/>
              <a:gd name="connsiteY36" fmla="*/ 673274 h 933189"/>
              <a:gd name="connsiteX37" fmla="*/ 447805 w 876822"/>
              <a:gd name="connsiteY37" fmla="*/ 660748 h 933189"/>
              <a:gd name="connsiteX38" fmla="*/ 432148 w 876822"/>
              <a:gd name="connsiteY38" fmla="*/ 641959 h 933189"/>
              <a:gd name="connsiteX39" fmla="*/ 413359 w 876822"/>
              <a:gd name="connsiteY39" fmla="*/ 635696 h 933189"/>
              <a:gd name="connsiteX40" fmla="*/ 335071 w 876822"/>
              <a:gd name="connsiteY40" fmla="*/ 629433 h 933189"/>
              <a:gd name="connsiteX41" fmla="*/ 316282 w 876822"/>
              <a:gd name="connsiteY41" fmla="*/ 620038 h 933189"/>
              <a:gd name="connsiteX42" fmla="*/ 306888 w 876822"/>
              <a:gd name="connsiteY42" fmla="*/ 616907 h 933189"/>
              <a:gd name="connsiteX43" fmla="*/ 284967 w 876822"/>
              <a:gd name="connsiteY43" fmla="*/ 620038 h 933189"/>
              <a:gd name="connsiteX44" fmla="*/ 266178 w 876822"/>
              <a:gd name="connsiteY44" fmla="*/ 626301 h 933189"/>
              <a:gd name="connsiteX45" fmla="*/ 203548 w 876822"/>
              <a:gd name="connsiteY45" fmla="*/ 629433 h 933189"/>
              <a:gd name="connsiteX46" fmla="*/ 191022 w 876822"/>
              <a:gd name="connsiteY46" fmla="*/ 632564 h 933189"/>
              <a:gd name="connsiteX47" fmla="*/ 181627 w 876822"/>
              <a:gd name="connsiteY47" fmla="*/ 641959 h 933189"/>
              <a:gd name="connsiteX48" fmla="*/ 137786 w 876822"/>
              <a:gd name="connsiteY48" fmla="*/ 638827 h 933189"/>
              <a:gd name="connsiteX49" fmla="*/ 128392 w 876822"/>
              <a:gd name="connsiteY49" fmla="*/ 632564 h 933189"/>
              <a:gd name="connsiteX50" fmla="*/ 122129 w 876822"/>
              <a:gd name="connsiteY50" fmla="*/ 623170 h 933189"/>
              <a:gd name="connsiteX51" fmla="*/ 103340 w 876822"/>
              <a:gd name="connsiteY51" fmla="*/ 610644 h 933189"/>
              <a:gd name="connsiteX52" fmla="*/ 84551 w 876822"/>
              <a:gd name="connsiteY52" fmla="*/ 604381 h 933189"/>
              <a:gd name="connsiteX53" fmla="*/ 75156 w 876822"/>
              <a:gd name="connsiteY53" fmla="*/ 601249 h 933189"/>
              <a:gd name="connsiteX54" fmla="*/ 65762 w 876822"/>
              <a:gd name="connsiteY54" fmla="*/ 598118 h 933189"/>
              <a:gd name="connsiteX55" fmla="*/ 46973 w 876822"/>
              <a:gd name="connsiteY55" fmla="*/ 566803 h 933189"/>
              <a:gd name="connsiteX56" fmla="*/ 40710 w 876822"/>
              <a:gd name="connsiteY56" fmla="*/ 548014 h 933189"/>
              <a:gd name="connsiteX57" fmla="*/ 37578 w 876822"/>
              <a:gd name="connsiteY57" fmla="*/ 538619 h 933189"/>
              <a:gd name="connsiteX58" fmla="*/ 34447 w 876822"/>
              <a:gd name="connsiteY58" fmla="*/ 529225 h 933189"/>
              <a:gd name="connsiteX59" fmla="*/ 25052 w 876822"/>
              <a:gd name="connsiteY59" fmla="*/ 510436 h 933189"/>
              <a:gd name="connsiteX60" fmla="*/ 6263 w 876822"/>
              <a:gd name="connsiteY60" fmla="*/ 479121 h 933189"/>
              <a:gd name="connsiteX61" fmla="*/ 0 w 876822"/>
              <a:gd name="connsiteY61" fmla="*/ 460332 h 933189"/>
              <a:gd name="connsiteX62" fmla="*/ 9395 w 876822"/>
              <a:gd name="connsiteY62" fmla="*/ 454068 h 933189"/>
              <a:gd name="connsiteX63" fmla="*/ 18789 w 876822"/>
              <a:gd name="connsiteY63" fmla="*/ 450937 h 933189"/>
              <a:gd name="connsiteX64" fmla="*/ 37578 w 876822"/>
              <a:gd name="connsiteY64" fmla="*/ 438411 h 933189"/>
              <a:gd name="connsiteX65" fmla="*/ 56367 w 876822"/>
              <a:gd name="connsiteY65" fmla="*/ 422753 h 933189"/>
              <a:gd name="connsiteX66" fmla="*/ 65762 w 876822"/>
              <a:gd name="connsiteY66" fmla="*/ 419622 h 933189"/>
              <a:gd name="connsiteX67" fmla="*/ 75156 w 876822"/>
              <a:gd name="connsiteY67" fmla="*/ 413359 h 933189"/>
              <a:gd name="connsiteX68" fmla="*/ 97077 w 876822"/>
              <a:gd name="connsiteY68" fmla="*/ 403964 h 933189"/>
              <a:gd name="connsiteX69" fmla="*/ 125260 w 876822"/>
              <a:gd name="connsiteY69" fmla="*/ 382044 h 933189"/>
              <a:gd name="connsiteX70" fmla="*/ 140918 w 876822"/>
              <a:gd name="connsiteY70" fmla="*/ 353860 h 933189"/>
              <a:gd name="connsiteX71" fmla="*/ 147181 w 876822"/>
              <a:gd name="connsiteY71" fmla="*/ 344466 h 933189"/>
              <a:gd name="connsiteX72" fmla="*/ 156575 w 876822"/>
              <a:gd name="connsiteY72" fmla="*/ 335071 h 933189"/>
              <a:gd name="connsiteX73" fmla="*/ 162838 w 876822"/>
              <a:gd name="connsiteY73" fmla="*/ 325677 h 933189"/>
              <a:gd name="connsiteX74" fmla="*/ 191022 w 876822"/>
              <a:gd name="connsiteY74" fmla="*/ 300625 h 933189"/>
              <a:gd name="connsiteX75" fmla="*/ 209811 w 876822"/>
              <a:gd name="connsiteY75" fmla="*/ 272441 h 933189"/>
              <a:gd name="connsiteX76" fmla="*/ 219205 w 876822"/>
              <a:gd name="connsiteY76" fmla="*/ 269310 h 933189"/>
              <a:gd name="connsiteX77" fmla="*/ 225468 w 876822"/>
              <a:gd name="connsiteY77" fmla="*/ 259915 h 933189"/>
              <a:gd name="connsiteX78" fmla="*/ 244258 w 876822"/>
              <a:gd name="connsiteY78" fmla="*/ 250521 h 933189"/>
              <a:gd name="connsiteX79" fmla="*/ 253652 w 876822"/>
              <a:gd name="connsiteY79" fmla="*/ 244258 h 933189"/>
              <a:gd name="connsiteX80" fmla="*/ 275573 w 876822"/>
              <a:gd name="connsiteY80" fmla="*/ 234863 h 933189"/>
              <a:gd name="connsiteX81" fmla="*/ 294362 w 876822"/>
              <a:gd name="connsiteY81" fmla="*/ 222337 h 933189"/>
              <a:gd name="connsiteX82" fmla="*/ 303756 w 876822"/>
              <a:gd name="connsiteY82" fmla="*/ 219205 h 933189"/>
              <a:gd name="connsiteX83" fmla="*/ 322545 w 876822"/>
              <a:gd name="connsiteY83" fmla="*/ 206679 h 933189"/>
              <a:gd name="connsiteX84" fmla="*/ 331940 w 876822"/>
              <a:gd name="connsiteY84" fmla="*/ 200416 h 933189"/>
              <a:gd name="connsiteX85" fmla="*/ 341334 w 876822"/>
              <a:gd name="connsiteY85" fmla="*/ 197285 h 933189"/>
              <a:gd name="connsiteX86" fmla="*/ 350729 w 876822"/>
              <a:gd name="connsiteY86" fmla="*/ 191022 h 933189"/>
              <a:gd name="connsiteX87" fmla="*/ 363255 w 876822"/>
              <a:gd name="connsiteY87" fmla="*/ 184759 h 933189"/>
              <a:gd name="connsiteX88" fmla="*/ 372649 w 876822"/>
              <a:gd name="connsiteY88" fmla="*/ 175364 h 933189"/>
              <a:gd name="connsiteX89" fmla="*/ 382044 w 876822"/>
              <a:gd name="connsiteY89" fmla="*/ 169101 h 933189"/>
              <a:gd name="connsiteX90" fmla="*/ 397701 w 876822"/>
              <a:gd name="connsiteY90" fmla="*/ 153444 h 933189"/>
              <a:gd name="connsiteX91" fmla="*/ 403964 w 876822"/>
              <a:gd name="connsiteY91" fmla="*/ 144049 h 933189"/>
              <a:gd name="connsiteX92" fmla="*/ 413359 w 876822"/>
              <a:gd name="connsiteY92" fmla="*/ 134655 h 933189"/>
              <a:gd name="connsiteX93" fmla="*/ 425885 w 876822"/>
              <a:gd name="connsiteY93" fmla="*/ 115866 h 933189"/>
              <a:gd name="connsiteX94" fmla="*/ 441542 w 876822"/>
              <a:gd name="connsiteY94" fmla="*/ 97077 h 933189"/>
              <a:gd name="connsiteX95" fmla="*/ 450937 w 876822"/>
              <a:gd name="connsiteY95" fmla="*/ 90814 h 933189"/>
              <a:gd name="connsiteX96" fmla="*/ 466595 w 876822"/>
              <a:gd name="connsiteY96" fmla="*/ 75156 h 933189"/>
              <a:gd name="connsiteX97" fmla="*/ 472858 w 876822"/>
              <a:gd name="connsiteY97" fmla="*/ 56367 h 933189"/>
              <a:gd name="connsiteX98" fmla="*/ 491647 w 876822"/>
              <a:gd name="connsiteY98" fmla="*/ 28184 h 933189"/>
              <a:gd name="connsiteX99" fmla="*/ 497910 w 876822"/>
              <a:gd name="connsiteY99" fmla="*/ 18789 h 933189"/>
              <a:gd name="connsiteX100" fmla="*/ 504173 w 876822"/>
              <a:gd name="connsiteY100" fmla="*/ 9395 h 933189"/>
              <a:gd name="connsiteX101" fmla="*/ 507304 w 876822"/>
              <a:gd name="connsiteY101" fmla="*/ 0 h 933189"/>
              <a:gd name="connsiteX102" fmla="*/ 513567 w 876822"/>
              <a:gd name="connsiteY102" fmla="*/ 9395 h 933189"/>
              <a:gd name="connsiteX103" fmla="*/ 519830 w 876822"/>
              <a:gd name="connsiteY103" fmla="*/ 28184 h 933189"/>
              <a:gd name="connsiteX104" fmla="*/ 522962 w 876822"/>
              <a:gd name="connsiteY104" fmla="*/ 37578 h 933189"/>
              <a:gd name="connsiteX105" fmla="*/ 532356 w 876822"/>
              <a:gd name="connsiteY105" fmla="*/ 34447 h 933189"/>
              <a:gd name="connsiteX106" fmla="*/ 544882 w 876822"/>
              <a:gd name="connsiteY106" fmla="*/ 25052 h 933189"/>
              <a:gd name="connsiteX107" fmla="*/ 551145 w 876822"/>
              <a:gd name="connsiteY107" fmla="*/ 43841 h 933189"/>
              <a:gd name="connsiteX108" fmla="*/ 563671 w 876822"/>
              <a:gd name="connsiteY108" fmla="*/ 59499 h 933189"/>
              <a:gd name="connsiteX109" fmla="*/ 591855 w 876822"/>
              <a:gd name="connsiteY109" fmla="*/ 50104 h 933189"/>
              <a:gd name="connsiteX110" fmla="*/ 623170 w 876822"/>
              <a:gd name="connsiteY110" fmla="*/ 62630 h 933189"/>
              <a:gd name="connsiteX111" fmla="*/ 632564 w 876822"/>
              <a:gd name="connsiteY111" fmla="*/ 65762 h 933189"/>
              <a:gd name="connsiteX112" fmla="*/ 648222 w 876822"/>
              <a:gd name="connsiteY112" fmla="*/ 53236 h 933189"/>
              <a:gd name="connsiteX113" fmla="*/ 657616 w 876822"/>
              <a:gd name="connsiteY113" fmla="*/ 46973 h 933189"/>
              <a:gd name="connsiteX114" fmla="*/ 739036 w 876822"/>
              <a:gd name="connsiteY114" fmla="*/ 50104 h 933189"/>
              <a:gd name="connsiteX115" fmla="*/ 742167 w 876822"/>
              <a:gd name="connsiteY115" fmla="*/ 59499 h 933189"/>
              <a:gd name="connsiteX116" fmla="*/ 757825 w 876822"/>
              <a:gd name="connsiteY116" fmla="*/ 87682 h 933189"/>
              <a:gd name="connsiteX117" fmla="*/ 760956 w 876822"/>
              <a:gd name="connsiteY117" fmla="*/ 115866 h 933189"/>
              <a:gd name="connsiteX118" fmla="*/ 767219 w 876822"/>
              <a:gd name="connsiteY118" fmla="*/ 134655 h 933189"/>
              <a:gd name="connsiteX119" fmla="*/ 770351 w 876822"/>
              <a:gd name="connsiteY119" fmla="*/ 144049 h 933189"/>
              <a:gd name="connsiteX120" fmla="*/ 767219 w 876822"/>
              <a:gd name="connsiteY120" fmla="*/ 169101 h 933189"/>
              <a:gd name="connsiteX121" fmla="*/ 748430 w 876822"/>
              <a:gd name="connsiteY121" fmla="*/ 178496 h 933189"/>
              <a:gd name="connsiteX122" fmla="*/ 729641 w 876822"/>
              <a:gd name="connsiteY122" fmla="*/ 194153 h 933189"/>
              <a:gd name="connsiteX123" fmla="*/ 729641 w 876822"/>
              <a:gd name="connsiteY123" fmla="*/ 231732 h 933189"/>
              <a:gd name="connsiteX124" fmla="*/ 732773 w 876822"/>
              <a:gd name="connsiteY124" fmla="*/ 241126 h 933189"/>
              <a:gd name="connsiteX125" fmla="*/ 760956 w 876822"/>
              <a:gd name="connsiteY125" fmla="*/ 250521 h 933189"/>
              <a:gd name="connsiteX126" fmla="*/ 751562 w 876822"/>
              <a:gd name="connsiteY126" fmla="*/ 266178 h 933189"/>
              <a:gd name="connsiteX127" fmla="*/ 748430 w 876822"/>
              <a:gd name="connsiteY127" fmla="*/ 278704 h 933189"/>
              <a:gd name="connsiteX128" fmla="*/ 748430 w 876822"/>
              <a:gd name="connsiteY128" fmla="*/ 297493 h 933189"/>
              <a:gd name="connsiteX129" fmla="*/ 767219 w 876822"/>
              <a:gd name="connsiteY129" fmla="*/ 306888 h 933189"/>
              <a:gd name="connsiteX130" fmla="*/ 776614 w 876822"/>
              <a:gd name="connsiteY130" fmla="*/ 313151 h 933189"/>
              <a:gd name="connsiteX131" fmla="*/ 795403 w 876822"/>
              <a:gd name="connsiteY131" fmla="*/ 328808 h 933189"/>
              <a:gd name="connsiteX132" fmla="*/ 804797 w 876822"/>
              <a:gd name="connsiteY132" fmla="*/ 331940 h 933189"/>
              <a:gd name="connsiteX133" fmla="*/ 823586 w 876822"/>
              <a:gd name="connsiteY133" fmla="*/ 347597 h 933189"/>
              <a:gd name="connsiteX134" fmla="*/ 836112 w 876822"/>
              <a:gd name="connsiteY134" fmla="*/ 385175 h 933189"/>
              <a:gd name="connsiteX135" fmla="*/ 842375 w 876822"/>
              <a:gd name="connsiteY135" fmla="*/ 403964 h 933189"/>
              <a:gd name="connsiteX136" fmla="*/ 845507 w 876822"/>
              <a:gd name="connsiteY136" fmla="*/ 413359 h 933189"/>
              <a:gd name="connsiteX137" fmla="*/ 851770 w 876822"/>
              <a:gd name="connsiteY137" fmla="*/ 422753 h 933189"/>
              <a:gd name="connsiteX138" fmla="*/ 864296 w 876822"/>
              <a:gd name="connsiteY138" fmla="*/ 441542 h 933189"/>
              <a:gd name="connsiteX139" fmla="*/ 867427 w 876822"/>
              <a:gd name="connsiteY139" fmla="*/ 450937 h 933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</a:cxnLst>
            <a:rect l="l" t="t" r="r" b="b"/>
            <a:pathLst>
              <a:path w="876822" h="933189">
                <a:moveTo>
                  <a:pt x="867427" y="450937"/>
                </a:moveTo>
                <a:cubicBezTo>
                  <a:pt x="868993" y="467638"/>
                  <a:pt x="868618" y="511322"/>
                  <a:pt x="873690" y="541751"/>
                </a:cubicBezTo>
                <a:cubicBezTo>
                  <a:pt x="874398" y="545996"/>
                  <a:pt x="875778" y="550102"/>
                  <a:pt x="876822" y="554277"/>
                </a:cubicBezTo>
                <a:cubicBezTo>
                  <a:pt x="875778" y="643003"/>
                  <a:pt x="875683" y="731745"/>
                  <a:pt x="873690" y="820455"/>
                </a:cubicBezTo>
                <a:cubicBezTo>
                  <a:pt x="873570" y="825774"/>
                  <a:pt x="868997" y="836881"/>
                  <a:pt x="867427" y="842375"/>
                </a:cubicBezTo>
                <a:cubicBezTo>
                  <a:pt x="857956" y="875524"/>
                  <a:pt x="872927" y="829008"/>
                  <a:pt x="858033" y="873690"/>
                </a:cubicBezTo>
                <a:cubicBezTo>
                  <a:pt x="856025" y="879714"/>
                  <a:pt x="856278" y="886281"/>
                  <a:pt x="854901" y="892479"/>
                </a:cubicBezTo>
                <a:cubicBezTo>
                  <a:pt x="854185" y="895701"/>
                  <a:pt x="852512" y="898658"/>
                  <a:pt x="851770" y="901874"/>
                </a:cubicBezTo>
                <a:cubicBezTo>
                  <a:pt x="849377" y="912246"/>
                  <a:pt x="847595" y="922751"/>
                  <a:pt x="845507" y="933189"/>
                </a:cubicBezTo>
                <a:cubicBezTo>
                  <a:pt x="840288" y="932145"/>
                  <a:pt x="834984" y="931458"/>
                  <a:pt x="829849" y="930058"/>
                </a:cubicBezTo>
                <a:cubicBezTo>
                  <a:pt x="823480" y="928321"/>
                  <a:pt x="811060" y="923795"/>
                  <a:pt x="811060" y="923795"/>
                </a:cubicBezTo>
                <a:cubicBezTo>
                  <a:pt x="804895" y="919685"/>
                  <a:pt x="799867" y="917220"/>
                  <a:pt x="795403" y="911268"/>
                </a:cubicBezTo>
                <a:cubicBezTo>
                  <a:pt x="790887" y="905246"/>
                  <a:pt x="787393" y="898501"/>
                  <a:pt x="782877" y="892479"/>
                </a:cubicBezTo>
                <a:lnTo>
                  <a:pt x="773482" y="879953"/>
                </a:lnTo>
                <a:cubicBezTo>
                  <a:pt x="772438" y="876822"/>
                  <a:pt x="771989" y="873425"/>
                  <a:pt x="770351" y="870559"/>
                </a:cubicBezTo>
                <a:cubicBezTo>
                  <a:pt x="767761" y="866027"/>
                  <a:pt x="763990" y="862280"/>
                  <a:pt x="760956" y="858033"/>
                </a:cubicBezTo>
                <a:cubicBezTo>
                  <a:pt x="758768" y="854970"/>
                  <a:pt x="756560" y="851906"/>
                  <a:pt x="754693" y="848638"/>
                </a:cubicBezTo>
                <a:cubicBezTo>
                  <a:pt x="752377" y="844585"/>
                  <a:pt x="750832" y="840115"/>
                  <a:pt x="748430" y="836112"/>
                </a:cubicBezTo>
                <a:cubicBezTo>
                  <a:pt x="744557" y="829657"/>
                  <a:pt x="740079" y="823586"/>
                  <a:pt x="735904" y="817323"/>
                </a:cubicBezTo>
                <a:lnTo>
                  <a:pt x="717115" y="789140"/>
                </a:lnTo>
                <a:cubicBezTo>
                  <a:pt x="701560" y="765808"/>
                  <a:pt x="721556" y="794469"/>
                  <a:pt x="701458" y="770351"/>
                </a:cubicBezTo>
                <a:cubicBezTo>
                  <a:pt x="699049" y="767460"/>
                  <a:pt x="698134" y="763307"/>
                  <a:pt x="695195" y="760956"/>
                </a:cubicBezTo>
                <a:cubicBezTo>
                  <a:pt x="692617" y="758894"/>
                  <a:pt x="688932" y="758869"/>
                  <a:pt x="685800" y="757825"/>
                </a:cubicBezTo>
                <a:cubicBezTo>
                  <a:pt x="661060" y="782565"/>
                  <a:pt x="675800" y="777713"/>
                  <a:pt x="641959" y="773482"/>
                </a:cubicBezTo>
                <a:cubicBezTo>
                  <a:pt x="638827" y="772438"/>
                  <a:pt x="635738" y="771258"/>
                  <a:pt x="632564" y="770351"/>
                </a:cubicBezTo>
                <a:cubicBezTo>
                  <a:pt x="628426" y="769169"/>
                  <a:pt x="624160" y="768456"/>
                  <a:pt x="620038" y="767219"/>
                </a:cubicBezTo>
                <a:cubicBezTo>
                  <a:pt x="613715" y="765322"/>
                  <a:pt x="601249" y="760956"/>
                  <a:pt x="601249" y="760956"/>
                </a:cubicBezTo>
                <a:cubicBezTo>
                  <a:pt x="598118" y="757825"/>
                  <a:pt x="594690" y="754964"/>
                  <a:pt x="591855" y="751562"/>
                </a:cubicBezTo>
                <a:cubicBezTo>
                  <a:pt x="589446" y="748671"/>
                  <a:pt x="588253" y="744828"/>
                  <a:pt x="585592" y="742167"/>
                </a:cubicBezTo>
                <a:cubicBezTo>
                  <a:pt x="582931" y="739506"/>
                  <a:pt x="579010" y="738404"/>
                  <a:pt x="576197" y="735904"/>
                </a:cubicBezTo>
                <a:cubicBezTo>
                  <a:pt x="558648" y="720305"/>
                  <a:pt x="560664" y="721998"/>
                  <a:pt x="551145" y="707721"/>
                </a:cubicBezTo>
                <a:cubicBezTo>
                  <a:pt x="545050" y="689431"/>
                  <a:pt x="552784" y="706228"/>
                  <a:pt x="538619" y="692063"/>
                </a:cubicBezTo>
                <a:cubicBezTo>
                  <a:pt x="524454" y="677898"/>
                  <a:pt x="541251" y="685633"/>
                  <a:pt x="522962" y="679537"/>
                </a:cubicBezTo>
                <a:cubicBezTo>
                  <a:pt x="519830" y="681625"/>
                  <a:pt x="517006" y="684271"/>
                  <a:pt x="513567" y="685800"/>
                </a:cubicBezTo>
                <a:cubicBezTo>
                  <a:pt x="507534" y="688481"/>
                  <a:pt x="494778" y="692063"/>
                  <a:pt x="494778" y="692063"/>
                </a:cubicBezTo>
                <a:cubicBezTo>
                  <a:pt x="486427" y="691019"/>
                  <a:pt x="477787" y="691350"/>
                  <a:pt x="469726" y="688932"/>
                </a:cubicBezTo>
                <a:cubicBezTo>
                  <a:pt x="465919" y="687790"/>
                  <a:pt x="458579" y="675204"/>
                  <a:pt x="457200" y="673274"/>
                </a:cubicBezTo>
                <a:cubicBezTo>
                  <a:pt x="454166" y="669027"/>
                  <a:pt x="450839" y="664995"/>
                  <a:pt x="447805" y="660748"/>
                </a:cubicBezTo>
                <a:cubicBezTo>
                  <a:pt x="443445" y="654644"/>
                  <a:pt x="439074" y="645807"/>
                  <a:pt x="432148" y="641959"/>
                </a:cubicBezTo>
                <a:cubicBezTo>
                  <a:pt x="426377" y="638753"/>
                  <a:pt x="419622" y="637784"/>
                  <a:pt x="413359" y="635696"/>
                </a:cubicBezTo>
                <a:cubicBezTo>
                  <a:pt x="382153" y="625294"/>
                  <a:pt x="407280" y="632715"/>
                  <a:pt x="335071" y="629433"/>
                </a:cubicBezTo>
                <a:cubicBezTo>
                  <a:pt x="311453" y="621559"/>
                  <a:pt x="340571" y="632182"/>
                  <a:pt x="316282" y="620038"/>
                </a:cubicBezTo>
                <a:cubicBezTo>
                  <a:pt x="313330" y="618562"/>
                  <a:pt x="310019" y="617951"/>
                  <a:pt x="306888" y="616907"/>
                </a:cubicBezTo>
                <a:cubicBezTo>
                  <a:pt x="299581" y="617951"/>
                  <a:pt x="292159" y="618378"/>
                  <a:pt x="284967" y="620038"/>
                </a:cubicBezTo>
                <a:cubicBezTo>
                  <a:pt x="278534" y="621522"/>
                  <a:pt x="272772" y="625971"/>
                  <a:pt x="266178" y="626301"/>
                </a:cubicBezTo>
                <a:lnTo>
                  <a:pt x="203548" y="629433"/>
                </a:lnTo>
                <a:cubicBezTo>
                  <a:pt x="199373" y="630477"/>
                  <a:pt x="194759" y="630429"/>
                  <a:pt x="191022" y="632564"/>
                </a:cubicBezTo>
                <a:cubicBezTo>
                  <a:pt x="187177" y="634761"/>
                  <a:pt x="186026" y="641442"/>
                  <a:pt x="181627" y="641959"/>
                </a:cubicBezTo>
                <a:cubicBezTo>
                  <a:pt x="167076" y="643671"/>
                  <a:pt x="152400" y="639871"/>
                  <a:pt x="137786" y="638827"/>
                </a:cubicBezTo>
                <a:cubicBezTo>
                  <a:pt x="134655" y="636739"/>
                  <a:pt x="131053" y="635225"/>
                  <a:pt x="128392" y="632564"/>
                </a:cubicBezTo>
                <a:cubicBezTo>
                  <a:pt x="125731" y="629903"/>
                  <a:pt x="124961" y="625648"/>
                  <a:pt x="122129" y="623170"/>
                </a:cubicBezTo>
                <a:cubicBezTo>
                  <a:pt x="116464" y="618213"/>
                  <a:pt x="109603" y="614819"/>
                  <a:pt x="103340" y="610644"/>
                </a:cubicBezTo>
                <a:cubicBezTo>
                  <a:pt x="97847" y="606982"/>
                  <a:pt x="90814" y="606469"/>
                  <a:pt x="84551" y="604381"/>
                </a:cubicBezTo>
                <a:lnTo>
                  <a:pt x="75156" y="601249"/>
                </a:lnTo>
                <a:lnTo>
                  <a:pt x="65762" y="598118"/>
                </a:lnTo>
                <a:cubicBezTo>
                  <a:pt x="58410" y="587090"/>
                  <a:pt x="51788" y="578840"/>
                  <a:pt x="46973" y="566803"/>
                </a:cubicBezTo>
                <a:cubicBezTo>
                  <a:pt x="44521" y="560673"/>
                  <a:pt x="42798" y="554277"/>
                  <a:pt x="40710" y="548014"/>
                </a:cubicBezTo>
                <a:lnTo>
                  <a:pt x="37578" y="538619"/>
                </a:lnTo>
                <a:cubicBezTo>
                  <a:pt x="36534" y="535488"/>
                  <a:pt x="36278" y="531971"/>
                  <a:pt x="34447" y="529225"/>
                </a:cubicBezTo>
                <a:cubicBezTo>
                  <a:pt x="22412" y="511171"/>
                  <a:pt x="32831" y="528586"/>
                  <a:pt x="25052" y="510436"/>
                </a:cubicBezTo>
                <a:cubicBezTo>
                  <a:pt x="19273" y="496953"/>
                  <a:pt x="15170" y="492481"/>
                  <a:pt x="6263" y="479121"/>
                </a:cubicBezTo>
                <a:cubicBezTo>
                  <a:pt x="2601" y="473628"/>
                  <a:pt x="0" y="460332"/>
                  <a:pt x="0" y="460332"/>
                </a:cubicBezTo>
                <a:cubicBezTo>
                  <a:pt x="3132" y="458244"/>
                  <a:pt x="6028" y="455751"/>
                  <a:pt x="9395" y="454068"/>
                </a:cubicBezTo>
                <a:cubicBezTo>
                  <a:pt x="12347" y="452592"/>
                  <a:pt x="16043" y="452768"/>
                  <a:pt x="18789" y="450937"/>
                </a:cubicBezTo>
                <a:cubicBezTo>
                  <a:pt x="42246" y="435299"/>
                  <a:pt x="15242" y="445856"/>
                  <a:pt x="37578" y="438411"/>
                </a:cubicBezTo>
                <a:cubicBezTo>
                  <a:pt x="44502" y="431487"/>
                  <a:pt x="47649" y="427112"/>
                  <a:pt x="56367" y="422753"/>
                </a:cubicBezTo>
                <a:cubicBezTo>
                  <a:pt x="59320" y="421277"/>
                  <a:pt x="62630" y="420666"/>
                  <a:pt x="65762" y="419622"/>
                </a:cubicBezTo>
                <a:cubicBezTo>
                  <a:pt x="68893" y="417534"/>
                  <a:pt x="71790" y="415042"/>
                  <a:pt x="75156" y="413359"/>
                </a:cubicBezTo>
                <a:cubicBezTo>
                  <a:pt x="101075" y="400399"/>
                  <a:pt x="64494" y="423514"/>
                  <a:pt x="97077" y="403964"/>
                </a:cubicBezTo>
                <a:cubicBezTo>
                  <a:pt x="115805" y="392727"/>
                  <a:pt x="112747" y="394557"/>
                  <a:pt x="125260" y="382044"/>
                </a:cubicBezTo>
                <a:cubicBezTo>
                  <a:pt x="130772" y="365508"/>
                  <a:pt x="126561" y="375395"/>
                  <a:pt x="140918" y="353860"/>
                </a:cubicBezTo>
                <a:cubicBezTo>
                  <a:pt x="143006" y="350729"/>
                  <a:pt x="144520" y="347127"/>
                  <a:pt x="147181" y="344466"/>
                </a:cubicBezTo>
                <a:cubicBezTo>
                  <a:pt x="150312" y="341334"/>
                  <a:pt x="153740" y="338473"/>
                  <a:pt x="156575" y="335071"/>
                </a:cubicBezTo>
                <a:cubicBezTo>
                  <a:pt x="158984" y="332180"/>
                  <a:pt x="160177" y="328338"/>
                  <a:pt x="162838" y="325677"/>
                </a:cubicBezTo>
                <a:cubicBezTo>
                  <a:pt x="181663" y="306853"/>
                  <a:pt x="164723" y="340073"/>
                  <a:pt x="191022" y="300625"/>
                </a:cubicBezTo>
                <a:lnTo>
                  <a:pt x="209811" y="272441"/>
                </a:lnTo>
                <a:cubicBezTo>
                  <a:pt x="211642" y="269695"/>
                  <a:pt x="216074" y="270354"/>
                  <a:pt x="219205" y="269310"/>
                </a:cubicBezTo>
                <a:cubicBezTo>
                  <a:pt x="221293" y="266178"/>
                  <a:pt x="222807" y="262576"/>
                  <a:pt x="225468" y="259915"/>
                </a:cubicBezTo>
                <a:cubicBezTo>
                  <a:pt x="231539" y="253844"/>
                  <a:pt x="236617" y="253068"/>
                  <a:pt x="244258" y="250521"/>
                </a:cubicBezTo>
                <a:cubicBezTo>
                  <a:pt x="247389" y="248433"/>
                  <a:pt x="250286" y="245941"/>
                  <a:pt x="253652" y="244258"/>
                </a:cubicBezTo>
                <a:cubicBezTo>
                  <a:pt x="279571" y="231298"/>
                  <a:pt x="242990" y="254413"/>
                  <a:pt x="275573" y="234863"/>
                </a:cubicBezTo>
                <a:cubicBezTo>
                  <a:pt x="282028" y="230990"/>
                  <a:pt x="288099" y="226512"/>
                  <a:pt x="294362" y="222337"/>
                </a:cubicBezTo>
                <a:cubicBezTo>
                  <a:pt x="297108" y="220506"/>
                  <a:pt x="300871" y="220808"/>
                  <a:pt x="303756" y="219205"/>
                </a:cubicBezTo>
                <a:cubicBezTo>
                  <a:pt x="310336" y="215549"/>
                  <a:pt x="316282" y="210854"/>
                  <a:pt x="322545" y="206679"/>
                </a:cubicBezTo>
                <a:cubicBezTo>
                  <a:pt x="325677" y="204591"/>
                  <a:pt x="328369" y="201606"/>
                  <a:pt x="331940" y="200416"/>
                </a:cubicBezTo>
                <a:lnTo>
                  <a:pt x="341334" y="197285"/>
                </a:lnTo>
                <a:cubicBezTo>
                  <a:pt x="344466" y="195197"/>
                  <a:pt x="347461" y="192889"/>
                  <a:pt x="350729" y="191022"/>
                </a:cubicBezTo>
                <a:cubicBezTo>
                  <a:pt x="354782" y="188706"/>
                  <a:pt x="359456" y="187472"/>
                  <a:pt x="363255" y="184759"/>
                </a:cubicBezTo>
                <a:cubicBezTo>
                  <a:pt x="366859" y="182185"/>
                  <a:pt x="369247" y="178199"/>
                  <a:pt x="372649" y="175364"/>
                </a:cubicBezTo>
                <a:cubicBezTo>
                  <a:pt x="375540" y="172954"/>
                  <a:pt x="378912" y="171189"/>
                  <a:pt x="382044" y="169101"/>
                </a:cubicBezTo>
                <a:cubicBezTo>
                  <a:pt x="398748" y="144046"/>
                  <a:pt x="376822" y="174324"/>
                  <a:pt x="397701" y="153444"/>
                </a:cubicBezTo>
                <a:cubicBezTo>
                  <a:pt x="400362" y="150783"/>
                  <a:pt x="401554" y="146940"/>
                  <a:pt x="403964" y="144049"/>
                </a:cubicBezTo>
                <a:cubicBezTo>
                  <a:pt x="406799" y="140647"/>
                  <a:pt x="410227" y="137786"/>
                  <a:pt x="413359" y="134655"/>
                </a:cubicBezTo>
                <a:cubicBezTo>
                  <a:pt x="418862" y="118144"/>
                  <a:pt x="412853" y="131504"/>
                  <a:pt x="425885" y="115866"/>
                </a:cubicBezTo>
                <a:cubicBezTo>
                  <a:pt x="437083" y="102429"/>
                  <a:pt x="426570" y="109553"/>
                  <a:pt x="441542" y="97077"/>
                </a:cubicBezTo>
                <a:cubicBezTo>
                  <a:pt x="444433" y="94668"/>
                  <a:pt x="448104" y="93292"/>
                  <a:pt x="450937" y="90814"/>
                </a:cubicBezTo>
                <a:cubicBezTo>
                  <a:pt x="456492" y="85953"/>
                  <a:pt x="466595" y="75156"/>
                  <a:pt x="466595" y="75156"/>
                </a:cubicBezTo>
                <a:lnTo>
                  <a:pt x="472858" y="56367"/>
                </a:lnTo>
                <a:cubicBezTo>
                  <a:pt x="472859" y="56364"/>
                  <a:pt x="488514" y="32883"/>
                  <a:pt x="491647" y="28184"/>
                </a:cubicBezTo>
                <a:lnTo>
                  <a:pt x="497910" y="18789"/>
                </a:lnTo>
                <a:lnTo>
                  <a:pt x="504173" y="9395"/>
                </a:lnTo>
                <a:cubicBezTo>
                  <a:pt x="505217" y="6263"/>
                  <a:pt x="504003" y="0"/>
                  <a:pt x="507304" y="0"/>
                </a:cubicBezTo>
                <a:cubicBezTo>
                  <a:pt x="511068" y="0"/>
                  <a:pt x="512038" y="5956"/>
                  <a:pt x="513567" y="9395"/>
                </a:cubicBezTo>
                <a:cubicBezTo>
                  <a:pt x="516248" y="15428"/>
                  <a:pt x="517742" y="21921"/>
                  <a:pt x="519830" y="28184"/>
                </a:cubicBezTo>
                <a:lnTo>
                  <a:pt x="522962" y="37578"/>
                </a:lnTo>
                <a:cubicBezTo>
                  <a:pt x="526093" y="36534"/>
                  <a:pt x="530294" y="37024"/>
                  <a:pt x="532356" y="34447"/>
                </a:cubicBezTo>
                <a:cubicBezTo>
                  <a:pt x="543118" y="20995"/>
                  <a:pt x="526168" y="18815"/>
                  <a:pt x="544882" y="25052"/>
                </a:cubicBezTo>
                <a:lnTo>
                  <a:pt x="551145" y="43841"/>
                </a:lnTo>
                <a:cubicBezTo>
                  <a:pt x="553495" y="50890"/>
                  <a:pt x="556886" y="58455"/>
                  <a:pt x="563671" y="59499"/>
                </a:cubicBezTo>
                <a:cubicBezTo>
                  <a:pt x="570456" y="60543"/>
                  <a:pt x="581939" y="49582"/>
                  <a:pt x="591855" y="50104"/>
                </a:cubicBezTo>
                <a:cubicBezTo>
                  <a:pt x="601771" y="50626"/>
                  <a:pt x="616385" y="61586"/>
                  <a:pt x="623170" y="62630"/>
                </a:cubicBezTo>
                <a:cubicBezTo>
                  <a:pt x="626301" y="63674"/>
                  <a:pt x="629263" y="65762"/>
                  <a:pt x="632564" y="65762"/>
                </a:cubicBezTo>
                <a:cubicBezTo>
                  <a:pt x="644756" y="65762"/>
                  <a:pt x="641009" y="60449"/>
                  <a:pt x="648222" y="53236"/>
                </a:cubicBezTo>
                <a:cubicBezTo>
                  <a:pt x="650883" y="50575"/>
                  <a:pt x="654485" y="49061"/>
                  <a:pt x="657616" y="46973"/>
                </a:cubicBezTo>
                <a:cubicBezTo>
                  <a:pt x="684756" y="48017"/>
                  <a:pt x="712169" y="46124"/>
                  <a:pt x="739036" y="50104"/>
                </a:cubicBezTo>
                <a:cubicBezTo>
                  <a:pt x="742301" y="50588"/>
                  <a:pt x="740564" y="56613"/>
                  <a:pt x="742167" y="59499"/>
                </a:cubicBezTo>
                <a:cubicBezTo>
                  <a:pt x="760116" y="91810"/>
                  <a:pt x="750737" y="66422"/>
                  <a:pt x="757825" y="87682"/>
                </a:cubicBezTo>
                <a:cubicBezTo>
                  <a:pt x="758869" y="97077"/>
                  <a:pt x="759102" y="106597"/>
                  <a:pt x="760956" y="115866"/>
                </a:cubicBezTo>
                <a:cubicBezTo>
                  <a:pt x="762251" y="122340"/>
                  <a:pt x="765131" y="128392"/>
                  <a:pt x="767219" y="134655"/>
                </a:cubicBezTo>
                <a:lnTo>
                  <a:pt x="770351" y="144049"/>
                </a:lnTo>
                <a:cubicBezTo>
                  <a:pt x="769307" y="152400"/>
                  <a:pt x="770345" y="161287"/>
                  <a:pt x="767219" y="169101"/>
                </a:cubicBezTo>
                <a:cubicBezTo>
                  <a:pt x="764975" y="174710"/>
                  <a:pt x="752714" y="176354"/>
                  <a:pt x="748430" y="178496"/>
                </a:cubicBezTo>
                <a:cubicBezTo>
                  <a:pt x="739712" y="182855"/>
                  <a:pt x="736566" y="187229"/>
                  <a:pt x="729641" y="194153"/>
                </a:cubicBezTo>
                <a:cubicBezTo>
                  <a:pt x="723929" y="211294"/>
                  <a:pt x="724980" y="203765"/>
                  <a:pt x="729641" y="231732"/>
                </a:cubicBezTo>
                <a:cubicBezTo>
                  <a:pt x="730184" y="234988"/>
                  <a:pt x="727554" y="237995"/>
                  <a:pt x="732773" y="241126"/>
                </a:cubicBezTo>
                <a:cubicBezTo>
                  <a:pt x="737992" y="244257"/>
                  <a:pt x="757825" y="248433"/>
                  <a:pt x="760956" y="250521"/>
                </a:cubicBezTo>
                <a:cubicBezTo>
                  <a:pt x="764121" y="255269"/>
                  <a:pt x="753650" y="261481"/>
                  <a:pt x="751562" y="266178"/>
                </a:cubicBezTo>
                <a:cubicBezTo>
                  <a:pt x="749474" y="270875"/>
                  <a:pt x="748952" y="273485"/>
                  <a:pt x="748430" y="278704"/>
                </a:cubicBezTo>
                <a:cubicBezTo>
                  <a:pt x="747908" y="283923"/>
                  <a:pt x="755294" y="287197"/>
                  <a:pt x="748430" y="297493"/>
                </a:cubicBezTo>
                <a:cubicBezTo>
                  <a:pt x="751561" y="300625"/>
                  <a:pt x="762522" y="304278"/>
                  <a:pt x="767219" y="306888"/>
                </a:cubicBezTo>
                <a:cubicBezTo>
                  <a:pt x="771916" y="309498"/>
                  <a:pt x="771917" y="309498"/>
                  <a:pt x="776614" y="313151"/>
                </a:cubicBezTo>
                <a:cubicBezTo>
                  <a:pt x="781311" y="316804"/>
                  <a:pt x="774632" y="314960"/>
                  <a:pt x="795403" y="328808"/>
                </a:cubicBezTo>
                <a:cubicBezTo>
                  <a:pt x="798149" y="330639"/>
                  <a:pt x="801845" y="330464"/>
                  <a:pt x="804797" y="331940"/>
                </a:cubicBezTo>
                <a:cubicBezTo>
                  <a:pt x="813518" y="336301"/>
                  <a:pt x="816659" y="340670"/>
                  <a:pt x="823586" y="347597"/>
                </a:cubicBezTo>
                <a:lnTo>
                  <a:pt x="836112" y="385175"/>
                </a:lnTo>
                <a:lnTo>
                  <a:pt x="842375" y="403964"/>
                </a:lnTo>
                <a:cubicBezTo>
                  <a:pt x="843419" y="407096"/>
                  <a:pt x="843676" y="410612"/>
                  <a:pt x="845507" y="413359"/>
                </a:cubicBezTo>
                <a:lnTo>
                  <a:pt x="851770" y="422753"/>
                </a:lnTo>
                <a:cubicBezTo>
                  <a:pt x="859215" y="445092"/>
                  <a:pt x="848658" y="418085"/>
                  <a:pt x="864296" y="441542"/>
                </a:cubicBezTo>
                <a:cubicBezTo>
                  <a:pt x="871220" y="451927"/>
                  <a:pt x="865861" y="434236"/>
                  <a:pt x="867427" y="450937"/>
                </a:cubicBezTo>
                <a:close/>
              </a:path>
            </a:pathLst>
          </a:custGeom>
          <a:solidFill>
            <a:srgbClr val="FDECDF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srgbClr val="182F41"/>
              </a:solidFill>
            </a:endParaRPr>
          </a:p>
        </p:txBody>
      </p:sp>
      <p:sp>
        <p:nvSpPr>
          <p:cNvPr id="16" name="Forme libre 121">
            <a:extLst>
              <a:ext uri="{FF2B5EF4-FFF2-40B4-BE49-F238E27FC236}">
                <a16:creationId xmlns:a16="http://schemas.microsoft.com/office/drawing/2014/main" id="{0DC859EE-AE8E-40A3-B0FC-D75985957B79}"/>
              </a:ext>
            </a:extLst>
          </p:cNvPr>
          <p:cNvSpPr/>
          <p:nvPr/>
        </p:nvSpPr>
        <p:spPr>
          <a:xfrm>
            <a:off x="944563" y="4019283"/>
            <a:ext cx="1800225" cy="1350287"/>
          </a:xfrm>
          <a:custGeom>
            <a:avLst/>
            <a:gdLst>
              <a:gd name="connsiteX0" fmla="*/ 939004 w 1822089"/>
              <a:gd name="connsiteY0" fmla="*/ 0 h 1287049"/>
              <a:gd name="connsiteX1" fmla="*/ 923346 w 1822089"/>
              <a:gd name="connsiteY1" fmla="*/ 9394 h 1287049"/>
              <a:gd name="connsiteX2" fmla="*/ 913952 w 1822089"/>
              <a:gd name="connsiteY2" fmla="*/ 12526 h 1287049"/>
              <a:gd name="connsiteX3" fmla="*/ 904557 w 1822089"/>
              <a:gd name="connsiteY3" fmla="*/ 21920 h 1287049"/>
              <a:gd name="connsiteX4" fmla="*/ 885768 w 1822089"/>
              <a:gd name="connsiteY4" fmla="*/ 28183 h 1287049"/>
              <a:gd name="connsiteX5" fmla="*/ 866979 w 1822089"/>
              <a:gd name="connsiteY5" fmla="*/ 34446 h 1287049"/>
              <a:gd name="connsiteX6" fmla="*/ 835664 w 1822089"/>
              <a:gd name="connsiteY6" fmla="*/ 40709 h 1287049"/>
              <a:gd name="connsiteX7" fmla="*/ 816875 w 1822089"/>
              <a:gd name="connsiteY7" fmla="*/ 43841 h 1287049"/>
              <a:gd name="connsiteX8" fmla="*/ 788692 w 1822089"/>
              <a:gd name="connsiteY8" fmla="*/ 50104 h 1287049"/>
              <a:gd name="connsiteX9" fmla="*/ 738588 w 1822089"/>
              <a:gd name="connsiteY9" fmla="*/ 56367 h 1287049"/>
              <a:gd name="connsiteX10" fmla="*/ 722930 w 1822089"/>
              <a:gd name="connsiteY10" fmla="*/ 59498 h 1287049"/>
              <a:gd name="connsiteX11" fmla="*/ 697878 w 1822089"/>
              <a:gd name="connsiteY11" fmla="*/ 62630 h 1287049"/>
              <a:gd name="connsiteX12" fmla="*/ 679089 w 1822089"/>
              <a:gd name="connsiteY12" fmla="*/ 65761 h 1287049"/>
              <a:gd name="connsiteX13" fmla="*/ 635248 w 1822089"/>
              <a:gd name="connsiteY13" fmla="*/ 72024 h 1287049"/>
              <a:gd name="connsiteX14" fmla="*/ 625853 w 1822089"/>
              <a:gd name="connsiteY14" fmla="*/ 75156 h 1287049"/>
              <a:gd name="connsiteX15" fmla="*/ 603933 w 1822089"/>
              <a:gd name="connsiteY15" fmla="*/ 100208 h 1287049"/>
              <a:gd name="connsiteX16" fmla="*/ 597670 w 1822089"/>
              <a:gd name="connsiteY16" fmla="*/ 109602 h 1287049"/>
              <a:gd name="connsiteX17" fmla="*/ 591407 w 1822089"/>
              <a:gd name="connsiteY17" fmla="*/ 128391 h 1287049"/>
              <a:gd name="connsiteX18" fmla="*/ 563223 w 1822089"/>
              <a:gd name="connsiteY18" fmla="*/ 150312 h 1287049"/>
              <a:gd name="connsiteX19" fmla="*/ 553829 w 1822089"/>
              <a:gd name="connsiteY19" fmla="*/ 156575 h 1287049"/>
              <a:gd name="connsiteX20" fmla="*/ 547566 w 1822089"/>
              <a:gd name="connsiteY20" fmla="*/ 165969 h 1287049"/>
              <a:gd name="connsiteX21" fmla="*/ 541303 w 1822089"/>
              <a:gd name="connsiteY21" fmla="*/ 184758 h 1287049"/>
              <a:gd name="connsiteX22" fmla="*/ 538171 w 1822089"/>
              <a:gd name="connsiteY22" fmla="*/ 194153 h 1287049"/>
              <a:gd name="connsiteX23" fmla="*/ 519382 w 1822089"/>
              <a:gd name="connsiteY23" fmla="*/ 250520 h 1287049"/>
              <a:gd name="connsiteX24" fmla="*/ 509988 w 1822089"/>
              <a:gd name="connsiteY24" fmla="*/ 278704 h 1287049"/>
              <a:gd name="connsiteX25" fmla="*/ 506856 w 1822089"/>
              <a:gd name="connsiteY25" fmla="*/ 288098 h 1287049"/>
              <a:gd name="connsiteX26" fmla="*/ 488067 w 1822089"/>
              <a:gd name="connsiteY26" fmla="*/ 316282 h 1287049"/>
              <a:gd name="connsiteX27" fmla="*/ 481804 w 1822089"/>
              <a:gd name="connsiteY27" fmla="*/ 325676 h 1287049"/>
              <a:gd name="connsiteX28" fmla="*/ 469278 w 1822089"/>
              <a:gd name="connsiteY28" fmla="*/ 363254 h 1287049"/>
              <a:gd name="connsiteX29" fmla="*/ 466146 w 1822089"/>
              <a:gd name="connsiteY29" fmla="*/ 372649 h 1287049"/>
              <a:gd name="connsiteX30" fmla="*/ 463015 w 1822089"/>
              <a:gd name="connsiteY30" fmla="*/ 382043 h 1287049"/>
              <a:gd name="connsiteX31" fmla="*/ 456752 w 1822089"/>
              <a:gd name="connsiteY31" fmla="*/ 391438 h 1287049"/>
              <a:gd name="connsiteX32" fmla="*/ 450489 w 1822089"/>
              <a:gd name="connsiteY32" fmla="*/ 410227 h 1287049"/>
              <a:gd name="connsiteX33" fmla="*/ 447357 w 1822089"/>
              <a:gd name="connsiteY33" fmla="*/ 419621 h 1287049"/>
              <a:gd name="connsiteX34" fmla="*/ 441094 w 1822089"/>
              <a:gd name="connsiteY34" fmla="*/ 429016 h 1287049"/>
              <a:gd name="connsiteX35" fmla="*/ 431700 w 1822089"/>
              <a:gd name="connsiteY35" fmla="*/ 447805 h 1287049"/>
              <a:gd name="connsiteX36" fmla="*/ 425437 w 1822089"/>
              <a:gd name="connsiteY36" fmla="*/ 466594 h 1287049"/>
              <a:gd name="connsiteX37" fmla="*/ 419174 w 1822089"/>
              <a:gd name="connsiteY37" fmla="*/ 485383 h 1287049"/>
              <a:gd name="connsiteX38" fmla="*/ 412911 w 1822089"/>
              <a:gd name="connsiteY38" fmla="*/ 494778 h 1287049"/>
              <a:gd name="connsiteX39" fmla="*/ 409779 w 1822089"/>
              <a:gd name="connsiteY39" fmla="*/ 504172 h 1287049"/>
              <a:gd name="connsiteX40" fmla="*/ 387859 w 1822089"/>
              <a:gd name="connsiteY40" fmla="*/ 532356 h 1287049"/>
              <a:gd name="connsiteX41" fmla="*/ 381596 w 1822089"/>
              <a:gd name="connsiteY41" fmla="*/ 541750 h 1287049"/>
              <a:gd name="connsiteX42" fmla="*/ 372201 w 1822089"/>
              <a:gd name="connsiteY42" fmla="*/ 544882 h 1287049"/>
              <a:gd name="connsiteX43" fmla="*/ 344018 w 1822089"/>
              <a:gd name="connsiteY43" fmla="*/ 563671 h 1287049"/>
              <a:gd name="connsiteX44" fmla="*/ 331492 w 1822089"/>
              <a:gd name="connsiteY44" fmla="*/ 569934 h 1287049"/>
              <a:gd name="connsiteX45" fmla="*/ 312703 w 1822089"/>
              <a:gd name="connsiteY45" fmla="*/ 576197 h 1287049"/>
              <a:gd name="connsiteX46" fmla="*/ 287651 w 1822089"/>
              <a:gd name="connsiteY46" fmla="*/ 582460 h 1287049"/>
              <a:gd name="connsiteX47" fmla="*/ 256335 w 1822089"/>
              <a:gd name="connsiteY47" fmla="*/ 585591 h 1287049"/>
              <a:gd name="connsiteX48" fmla="*/ 246941 w 1822089"/>
              <a:gd name="connsiteY48" fmla="*/ 591854 h 1287049"/>
              <a:gd name="connsiteX49" fmla="*/ 225020 w 1822089"/>
              <a:gd name="connsiteY49" fmla="*/ 620038 h 1287049"/>
              <a:gd name="connsiteX50" fmla="*/ 184311 w 1822089"/>
              <a:gd name="connsiteY50" fmla="*/ 629432 h 1287049"/>
              <a:gd name="connsiteX51" fmla="*/ 156127 w 1822089"/>
              <a:gd name="connsiteY51" fmla="*/ 638827 h 1287049"/>
              <a:gd name="connsiteX52" fmla="*/ 146733 w 1822089"/>
              <a:gd name="connsiteY52" fmla="*/ 645090 h 1287049"/>
              <a:gd name="connsiteX53" fmla="*/ 140470 w 1822089"/>
              <a:gd name="connsiteY53" fmla="*/ 654484 h 1287049"/>
              <a:gd name="connsiteX54" fmla="*/ 131075 w 1822089"/>
              <a:gd name="connsiteY54" fmla="*/ 685800 h 1287049"/>
              <a:gd name="connsiteX55" fmla="*/ 124812 w 1822089"/>
              <a:gd name="connsiteY55" fmla="*/ 726509 h 1287049"/>
              <a:gd name="connsiteX56" fmla="*/ 109155 w 1822089"/>
              <a:gd name="connsiteY56" fmla="*/ 745298 h 1287049"/>
              <a:gd name="connsiteX57" fmla="*/ 102892 w 1822089"/>
              <a:gd name="connsiteY57" fmla="*/ 754693 h 1287049"/>
              <a:gd name="connsiteX58" fmla="*/ 96629 w 1822089"/>
              <a:gd name="connsiteY58" fmla="*/ 779745 h 1287049"/>
              <a:gd name="connsiteX59" fmla="*/ 90366 w 1822089"/>
              <a:gd name="connsiteY59" fmla="*/ 798534 h 1287049"/>
              <a:gd name="connsiteX60" fmla="*/ 84103 w 1822089"/>
              <a:gd name="connsiteY60" fmla="*/ 807928 h 1287049"/>
              <a:gd name="connsiteX61" fmla="*/ 80971 w 1822089"/>
              <a:gd name="connsiteY61" fmla="*/ 817323 h 1287049"/>
              <a:gd name="connsiteX62" fmla="*/ 77840 w 1822089"/>
              <a:gd name="connsiteY62" fmla="*/ 836112 h 1287049"/>
              <a:gd name="connsiteX63" fmla="*/ 74708 w 1822089"/>
              <a:gd name="connsiteY63" fmla="*/ 845506 h 1287049"/>
              <a:gd name="connsiteX64" fmla="*/ 68445 w 1822089"/>
              <a:gd name="connsiteY64" fmla="*/ 873690 h 1287049"/>
              <a:gd name="connsiteX65" fmla="*/ 62182 w 1822089"/>
              <a:gd name="connsiteY65" fmla="*/ 883084 h 1287049"/>
              <a:gd name="connsiteX66" fmla="*/ 59051 w 1822089"/>
              <a:gd name="connsiteY66" fmla="*/ 892479 h 1287049"/>
              <a:gd name="connsiteX67" fmla="*/ 52788 w 1822089"/>
              <a:gd name="connsiteY67" fmla="*/ 901873 h 1287049"/>
              <a:gd name="connsiteX68" fmla="*/ 40261 w 1822089"/>
              <a:gd name="connsiteY68" fmla="*/ 930057 h 1287049"/>
              <a:gd name="connsiteX69" fmla="*/ 27735 w 1822089"/>
              <a:gd name="connsiteY69" fmla="*/ 967635 h 1287049"/>
              <a:gd name="connsiteX70" fmla="*/ 24604 w 1822089"/>
              <a:gd name="connsiteY70" fmla="*/ 977030 h 1287049"/>
              <a:gd name="connsiteX71" fmla="*/ 18341 w 1822089"/>
              <a:gd name="connsiteY71" fmla="*/ 986424 h 1287049"/>
              <a:gd name="connsiteX72" fmla="*/ 12078 w 1822089"/>
              <a:gd name="connsiteY72" fmla="*/ 1005213 h 1287049"/>
              <a:gd name="connsiteX73" fmla="*/ 8946 w 1822089"/>
              <a:gd name="connsiteY73" fmla="*/ 1099158 h 1287049"/>
              <a:gd name="connsiteX74" fmla="*/ 5815 w 1822089"/>
              <a:gd name="connsiteY74" fmla="*/ 1111684 h 1287049"/>
              <a:gd name="connsiteX75" fmla="*/ 2683 w 1822089"/>
              <a:gd name="connsiteY75" fmla="*/ 1133605 h 1287049"/>
              <a:gd name="connsiteX76" fmla="*/ 5815 w 1822089"/>
              <a:gd name="connsiteY76" fmla="*/ 1196235 h 1287049"/>
              <a:gd name="connsiteX77" fmla="*/ 46525 w 1822089"/>
              <a:gd name="connsiteY77" fmla="*/ 1199367 h 1287049"/>
              <a:gd name="connsiteX78" fmla="*/ 52788 w 1822089"/>
              <a:gd name="connsiteY78" fmla="*/ 1208761 h 1287049"/>
              <a:gd name="connsiteX79" fmla="*/ 59051 w 1822089"/>
              <a:gd name="connsiteY79" fmla="*/ 1227550 h 1287049"/>
              <a:gd name="connsiteX80" fmla="*/ 68445 w 1822089"/>
              <a:gd name="connsiteY80" fmla="*/ 1246339 h 1287049"/>
              <a:gd name="connsiteX81" fmla="*/ 77840 w 1822089"/>
              <a:gd name="connsiteY81" fmla="*/ 1252602 h 1287049"/>
              <a:gd name="connsiteX82" fmla="*/ 99760 w 1822089"/>
              <a:gd name="connsiteY82" fmla="*/ 1249471 h 1287049"/>
              <a:gd name="connsiteX83" fmla="*/ 118549 w 1822089"/>
              <a:gd name="connsiteY83" fmla="*/ 1236945 h 1287049"/>
              <a:gd name="connsiteX84" fmla="*/ 127944 w 1822089"/>
              <a:gd name="connsiteY84" fmla="*/ 1233813 h 1287049"/>
              <a:gd name="connsiteX85" fmla="*/ 143601 w 1822089"/>
              <a:gd name="connsiteY85" fmla="*/ 1236945 h 1287049"/>
              <a:gd name="connsiteX86" fmla="*/ 152996 w 1822089"/>
              <a:gd name="connsiteY86" fmla="*/ 1240076 h 1287049"/>
              <a:gd name="connsiteX87" fmla="*/ 196837 w 1822089"/>
              <a:gd name="connsiteY87" fmla="*/ 1233813 h 1287049"/>
              <a:gd name="connsiteX88" fmla="*/ 225020 w 1822089"/>
              <a:gd name="connsiteY88" fmla="*/ 1224419 h 1287049"/>
              <a:gd name="connsiteX89" fmla="*/ 250072 w 1822089"/>
              <a:gd name="connsiteY89" fmla="*/ 1227550 h 1287049"/>
              <a:gd name="connsiteX90" fmla="*/ 259467 w 1822089"/>
              <a:gd name="connsiteY90" fmla="*/ 1230682 h 1287049"/>
              <a:gd name="connsiteX91" fmla="*/ 268861 w 1822089"/>
              <a:gd name="connsiteY91" fmla="*/ 1236945 h 1287049"/>
              <a:gd name="connsiteX92" fmla="*/ 284519 w 1822089"/>
              <a:gd name="connsiteY92" fmla="*/ 1240076 h 1287049"/>
              <a:gd name="connsiteX93" fmla="*/ 293914 w 1822089"/>
              <a:gd name="connsiteY93" fmla="*/ 1243208 h 1287049"/>
              <a:gd name="connsiteX94" fmla="*/ 325229 w 1822089"/>
              <a:gd name="connsiteY94" fmla="*/ 1252602 h 1287049"/>
              <a:gd name="connsiteX95" fmla="*/ 344018 w 1822089"/>
              <a:gd name="connsiteY95" fmla="*/ 1258865 h 1287049"/>
              <a:gd name="connsiteX96" fmla="*/ 353412 w 1822089"/>
              <a:gd name="connsiteY96" fmla="*/ 1261997 h 1287049"/>
              <a:gd name="connsiteX97" fmla="*/ 384727 w 1822089"/>
              <a:gd name="connsiteY97" fmla="*/ 1258865 h 1287049"/>
              <a:gd name="connsiteX98" fmla="*/ 403516 w 1822089"/>
              <a:gd name="connsiteY98" fmla="*/ 1249471 h 1287049"/>
              <a:gd name="connsiteX99" fmla="*/ 428568 w 1822089"/>
              <a:gd name="connsiteY99" fmla="*/ 1243208 h 1287049"/>
              <a:gd name="connsiteX100" fmla="*/ 437963 w 1822089"/>
              <a:gd name="connsiteY100" fmla="*/ 1240076 h 1287049"/>
              <a:gd name="connsiteX101" fmla="*/ 484935 w 1822089"/>
              <a:gd name="connsiteY101" fmla="*/ 1243208 h 1287049"/>
              <a:gd name="connsiteX102" fmla="*/ 503725 w 1822089"/>
              <a:gd name="connsiteY102" fmla="*/ 1246339 h 1287049"/>
              <a:gd name="connsiteX103" fmla="*/ 516251 w 1822089"/>
              <a:gd name="connsiteY103" fmla="*/ 1249471 h 1287049"/>
              <a:gd name="connsiteX104" fmla="*/ 572618 w 1822089"/>
              <a:gd name="connsiteY104" fmla="*/ 1252602 h 1287049"/>
              <a:gd name="connsiteX105" fmla="*/ 594538 w 1822089"/>
              <a:gd name="connsiteY105" fmla="*/ 1261997 h 1287049"/>
              <a:gd name="connsiteX106" fmla="*/ 613327 w 1822089"/>
              <a:gd name="connsiteY106" fmla="*/ 1268260 h 1287049"/>
              <a:gd name="connsiteX107" fmla="*/ 650905 w 1822089"/>
              <a:gd name="connsiteY107" fmla="*/ 1280786 h 1287049"/>
              <a:gd name="connsiteX108" fmla="*/ 663431 w 1822089"/>
              <a:gd name="connsiteY108" fmla="*/ 1283917 h 1287049"/>
              <a:gd name="connsiteX109" fmla="*/ 672826 w 1822089"/>
              <a:gd name="connsiteY109" fmla="*/ 1287049 h 1287049"/>
              <a:gd name="connsiteX110" fmla="*/ 704141 w 1822089"/>
              <a:gd name="connsiteY110" fmla="*/ 1283917 h 1287049"/>
              <a:gd name="connsiteX111" fmla="*/ 713535 w 1822089"/>
              <a:gd name="connsiteY111" fmla="*/ 1280786 h 1287049"/>
              <a:gd name="connsiteX112" fmla="*/ 757377 w 1822089"/>
              <a:gd name="connsiteY112" fmla="*/ 1274523 h 1287049"/>
              <a:gd name="connsiteX113" fmla="*/ 826270 w 1822089"/>
              <a:gd name="connsiteY113" fmla="*/ 1271391 h 1287049"/>
              <a:gd name="connsiteX114" fmla="*/ 832533 w 1822089"/>
              <a:gd name="connsiteY114" fmla="*/ 1261997 h 1287049"/>
              <a:gd name="connsiteX115" fmla="*/ 838796 w 1822089"/>
              <a:gd name="connsiteY115" fmla="*/ 1236945 h 1287049"/>
              <a:gd name="connsiteX116" fmla="*/ 841927 w 1822089"/>
              <a:gd name="connsiteY116" fmla="*/ 1227550 h 1287049"/>
              <a:gd name="connsiteX117" fmla="*/ 845059 w 1822089"/>
              <a:gd name="connsiteY117" fmla="*/ 1208761 h 1287049"/>
              <a:gd name="connsiteX118" fmla="*/ 848190 w 1822089"/>
              <a:gd name="connsiteY118" fmla="*/ 989556 h 1287049"/>
              <a:gd name="connsiteX119" fmla="*/ 851322 w 1822089"/>
              <a:gd name="connsiteY119" fmla="*/ 980161 h 1287049"/>
              <a:gd name="connsiteX120" fmla="*/ 854453 w 1822089"/>
              <a:gd name="connsiteY120" fmla="*/ 958241 h 1287049"/>
              <a:gd name="connsiteX121" fmla="*/ 857585 w 1822089"/>
              <a:gd name="connsiteY121" fmla="*/ 886216 h 1287049"/>
              <a:gd name="connsiteX122" fmla="*/ 860716 w 1822089"/>
              <a:gd name="connsiteY122" fmla="*/ 876821 h 1287049"/>
              <a:gd name="connsiteX123" fmla="*/ 863848 w 1822089"/>
              <a:gd name="connsiteY123" fmla="*/ 848638 h 1287049"/>
              <a:gd name="connsiteX124" fmla="*/ 866979 w 1822089"/>
              <a:gd name="connsiteY124" fmla="*/ 770350 h 1287049"/>
              <a:gd name="connsiteX125" fmla="*/ 876374 w 1822089"/>
              <a:gd name="connsiteY125" fmla="*/ 767219 h 1287049"/>
              <a:gd name="connsiteX126" fmla="*/ 967188 w 1822089"/>
              <a:gd name="connsiteY126" fmla="*/ 770350 h 1287049"/>
              <a:gd name="connsiteX127" fmla="*/ 1111237 w 1822089"/>
              <a:gd name="connsiteY127" fmla="*/ 776613 h 1287049"/>
              <a:gd name="connsiteX128" fmla="*/ 1136289 w 1822089"/>
              <a:gd name="connsiteY128" fmla="*/ 779745 h 1287049"/>
              <a:gd name="connsiteX129" fmla="*/ 1330442 w 1822089"/>
              <a:gd name="connsiteY129" fmla="*/ 786008 h 1287049"/>
              <a:gd name="connsiteX130" fmla="*/ 1364889 w 1822089"/>
              <a:gd name="connsiteY130" fmla="*/ 789139 h 1287049"/>
              <a:gd name="connsiteX131" fmla="*/ 1374283 w 1822089"/>
              <a:gd name="connsiteY131" fmla="*/ 792271 h 1287049"/>
              <a:gd name="connsiteX132" fmla="*/ 1555911 w 1822089"/>
              <a:gd name="connsiteY132" fmla="*/ 798534 h 1287049"/>
              <a:gd name="connsiteX133" fmla="*/ 1602883 w 1822089"/>
              <a:gd name="connsiteY133" fmla="*/ 801665 h 1287049"/>
              <a:gd name="connsiteX134" fmla="*/ 1800168 w 1822089"/>
              <a:gd name="connsiteY134" fmla="*/ 807928 h 1287049"/>
              <a:gd name="connsiteX135" fmla="*/ 1800168 w 1822089"/>
              <a:gd name="connsiteY135" fmla="*/ 760956 h 1287049"/>
              <a:gd name="connsiteX136" fmla="*/ 1803300 w 1822089"/>
              <a:gd name="connsiteY136" fmla="*/ 645090 h 1287049"/>
              <a:gd name="connsiteX137" fmla="*/ 1806431 w 1822089"/>
              <a:gd name="connsiteY137" fmla="*/ 632564 h 1287049"/>
              <a:gd name="connsiteX138" fmla="*/ 1809563 w 1822089"/>
              <a:gd name="connsiteY138" fmla="*/ 616906 h 1287049"/>
              <a:gd name="connsiteX139" fmla="*/ 1812694 w 1822089"/>
              <a:gd name="connsiteY139" fmla="*/ 585591 h 1287049"/>
              <a:gd name="connsiteX140" fmla="*/ 1815826 w 1822089"/>
              <a:gd name="connsiteY140" fmla="*/ 576197 h 1287049"/>
              <a:gd name="connsiteX141" fmla="*/ 1822089 w 1822089"/>
              <a:gd name="connsiteY141" fmla="*/ 519830 h 1287049"/>
              <a:gd name="connsiteX142" fmla="*/ 1818957 w 1822089"/>
              <a:gd name="connsiteY142" fmla="*/ 485383 h 1287049"/>
              <a:gd name="connsiteX143" fmla="*/ 1781379 w 1822089"/>
              <a:gd name="connsiteY143" fmla="*/ 466594 h 1287049"/>
              <a:gd name="connsiteX144" fmla="*/ 1771985 w 1822089"/>
              <a:gd name="connsiteY144" fmla="*/ 463463 h 1287049"/>
              <a:gd name="connsiteX145" fmla="*/ 1762590 w 1822089"/>
              <a:gd name="connsiteY145" fmla="*/ 457200 h 1287049"/>
              <a:gd name="connsiteX146" fmla="*/ 1753196 w 1822089"/>
              <a:gd name="connsiteY146" fmla="*/ 454068 h 1287049"/>
              <a:gd name="connsiteX147" fmla="*/ 1728144 w 1822089"/>
              <a:gd name="connsiteY147" fmla="*/ 425884 h 1287049"/>
              <a:gd name="connsiteX148" fmla="*/ 1718749 w 1822089"/>
              <a:gd name="connsiteY148" fmla="*/ 416490 h 1287049"/>
              <a:gd name="connsiteX149" fmla="*/ 1706223 w 1822089"/>
              <a:gd name="connsiteY149" fmla="*/ 397701 h 1287049"/>
              <a:gd name="connsiteX150" fmla="*/ 1681171 w 1822089"/>
              <a:gd name="connsiteY150" fmla="*/ 360123 h 1287049"/>
              <a:gd name="connsiteX151" fmla="*/ 1668645 w 1822089"/>
              <a:gd name="connsiteY151" fmla="*/ 341334 h 1287049"/>
              <a:gd name="connsiteX152" fmla="*/ 1662382 w 1822089"/>
              <a:gd name="connsiteY152" fmla="*/ 331939 h 1287049"/>
              <a:gd name="connsiteX153" fmla="*/ 1643593 w 1822089"/>
              <a:gd name="connsiteY153" fmla="*/ 319413 h 1287049"/>
              <a:gd name="connsiteX154" fmla="*/ 1599752 w 1822089"/>
              <a:gd name="connsiteY154" fmla="*/ 313150 h 1287049"/>
              <a:gd name="connsiteX155" fmla="*/ 1577831 w 1822089"/>
              <a:gd name="connsiteY155" fmla="*/ 300624 h 1287049"/>
              <a:gd name="connsiteX156" fmla="*/ 1571568 w 1822089"/>
              <a:gd name="connsiteY156" fmla="*/ 291230 h 1287049"/>
              <a:gd name="connsiteX157" fmla="*/ 1562174 w 1822089"/>
              <a:gd name="connsiteY157" fmla="*/ 284967 h 1287049"/>
              <a:gd name="connsiteX158" fmla="*/ 1552779 w 1822089"/>
              <a:gd name="connsiteY158" fmla="*/ 275572 h 1287049"/>
              <a:gd name="connsiteX159" fmla="*/ 1524596 w 1822089"/>
              <a:gd name="connsiteY159" fmla="*/ 259915 h 1287049"/>
              <a:gd name="connsiteX160" fmla="*/ 1515201 w 1822089"/>
              <a:gd name="connsiteY160" fmla="*/ 250520 h 1287049"/>
              <a:gd name="connsiteX161" fmla="*/ 1505807 w 1822089"/>
              <a:gd name="connsiteY161" fmla="*/ 244257 h 1287049"/>
              <a:gd name="connsiteX162" fmla="*/ 1493281 w 1822089"/>
              <a:gd name="connsiteY162" fmla="*/ 234863 h 1287049"/>
              <a:gd name="connsiteX163" fmla="*/ 1474492 w 1822089"/>
              <a:gd name="connsiteY163" fmla="*/ 225468 h 1287049"/>
              <a:gd name="connsiteX164" fmla="*/ 1424388 w 1822089"/>
              <a:gd name="connsiteY164" fmla="*/ 222336 h 1287049"/>
              <a:gd name="connsiteX165" fmla="*/ 1405598 w 1822089"/>
              <a:gd name="connsiteY165" fmla="*/ 212942 h 1287049"/>
              <a:gd name="connsiteX166" fmla="*/ 1396204 w 1822089"/>
              <a:gd name="connsiteY166" fmla="*/ 203547 h 1287049"/>
              <a:gd name="connsiteX167" fmla="*/ 1383678 w 1822089"/>
              <a:gd name="connsiteY167" fmla="*/ 197284 h 1287049"/>
              <a:gd name="connsiteX168" fmla="*/ 1377415 w 1822089"/>
              <a:gd name="connsiteY168" fmla="*/ 187890 h 1287049"/>
              <a:gd name="connsiteX169" fmla="*/ 1349231 w 1822089"/>
              <a:gd name="connsiteY169" fmla="*/ 172232 h 1287049"/>
              <a:gd name="connsiteX170" fmla="*/ 1295996 w 1822089"/>
              <a:gd name="connsiteY170" fmla="*/ 169101 h 1287049"/>
              <a:gd name="connsiteX171" fmla="*/ 1267812 w 1822089"/>
              <a:gd name="connsiteY171" fmla="*/ 162838 h 1287049"/>
              <a:gd name="connsiteX172" fmla="*/ 1258418 w 1822089"/>
              <a:gd name="connsiteY172" fmla="*/ 159706 h 1287049"/>
              <a:gd name="connsiteX173" fmla="*/ 1164472 w 1822089"/>
              <a:gd name="connsiteY173" fmla="*/ 165969 h 1287049"/>
              <a:gd name="connsiteX174" fmla="*/ 1155078 w 1822089"/>
              <a:gd name="connsiteY174" fmla="*/ 169101 h 1287049"/>
              <a:gd name="connsiteX175" fmla="*/ 1145683 w 1822089"/>
              <a:gd name="connsiteY175" fmla="*/ 175364 h 1287049"/>
              <a:gd name="connsiteX176" fmla="*/ 1070527 w 1822089"/>
              <a:gd name="connsiteY176" fmla="*/ 172232 h 1287049"/>
              <a:gd name="connsiteX177" fmla="*/ 1042344 w 1822089"/>
              <a:gd name="connsiteY177" fmla="*/ 159706 h 1287049"/>
              <a:gd name="connsiteX178" fmla="*/ 1032949 w 1822089"/>
              <a:gd name="connsiteY178" fmla="*/ 156575 h 1287049"/>
              <a:gd name="connsiteX179" fmla="*/ 1014160 w 1822089"/>
              <a:gd name="connsiteY179" fmla="*/ 147180 h 1287049"/>
              <a:gd name="connsiteX180" fmla="*/ 1004766 w 1822089"/>
              <a:gd name="connsiteY180" fmla="*/ 140917 h 1287049"/>
              <a:gd name="connsiteX181" fmla="*/ 998503 w 1822089"/>
              <a:gd name="connsiteY181" fmla="*/ 131523 h 1287049"/>
              <a:gd name="connsiteX182" fmla="*/ 989108 w 1822089"/>
              <a:gd name="connsiteY182" fmla="*/ 93945 h 1287049"/>
              <a:gd name="connsiteX183" fmla="*/ 982845 w 1822089"/>
              <a:gd name="connsiteY183" fmla="*/ 75156 h 1287049"/>
              <a:gd name="connsiteX184" fmla="*/ 967188 w 1822089"/>
              <a:gd name="connsiteY184" fmla="*/ 53235 h 1287049"/>
              <a:gd name="connsiteX185" fmla="*/ 960925 w 1822089"/>
              <a:gd name="connsiteY185" fmla="*/ 40709 h 1287049"/>
              <a:gd name="connsiteX186" fmla="*/ 954661 w 1822089"/>
              <a:gd name="connsiteY186" fmla="*/ 31315 h 1287049"/>
              <a:gd name="connsiteX187" fmla="*/ 945267 w 1822089"/>
              <a:gd name="connsiteY187" fmla="*/ 9394 h 1287049"/>
              <a:gd name="connsiteX188" fmla="*/ 939004 w 1822089"/>
              <a:gd name="connsiteY188" fmla="*/ 0 h 1287049"/>
              <a:gd name="connsiteX0" fmla="*/ 939004 w 1822089"/>
              <a:gd name="connsiteY0" fmla="*/ 0 h 1287049"/>
              <a:gd name="connsiteX1" fmla="*/ 923346 w 1822089"/>
              <a:gd name="connsiteY1" fmla="*/ 9394 h 1287049"/>
              <a:gd name="connsiteX2" fmla="*/ 913952 w 1822089"/>
              <a:gd name="connsiteY2" fmla="*/ 12526 h 1287049"/>
              <a:gd name="connsiteX3" fmla="*/ 904557 w 1822089"/>
              <a:gd name="connsiteY3" fmla="*/ 21920 h 1287049"/>
              <a:gd name="connsiteX4" fmla="*/ 885768 w 1822089"/>
              <a:gd name="connsiteY4" fmla="*/ 28183 h 1287049"/>
              <a:gd name="connsiteX5" fmla="*/ 866979 w 1822089"/>
              <a:gd name="connsiteY5" fmla="*/ 34446 h 1287049"/>
              <a:gd name="connsiteX6" fmla="*/ 835664 w 1822089"/>
              <a:gd name="connsiteY6" fmla="*/ 40709 h 1287049"/>
              <a:gd name="connsiteX7" fmla="*/ 816875 w 1822089"/>
              <a:gd name="connsiteY7" fmla="*/ 43841 h 1287049"/>
              <a:gd name="connsiteX8" fmla="*/ 788692 w 1822089"/>
              <a:gd name="connsiteY8" fmla="*/ 50104 h 1287049"/>
              <a:gd name="connsiteX9" fmla="*/ 738588 w 1822089"/>
              <a:gd name="connsiteY9" fmla="*/ 56367 h 1287049"/>
              <a:gd name="connsiteX10" fmla="*/ 722930 w 1822089"/>
              <a:gd name="connsiteY10" fmla="*/ 59498 h 1287049"/>
              <a:gd name="connsiteX11" fmla="*/ 697878 w 1822089"/>
              <a:gd name="connsiteY11" fmla="*/ 62630 h 1287049"/>
              <a:gd name="connsiteX12" fmla="*/ 679089 w 1822089"/>
              <a:gd name="connsiteY12" fmla="*/ 65761 h 1287049"/>
              <a:gd name="connsiteX13" fmla="*/ 635248 w 1822089"/>
              <a:gd name="connsiteY13" fmla="*/ 72024 h 1287049"/>
              <a:gd name="connsiteX14" fmla="*/ 625853 w 1822089"/>
              <a:gd name="connsiteY14" fmla="*/ 75156 h 1287049"/>
              <a:gd name="connsiteX15" fmla="*/ 603933 w 1822089"/>
              <a:gd name="connsiteY15" fmla="*/ 100208 h 1287049"/>
              <a:gd name="connsiteX16" fmla="*/ 597670 w 1822089"/>
              <a:gd name="connsiteY16" fmla="*/ 109602 h 1287049"/>
              <a:gd name="connsiteX17" fmla="*/ 591407 w 1822089"/>
              <a:gd name="connsiteY17" fmla="*/ 128391 h 1287049"/>
              <a:gd name="connsiteX18" fmla="*/ 563223 w 1822089"/>
              <a:gd name="connsiteY18" fmla="*/ 150312 h 1287049"/>
              <a:gd name="connsiteX19" fmla="*/ 553829 w 1822089"/>
              <a:gd name="connsiteY19" fmla="*/ 156575 h 1287049"/>
              <a:gd name="connsiteX20" fmla="*/ 547566 w 1822089"/>
              <a:gd name="connsiteY20" fmla="*/ 165969 h 1287049"/>
              <a:gd name="connsiteX21" fmla="*/ 541303 w 1822089"/>
              <a:gd name="connsiteY21" fmla="*/ 184758 h 1287049"/>
              <a:gd name="connsiteX22" fmla="*/ 538171 w 1822089"/>
              <a:gd name="connsiteY22" fmla="*/ 194153 h 1287049"/>
              <a:gd name="connsiteX23" fmla="*/ 519382 w 1822089"/>
              <a:gd name="connsiteY23" fmla="*/ 250520 h 1287049"/>
              <a:gd name="connsiteX24" fmla="*/ 509988 w 1822089"/>
              <a:gd name="connsiteY24" fmla="*/ 278704 h 1287049"/>
              <a:gd name="connsiteX25" fmla="*/ 506856 w 1822089"/>
              <a:gd name="connsiteY25" fmla="*/ 288098 h 1287049"/>
              <a:gd name="connsiteX26" fmla="*/ 488067 w 1822089"/>
              <a:gd name="connsiteY26" fmla="*/ 316282 h 1287049"/>
              <a:gd name="connsiteX27" fmla="*/ 481804 w 1822089"/>
              <a:gd name="connsiteY27" fmla="*/ 325676 h 1287049"/>
              <a:gd name="connsiteX28" fmla="*/ 469278 w 1822089"/>
              <a:gd name="connsiteY28" fmla="*/ 363254 h 1287049"/>
              <a:gd name="connsiteX29" fmla="*/ 466146 w 1822089"/>
              <a:gd name="connsiteY29" fmla="*/ 372649 h 1287049"/>
              <a:gd name="connsiteX30" fmla="*/ 463015 w 1822089"/>
              <a:gd name="connsiteY30" fmla="*/ 382043 h 1287049"/>
              <a:gd name="connsiteX31" fmla="*/ 456752 w 1822089"/>
              <a:gd name="connsiteY31" fmla="*/ 391438 h 1287049"/>
              <a:gd name="connsiteX32" fmla="*/ 450489 w 1822089"/>
              <a:gd name="connsiteY32" fmla="*/ 410227 h 1287049"/>
              <a:gd name="connsiteX33" fmla="*/ 447357 w 1822089"/>
              <a:gd name="connsiteY33" fmla="*/ 419621 h 1287049"/>
              <a:gd name="connsiteX34" fmla="*/ 441094 w 1822089"/>
              <a:gd name="connsiteY34" fmla="*/ 429016 h 1287049"/>
              <a:gd name="connsiteX35" fmla="*/ 431700 w 1822089"/>
              <a:gd name="connsiteY35" fmla="*/ 447805 h 1287049"/>
              <a:gd name="connsiteX36" fmla="*/ 425437 w 1822089"/>
              <a:gd name="connsiteY36" fmla="*/ 466594 h 1287049"/>
              <a:gd name="connsiteX37" fmla="*/ 419174 w 1822089"/>
              <a:gd name="connsiteY37" fmla="*/ 485383 h 1287049"/>
              <a:gd name="connsiteX38" fmla="*/ 412911 w 1822089"/>
              <a:gd name="connsiteY38" fmla="*/ 494778 h 1287049"/>
              <a:gd name="connsiteX39" fmla="*/ 409779 w 1822089"/>
              <a:gd name="connsiteY39" fmla="*/ 504172 h 1287049"/>
              <a:gd name="connsiteX40" fmla="*/ 387859 w 1822089"/>
              <a:gd name="connsiteY40" fmla="*/ 532356 h 1287049"/>
              <a:gd name="connsiteX41" fmla="*/ 381596 w 1822089"/>
              <a:gd name="connsiteY41" fmla="*/ 541750 h 1287049"/>
              <a:gd name="connsiteX42" fmla="*/ 372201 w 1822089"/>
              <a:gd name="connsiteY42" fmla="*/ 544882 h 1287049"/>
              <a:gd name="connsiteX43" fmla="*/ 344018 w 1822089"/>
              <a:gd name="connsiteY43" fmla="*/ 563671 h 1287049"/>
              <a:gd name="connsiteX44" fmla="*/ 331492 w 1822089"/>
              <a:gd name="connsiteY44" fmla="*/ 569934 h 1287049"/>
              <a:gd name="connsiteX45" fmla="*/ 312703 w 1822089"/>
              <a:gd name="connsiteY45" fmla="*/ 576197 h 1287049"/>
              <a:gd name="connsiteX46" fmla="*/ 287651 w 1822089"/>
              <a:gd name="connsiteY46" fmla="*/ 582460 h 1287049"/>
              <a:gd name="connsiteX47" fmla="*/ 256335 w 1822089"/>
              <a:gd name="connsiteY47" fmla="*/ 585591 h 1287049"/>
              <a:gd name="connsiteX48" fmla="*/ 246941 w 1822089"/>
              <a:gd name="connsiteY48" fmla="*/ 591854 h 1287049"/>
              <a:gd name="connsiteX49" fmla="*/ 225020 w 1822089"/>
              <a:gd name="connsiteY49" fmla="*/ 620038 h 1287049"/>
              <a:gd name="connsiteX50" fmla="*/ 184311 w 1822089"/>
              <a:gd name="connsiteY50" fmla="*/ 629432 h 1287049"/>
              <a:gd name="connsiteX51" fmla="*/ 156127 w 1822089"/>
              <a:gd name="connsiteY51" fmla="*/ 638827 h 1287049"/>
              <a:gd name="connsiteX52" fmla="*/ 146733 w 1822089"/>
              <a:gd name="connsiteY52" fmla="*/ 645090 h 1287049"/>
              <a:gd name="connsiteX53" fmla="*/ 140470 w 1822089"/>
              <a:gd name="connsiteY53" fmla="*/ 654484 h 1287049"/>
              <a:gd name="connsiteX54" fmla="*/ 131075 w 1822089"/>
              <a:gd name="connsiteY54" fmla="*/ 685800 h 1287049"/>
              <a:gd name="connsiteX55" fmla="*/ 124812 w 1822089"/>
              <a:gd name="connsiteY55" fmla="*/ 726509 h 1287049"/>
              <a:gd name="connsiteX56" fmla="*/ 109155 w 1822089"/>
              <a:gd name="connsiteY56" fmla="*/ 745298 h 1287049"/>
              <a:gd name="connsiteX57" fmla="*/ 102892 w 1822089"/>
              <a:gd name="connsiteY57" fmla="*/ 754693 h 1287049"/>
              <a:gd name="connsiteX58" fmla="*/ 96629 w 1822089"/>
              <a:gd name="connsiteY58" fmla="*/ 779745 h 1287049"/>
              <a:gd name="connsiteX59" fmla="*/ 90366 w 1822089"/>
              <a:gd name="connsiteY59" fmla="*/ 798534 h 1287049"/>
              <a:gd name="connsiteX60" fmla="*/ 84103 w 1822089"/>
              <a:gd name="connsiteY60" fmla="*/ 807928 h 1287049"/>
              <a:gd name="connsiteX61" fmla="*/ 80971 w 1822089"/>
              <a:gd name="connsiteY61" fmla="*/ 817323 h 1287049"/>
              <a:gd name="connsiteX62" fmla="*/ 77840 w 1822089"/>
              <a:gd name="connsiteY62" fmla="*/ 836112 h 1287049"/>
              <a:gd name="connsiteX63" fmla="*/ 74708 w 1822089"/>
              <a:gd name="connsiteY63" fmla="*/ 845506 h 1287049"/>
              <a:gd name="connsiteX64" fmla="*/ 68445 w 1822089"/>
              <a:gd name="connsiteY64" fmla="*/ 873690 h 1287049"/>
              <a:gd name="connsiteX65" fmla="*/ 62182 w 1822089"/>
              <a:gd name="connsiteY65" fmla="*/ 883084 h 1287049"/>
              <a:gd name="connsiteX66" fmla="*/ 59051 w 1822089"/>
              <a:gd name="connsiteY66" fmla="*/ 892479 h 1287049"/>
              <a:gd name="connsiteX67" fmla="*/ 52788 w 1822089"/>
              <a:gd name="connsiteY67" fmla="*/ 901873 h 1287049"/>
              <a:gd name="connsiteX68" fmla="*/ 40261 w 1822089"/>
              <a:gd name="connsiteY68" fmla="*/ 930057 h 1287049"/>
              <a:gd name="connsiteX69" fmla="*/ 27735 w 1822089"/>
              <a:gd name="connsiteY69" fmla="*/ 967635 h 1287049"/>
              <a:gd name="connsiteX70" fmla="*/ 24604 w 1822089"/>
              <a:gd name="connsiteY70" fmla="*/ 977030 h 1287049"/>
              <a:gd name="connsiteX71" fmla="*/ 18341 w 1822089"/>
              <a:gd name="connsiteY71" fmla="*/ 986424 h 1287049"/>
              <a:gd name="connsiteX72" fmla="*/ 12078 w 1822089"/>
              <a:gd name="connsiteY72" fmla="*/ 1005213 h 1287049"/>
              <a:gd name="connsiteX73" fmla="*/ 8946 w 1822089"/>
              <a:gd name="connsiteY73" fmla="*/ 1099158 h 1287049"/>
              <a:gd name="connsiteX74" fmla="*/ 5815 w 1822089"/>
              <a:gd name="connsiteY74" fmla="*/ 1111684 h 1287049"/>
              <a:gd name="connsiteX75" fmla="*/ 2683 w 1822089"/>
              <a:gd name="connsiteY75" fmla="*/ 1133605 h 1287049"/>
              <a:gd name="connsiteX76" fmla="*/ 5815 w 1822089"/>
              <a:gd name="connsiteY76" fmla="*/ 1196235 h 1287049"/>
              <a:gd name="connsiteX77" fmla="*/ 46525 w 1822089"/>
              <a:gd name="connsiteY77" fmla="*/ 1199367 h 1287049"/>
              <a:gd name="connsiteX78" fmla="*/ 52788 w 1822089"/>
              <a:gd name="connsiteY78" fmla="*/ 1208761 h 1287049"/>
              <a:gd name="connsiteX79" fmla="*/ 59051 w 1822089"/>
              <a:gd name="connsiteY79" fmla="*/ 1227550 h 1287049"/>
              <a:gd name="connsiteX80" fmla="*/ 68445 w 1822089"/>
              <a:gd name="connsiteY80" fmla="*/ 1246339 h 1287049"/>
              <a:gd name="connsiteX81" fmla="*/ 77840 w 1822089"/>
              <a:gd name="connsiteY81" fmla="*/ 1252602 h 1287049"/>
              <a:gd name="connsiteX82" fmla="*/ 99760 w 1822089"/>
              <a:gd name="connsiteY82" fmla="*/ 1249471 h 1287049"/>
              <a:gd name="connsiteX83" fmla="*/ 118549 w 1822089"/>
              <a:gd name="connsiteY83" fmla="*/ 1236945 h 1287049"/>
              <a:gd name="connsiteX84" fmla="*/ 127944 w 1822089"/>
              <a:gd name="connsiteY84" fmla="*/ 1233813 h 1287049"/>
              <a:gd name="connsiteX85" fmla="*/ 143601 w 1822089"/>
              <a:gd name="connsiteY85" fmla="*/ 1236945 h 1287049"/>
              <a:gd name="connsiteX86" fmla="*/ 152996 w 1822089"/>
              <a:gd name="connsiteY86" fmla="*/ 1240076 h 1287049"/>
              <a:gd name="connsiteX87" fmla="*/ 196837 w 1822089"/>
              <a:gd name="connsiteY87" fmla="*/ 1233813 h 1287049"/>
              <a:gd name="connsiteX88" fmla="*/ 225020 w 1822089"/>
              <a:gd name="connsiteY88" fmla="*/ 1224419 h 1287049"/>
              <a:gd name="connsiteX89" fmla="*/ 250072 w 1822089"/>
              <a:gd name="connsiteY89" fmla="*/ 1227550 h 1287049"/>
              <a:gd name="connsiteX90" fmla="*/ 259467 w 1822089"/>
              <a:gd name="connsiteY90" fmla="*/ 1230682 h 1287049"/>
              <a:gd name="connsiteX91" fmla="*/ 268861 w 1822089"/>
              <a:gd name="connsiteY91" fmla="*/ 1236945 h 1287049"/>
              <a:gd name="connsiteX92" fmla="*/ 284519 w 1822089"/>
              <a:gd name="connsiteY92" fmla="*/ 1240076 h 1287049"/>
              <a:gd name="connsiteX93" fmla="*/ 293914 w 1822089"/>
              <a:gd name="connsiteY93" fmla="*/ 1243208 h 1287049"/>
              <a:gd name="connsiteX94" fmla="*/ 325229 w 1822089"/>
              <a:gd name="connsiteY94" fmla="*/ 1252602 h 1287049"/>
              <a:gd name="connsiteX95" fmla="*/ 344018 w 1822089"/>
              <a:gd name="connsiteY95" fmla="*/ 1258865 h 1287049"/>
              <a:gd name="connsiteX96" fmla="*/ 353412 w 1822089"/>
              <a:gd name="connsiteY96" fmla="*/ 1261997 h 1287049"/>
              <a:gd name="connsiteX97" fmla="*/ 384727 w 1822089"/>
              <a:gd name="connsiteY97" fmla="*/ 1258865 h 1287049"/>
              <a:gd name="connsiteX98" fmla="*/ 403516 w 1822089"/>
              <a:gd name="connsiteY98" fmla="*/ 1249471 h 1287049"/>
              <a:gd name="connsiteX99" fmla="*/ 428568 w 1822089"/>
              <a:gd name="connsiteY99" fmla="*/ 1243208 h 1287049"/>
              <a:gd name="connsiteX100" fmla="*/ 437963 w 1822089"/>
              <a:gd name="connsiteY100" fmla="*/ 1240076 h 1287049"/>
              <a:gd name="connsiteX101" fmla="*/ 484935 w 1822089"/>
              <a:gd name="connsiteY101" fmla="*/ 1243208 h 1287049"/>
              <a:gd name="connsiteX102" fmla="*/ 503725 w 1822089"/>
              <a:gd name="connsiteY102" fmla="*/ 1246339 h 1287049"/>
              <a:gd name="connsiteX103" fmla="*/ 516251 w 1822089"/>
              <a:gd name="connsiteY103" fmla="*/ 1249471 h 1287049"/>
              <a:gd name="connsiteX104" fmla="*/ 572618 w 1822089"/>
              <a:gd name="connsiteY104" fmla="*/ 1252602 h 1287049"/>
              <a:gd name="connsiteX105" fmla="*/ 594538 w 1822089"/>
              <a:gd name="connsiteY105" fmla="*/ 1261997 h 1287049"/>
              <a:gd name="connsiteX106" fmla="*/ 613327 w 1822089"/>
              <a:gd name="connsiteY106" fmla="*/ 1268260 h 1287049"/>
              <a:gd name="connsiteX107" fmla="*/ 650905 w 1822089"/>
              <a:gd name="connsiteY107" fmla="*/ 1280786 h 1287049"/>
              <a:gd name="connsiteX108" fmla="*/ 663431 w 1822089"/>
              <a:gd name="connsiteY108" fmla="*/ 1283917 h 1287049"/>
              <a:gd name="connsiteX109" fmla="*/ 672826 w 1822089"/>
              <a:gd name="connsiteY109" fmla="*/ 1287049 h 1287049"/>
              <a:gd name="connsiteX110" fmla="*/ 704141 w 1822089"/>
              <a:gd name="connsiteY110" fmla="*/ 1283917 h 1287049"/>
              <a:gd name="connsiteX111" fmla="*/ 713535 w 1822089"/>
              <a:gd name="connsiteY111" fmla="*/ 1280786 h 1287049"/>
              <a:gd name="connsiteX112" fmla="*/ 757377 w 1822089"/>
              <a:gd name="connsiteY112" fmla="*/ 1274523 h 1287049"/>
              <a:gd name="connsiteX113" fmla="*/ 826270 w 1822089"/>
              <a:gd name="connsiteY113" fmla="*/ 1271391 h 1287049"/>
              <a:gd name="connsiteX114" fmla="*/ 832533 w 1822089"/>
              <a:gd name="connsiteY114" fmla="*/ 1261997 h 1287049"/>
              <a:gd name="connsiteX115" fmla="*/ 838796 w 1822089"/>
              <a:gd name="connsiteY115" fmla="*/ 1236945 h 1287049"/>
              <a:gd name="connsiteX116" fmla="*/ 841927 w 1822089"/>
              <a:gd name="connsiteY116" fmla="*/ 1227550 h 1287049"/>
              <a:gd name="connsiteX117" fmla="*/ 845059 w 1822089"/>
              <a:gd name="connsiteY117" fmla="*/ 1208761 h 1287049"/>
              <a:gd name="connsiteX118" fmla="*/ 848190 w 1822089"/>
              <a:gd name="connsiteY118" fmla="*/ 989556 h 1287049"/>
              <a:gd name="connsiteX119" fmla="*/ 851322 w 1822089"/>
              <a:gd name="connsiteY119" fmla="*/ 980161 h 1287049"/>
              <a:gd name="connsiteX120" fmla="*/ 854453 w 1822089"/>
              <a:gd name="connsiteY120" fmla="*/ 958241 h 1287049"/>
              <a:gd name="connsiteX121" fmla="*/ 857585 w 1822089"/>
              <a:gd name="connsiteY121" fmla="*/ 886216 h 1287049"/>
              <a:gd name="connsiteX122" fmla="*/ 860716 w 1822089"/>
              <a:gd name="connsiteY122" fmla="*/ 876821 h 1287049"/>
              <a:gd name="connsiteX123" fmla="*/ 863848 w 1822089"/>
              <a:gd name="connsiteY123" fmla="*/ 848638 h 1287049"/>
              <a:gd name="connsiteX124" fmla="*/ 866979 w 1822089"/>
              <a:gd name="connsiteY124" fmla="*/ 770350 h 1287049"/>
              <a:gd name="connsiteX125" fmla="*/ 876374 w 1822089"/>
              <a:gd name="connsiteY125" fmla="*/ 767219 h 1287049"/>
              <a:gd name="connsiteX126" fmla="*/ 967188 w 1822089"/>
              <a:gd name="connsiteY126" fmla="*/ 770350 h 1287049"/>
              <a:gd name="connsiteX127" fmla="*/ 1111237 w 1822089"/>
              <a:gd name="connsiteY127" fmla="*/ 776613 h 1287049"/>
              <a:gd name="connsiteX128" fmla="*/ 1136289 w 1822089"/>
              <a:gd name="connsiteY128" fmla="*/ 779745 h 1287049"/>
              <a:gd name="connsiteX129" fmla="*/ 1330442 w 1822089"/>
              <a:gd name="connsiteY129" fmla="*/ 786008 h 1287049"/>
              <a:gd name="connsiteX130" fmla="*/ 1364889 w 1822089"/>
              <a:gd name="connsiteY130" fmla="*/ 789139 h 1287049"/>
              <a:gd name="connsiteX131" fmla="*/ 1374283 w 1822089"/>
              <a:gd name="connsiteY131" fmla="*/ 792271 h 1287049"/>
              <a:gd name="connsiteX132" fmla="*/ 1555911 w 1822089"/>
              <a:gd name="connsiteY132" fmla="*/ 798534 h 1287049"/>
              <a:gd name="connsiteX133" fmla="*/ 1602883 w 1822089"/>
              <a:gd name="connsiteY133" fmla="*/ 801665 h 1287049"/>
              <a:gd name="connsiteX134" fmla="*/ 1800168 w 1822089"/>
              <a:gd name="connsiteY134" fmla="*/ 807928 h 1287049"/>
              <a:gd name="connsiteX135" fmla="*/ 1800168 w 1822089"/>
              <a:gd name="connsiteY135" fmla="*/ 760956 h 1287049"/>
              <a:gd name="connsiteX136" fmla="*/ 1803300 w 1822089"/>
              <a:gd name="connsiteY136" fmla="*/ 645090 h 1287049"/>
              <a:gd name="connsiteX137" fmla="*/ 1806431 w 1822089"/>
              <a:gd name="connsiteY137" fmla="*/ 632564 h 1287049"/>
              <a:gd name="connsiteX138" fmla="*/ 1809563 w 1822089"/>
              <a:gd name="connsiteY138" fmla="*/ 616906 h 1287049"/>
              <a:gd name="connsiteX139" fmla="*/ 1812694 w 1822089"/>
              <a:gd name="connsiteY139" fmla="*/ 585591 h 1287049"/>
              <a:gd name="connsiteX140" fmla="*/ 1815826 w 1822089"/>
              <a:gd name="connsiteY140" fmla="*/ 576197 h 1287049"/>
              <a:gd name="connsiteX141" fmla="*/ 1822089 w 1822089"/>
              <a:gd name="connsiteY141" fmla="*/ 519830 h 1287049"/>
              <a:gd name="connsiteX142" fmla="*/ 1818957 w 1822089"/>
              <a:gd name="connsiteY142" fmla="*/ 485383 h 1287049"/>
              <a:gd name="connsiteX143" fmla="*/ 1781379 w 1822089"/>
              <a:gd name="connsiteY143" fmla="*/ 466594 h 1287049"/>
              <a:gd name="connsiteX144" fmla="*/ 1771985 w 1822089"/>
              <a:gd name="connsiteY144" fmla="*/ 463463 h 1287049"/>
              <a:gd name="connsiteX145" fmla="*/ 1762590 w 1822089"/>
              <a:gd name="connsiteY145" fmla="*/ 457200 h 1287049"/>
              <a:gd name="connsiteX146" fmla="*/ 1753196 w 1822089"/>
              <a:gd name="connsiteY146" fmla="*/ 454068 h 1287049"/>
              <a:gd name="connsiteX147" fmla="*/ 1728144 w 1822089"/>
              <a:gd name="connsiteY147" fmla="*/ 425884 h 1287049"/>
              <a:gd name="connsiteX148" fmla="*/ 1718749 w 1822089"/>
              <a:gd name="connsiteY148" fmla="*/ 416490 h 1287049"/>
              <a:gd name="connsiteX149" fmla="*/ 1706223 w 1822089"/>
              <a:gd name="connsiteY149" fmla="*/ 397701 h 1287049"/>
              <a:gd name="connsiteX150" fmla="*/ 1681171 w 1822089"/>
              <a:gd name="connsiteY150" fmla="*/ 360123 h 1287049"/>
              <a:gd name="connsiteX151" fmla="*/ 1668645 w 1822089"/>
              <a:gd name="connsiteY151" fmla="*/ 341334 h 1287049"/>
              <a:gd name="connsiteX152" fmla="*/ 1662382 w 1822089"/>
              <a:gd name="connsiteY152" fmla="*/ 331939 h 1287049"/>
              <a:gd name="connsiteX153" fmla="*/ 1652988 w 1822089"/>
              <a:gd name="connsiteY153" fmla="*/ 306887 h 1287049"/>
              <a:gd name="connsiteX154" fmla="*/ 1599752 w 1822089"/>
              <a:gd name="connsiteY154" fmla="*/ 313150 h 1287049"/>
              <a:gd name="connsiteX155" fmla="*/ 1577831 w 1822089"/>
              <a:gd name="connsiteY155" fmla="*/ 300624 h 1287049"/>
              <a:gd name="connsiteX156" fmla="*/ 1571568 w 1822089"/>
              <a:gd name="connsiteY156" fmla="*/ 291230 h 1287049"/>
              <a:gd name="connsiteX157" fmla="*/ 1562174 w 1822089"/>
              <a:gd name="connsiteY157" fmla="*/ 284967 h 1287049"/>
              <a:gd name="connsiteX158" fmla="*/ 1552779 w 1822089"/>
              <a:gd name="connsiteY158" fmla="*/ 275572 h 1287049"/>
              <a:gd name="connsiteX159" fmla="*/ 1524596 w 1822089"/>
              <a:gd name="connsiteY159" fmla="*/ 259915 h 1287049"/>
              <a:gd name="connsiteX160" fmla="*/ 1515201 w 1822089"/>
              <a:gd name="connsiteY160" fmla="*/ 250520 h 1287049"/>
              <a:gd name="connsiteX161" fmla="*/ 1505807 w 1822089"/>
              <a:gd name="connsiteY161" fmla="*/ 244257 h 1287049"/>
              <a:gd name="connsiteX162" fmla="*/ 1493281 w 1822089"/>
              <a:gd name="connsiteY162" fmla="*/ 234863 h 1287049"/>
              <a:gd name="connsiteX163" fmla="*/ 1474492 w 1822089"/>
              <a:gd name="connsiteY163" fmla="*/ 225468 h 1287049"/>
              <a:gd name="connsiteX164" fmla="*/ 1424388 w 1822089"/>
              <a:gd name="connsiteY164" fmla="*/ 222336 h 1287049"/>
              <a:gd name="connsiteX165" fmla="*/ 1405598 w 1822089"/>
              <a:gd name="connsiteY165" fmla="*/ 212942 h 1287049"/>
              <a:gd name="connsiteX166" fmla="*/ 1396204 w 1822089"/>
              <a:gd name="connsiteY166" fmla="*/ 203547 h 1287049"/>
              <a:gd name="connsiteX167" fmla="*/ 1383678 w 1822089"/>
              <a:gd name="connsiteY167" fmla="*/ 197284 h 1287049"/>
              <a:gd name="connsiteX168" fmla="*/ 1377415 w 1822089"/>
              <a:gd name="connsiteY168" fmla="*/ 187890 h 1287049"/>
              <a:gd name="connsiteX169" fmla="*/ 1349231 w 1822089"/>
              <a:gd name="connsiteY169" fmla="*/ 172232 h 1287049"/>
              <a:gd name="connsiteX170" fmla="*/ 1295996 w 1822089"/>
              <a:gd name="connsiteY170" fmla="*/ 169101 h 1287049"/>
              <a:gd name="connsiteX171" fmla="*/ 1267812 w 1822089"/>
              <a:gd name="connsiteY171" fmla="*/ 162838 h 1287049"/>
              <a:gd name="connsiteX172" fmla="*/ 1258418 w 1822089"/>
              <a:gd name="connsiteY172" fmla="*/ 159706 h 1287049"/>
              <a:gd name="connsiteX173" fmla="*/ 1164472 w 1822089"/>
              <a:gd name="connsiteY173" fmla="*/ 165969 h 1287049"/>
              <a:gd name="connsiteX174" fmla="*/ 1155078 w 1822089"/>
              <a:gd name="connsiteY174" fmla="*/ 169101 h 1287049"/>
              <a:gd name="connsiteX175" fmla="*/ 1145683 w 1822089"/>
              <a:gd name="connsiteY175" fmla="*/ 175364 h 1287049"/>
              <a:gd name="connsiteX176" fmla="*/ 1070527 w 1822089"/>
              <a:gd name="connsiteY176" fmla="*/ 172232 h 1287049"/>
              <a:gd name="connsiteX177" fmla="*/ 1042344 w 1822089"/>
              <a:gd name="connsiteY177" fmla="*/ 159706 h 1287049"/>
              <a:gd name="connsiteX178" fmla="*/ 1032949 w 1822089"/>
              <a:gd name="connsiteY178" fmla="*/ 156575 h 1287049"/>
              <a:gd name="connsiteX179" fmla="*/ 1014160 w 1822089"/>
              <a:gd name="connsiteY179" fmla="*/ 147180 h 1287049"/>
              <a:gd name="connsiteX180" fmla="*/ 1004766 w 1822089"/>
              <a:gd name="connsiteY180" fmla="*/ 140917 h 1287049"/>
              <a:gd name="connsiteX181" fmla="*/ 998503 w 1822089"/>
              <a:gd name="connsiteY181" fmla="*/ 131523 h 1287049"/>
              <a:gd name="connsiteX182" fmla="*/ 989108 w 1822089"/>
              <a:gd name="connsiteY182" fmla="*/ 93945 h 1287049"/>
              <a:gd name="connsiteX183" fmla="*/ 982845 w 1822089"/>
              <a:gd name="connsiteY183" fmla="*/ 75156 h 1287049"/>
              <a:gd name="connsiteX184" fmla="*/ 967188 w 1822089"/>
              <a:gd name="connsiteY184" fmla="*/ 53235 h 1287049"/>
              <a:gd name="connsiteX185" fmla="*/ 960925 w 1822089"/>
              <a:gd name="connsiteY185" fmla="*/ 40709 h 1287049"/>
              <a:gd name="connsiteX186" fmla="*/ 954661 w 1822089"/>
              <a:gd name="connsiteY186" fmla="*/ 31315 h 1287049"/>
              <a:gd name="connsiteX187" fmla="*/ 945267 w 1822089"/>
              <a:gd name="connsiteY187" fmla="*/ 9394 h 1287049"/>
              <a:gd name="connsiteX188" fmla="*/ 939004 w 1822089"/>
              <a:gd name="connsiteY188" fmla="*/ 0 h 1287049"/>
              <a:gd name="connsiteX0" fmla="*/ 939004 w 1822089"/>
              <a:gd name="connsiteY0" fmla="*/ 0 h 1287049"/>
              <a:gd name="connsiteX1" fmla="*/ 923346 w 1822089"/>
              <a:gd name="connsiteY1" fmla="*/ 9394 h 1287049"/>
              <a:gd name="connsiteX2" fmla="*/ 913952 w 1822089"/>
              <a:gd name="connsiteY2" fmla="*/ 12526 h 1287049"/>
              <a:gd name="connsiteX3" fmla="*/ 904557 w 1822089"/>
              <a:gd name="connsiteY3" fmla="*/ 21920 h 1287049"/>
              <a:gd name="connsiteX4" fmla="*/ 885768 w 1822089"/>
              <a:gd name="connsiteY4" fmla="*/ 28183 h 1287049"/>
              <a:gd name="connsiteX5" fmla="*/ 866979 w 1822089"/>
              <a:gd name="connsiteY5" fmla="*/ 34446 h 1287049"/>
              <a:gd name="connsiteX6" fmla="*/ 835664 w 1822089"/>
              <a:gd name="connsiteY6" fmla="*/ 40709 h 1287049"/>
              <a:gd name="connsiteX7" fmla="*/ 816875 w 1822089"/>
              <a:gd name="connsiteY7" fmla="*/ 43841 h 1287049"/>
              <a:gd name="connsiteX8" fmla="*/ 788692 w 1822089"/>
              <a:gd name="connsiteY8" fmla="*/ 50104 h 1287049"/>
              <a:gd name="connsiteX9" fmla="*/ 738588 w 1822089"/>
              <a:gd name="connsiteY9" fmla="*/ 56367 h 1287049"/>
              <a:gd name="connsiteX10" fmla="*/ 722930 w 1822089"/>
              <a:gd name="connsiteY10" fmla="*/ 59498 h 1287049"/>
              <a:gd name="connsiteX11" fmla="*/ 697878 w 1822089"/>
              <a:gd name="connsiteY11" fmla="*/ 62630 h 1287049"/>
              <a:gd name="connsiteX12" fmla="*/ 679089 w 1822089"/>
              <a:gd name="connsiteY12" fmla="*/ 65761 h 1287049"/>
              <a:gd name="connsiteX13" fmla="*/ 635248 w 1822089"/>
              <a:gd name="connsiteY13" fmla="*/ 72024 h 1287049"/>
              <a:gd name="connsiteX14" fmla="*/ 625853 w 1822089"/>
              <a:gd name="connsiteY14" fmla="*/ 75156 h 1287049"/>
              <a:gd name="connsiteX15" fmla="*/ 603933 w 1822089"/>
              <a:gd name="connsiteY15" fmla="*/ 100208 h 1287049"/>
              <a:gd name="connsiteX16" fmla="*/ 597670 w 1822089"/>
              <a:gd name="connsiteY16" fmla="*/ 109602 h 1287049"/>
              <a:gd name="connsiteX17" fmla="*/ 591407 w 1822089"/>
              <a:gd name="connsiteY17" fmla="*/ 128391 h 1287049"/>
              <a:gd name="connsiteX18" fmla="*/ 563223 w 1822089"/>
              <a:gd name="connsiteY18" fmla="*/ 150312 h 1287049"/>
              <a:gd name="connsiteX19" fmla="*/ 553829 w 1822089"/>
              <a:gd name="connsiteY19" fmla="*/ 156575 h 1287049"/>
              <a:gd name="connsiteX20" fmla="*/ 547566 w 1822089"/>
              <a:gd name="connsiteY20" fmla="*/ 165969 h 1287049"/>
              <a:gd name="connsiteX21" fmla="*/ 541303 w 1822089"/>
              <a:gd name="connsiteY21" fmla="*/ 184758 h 1287049"/>
              <a:gd name="connsiteX22" fmla="*/ 538171 w 1822089"/>
              <a:gd name="connsiteY22" fmla="*/ 194153 h 1287049"/>
              <a:gd name="connsiteX23" fmla="*/ 519382 w 1822089"/>
              <a:gd name="connsiteY23" fmla="*/ 250520 h 1287049"/>
              <a:gd name="connsiteX24" fmla="*/ 509988 w 1822089"/>
              <a:gd name="connsiteY24" fmla="*/ 278704 h 1287049"/>
              <a:gd name="connsiteX25" fmla="*/ 506856 w 1822089"/>
              <a:gd name="connsiteY25" fmla="*/ 288098 h 1287049"/>
              <a:gd name="connsiteX26" fmla="*/ 488067 w 1822089"/>
              <a:gd name="connsiteY26" fmla="*/ 316282 h 1287049"/>
              <a:gd name="connsiteX27" fmla="*/ 481804 w 1822089"/>
              <a:gd name="connsiteY27" fmla="*/ 325676 h 1287049"/>
              <a:gd name="connsiteX28" fmla="*/ 469278 w 1822089"/>
              <a:gd name="connsiteY28" fmla="*/ 363254 h 1287049"/>
              <a:gd name="connsiteX29" fmla="*/ 466146 w 1822089"/>
              <a:gd name="connsiteY29" fmla="*/ 372649 h 1287049"/>
              <a:gd name="connsiteX30" fmla="*/ 463015 w 1822089"/>
              <a:gd name="connsiteY30" fmla="*/ 382043 h 1287049"/>
              <a:gd name="connsiteX31" fmla="*/ 456752 w 1822089"/>
              <a:gd name="connsiteY31" fmla="*/ 391438 h 1287049"/>
              <a:gd name="connsiteX32" fmla="*/ 450489 w 1822089"/>
              <a:gd name="connsiteY32" fmla="*/ 410227 h 1287049"/>
              <a:gd name="connsiteX33" fmla="*/ 447357 w 1822089"/>
              <a:gd name="connsiteY33" fmla="*/ 419621 h 1287049"/>
              <a:gd name="connsiteX34" fmla="*/ 441094 w 1822089"/>
              <a:gd name="connsiteY34" fmla="*/ 429016 h 1287049"/>
              <a:gd name="connsiteX35" fmla="*/ 431700 w 1822089"/>
              <a:gd name="connsiteY35" fmla="*/ 447805 h 1287049"/>
              <a:gd name="connsiteX36" fmla="*/ 425437 w 1822089"/>
              <a:gd name="connsiteY36" fmla="*/ 466594 h 1287049"/>
              <a:gd name="connsiteX37" fmla="*/ 419174 w 1822089"/>
              <a:gd name="connsiteY37" fmla="*/ 485383 h 1287049"/>
              <a:gd name="connsiteX38" fmla="*/ 412911 w 1822089"/>
              <a:gd name="connsiteY38" fmla="*/ 494778 h 1287049"/>
              <a:gd name="connsiteX39" fmla="*/ 409779 w 1822089"/>
              <a:gd name="connsiteY39" fmla="*/ 504172 h 1287049"/>
              <a:gd name="connsiteX40" fmla="*/ 387859 w 1822089"/>
              <a:gd name="connsiteY40" fmla="*/ 532356 h 1287049"/>
              <a:gd name="connsiteX41" fmla="*/ 381596 w 1822089"/>
              <a:gd name="connsiteY41" fmla="*/ 541750 h 1287049"/>
              <a:gd name="connsiteX42" fmla="*/ 372201 w 1822089"/>
              <a:gd name="connsiteY42" fmla="*/ 544882 h 1287049"/>
              <a:gd name="connsiteX43" fmla="*/ 344018 w 1822089"/>
              <a:gd name="connsiteY43" fmla="*/ 563671 h 1287049"/>
              <a:gd name="connsiteX44" fmla="*/ 331492 w 1822089"/>
              <a:gd name="connsiteY44" fmla="*/ 569934 h 1287049"/>
              <a:gd name="connsiteX45" fmla="*/ 312703 w 1822089"/>
              <a:gd name="connsiteY45" fmla="*/ 576197 h 1287049"/>
              <a:gd name="connsiteX46" fmla="*/ 287651 w 1822089"/>
              <a:gd name="connsiteY46" fmla="*/ 582460 h 1287049"/>
              <a:gd name="connsiteX47" fmla="*/ 256335 w 1822089"/>
              <a:gd name="connsiteY47" fmla="*/ 585591 h 1287049"/>
              <a:gd name="connsiteX48" fmla="*/ 246941 w 1822089"/>
              <a:gd name="connsiteY48" fmla="*/ 591854 h 1287049"/>
              <a:gd name="connsiteX49" fmla="*/ 225020 w 1822089"/>
              <a:gd name="connsiteY49" fmla="*/ 620038 h 1287049"/>
              <a:gd name="connsiteX50" fmla="*/ 184311 w 1822089"/>
              <a:gd name="connsiteY50" fmla="*/ 629432 h 1287049"/>
              <a:gd name="connsiteX51" fmla="*/ 156127 w 1822089"/>
              <a:gd name="connsiteY51" fmla="*/ 638827 h 1287049"/>
              <a:gd name="connsiteX52" fmla="*/ 146733 w 1822089"/>
              <a:gd name="connsiteY52" fmla="*/ 645090 h 1287049"/>
              <a:gd name="connsiteX53" fmla="*/ 140470 w 1822089"/>
              <a:gd name="connsiteY53" fmla="*/ 654484 h 1287049"/>
              <a:gd name="connsiteX54" fmla="*/ 131075 w 1822089"/>
              <a:gd name="connsiteY54" fmla="*/ 685800 h 1287049"/>
              <a:gd name="connsiteX55" fmla="*/ 124812 w 1822089"/>
              <a:gd name="connsiteY55" fmla="*/ 726509 h 1287049"/>
              <a:gd name="connsiteX56" fmla="*/ 109155 w 1822089"/>
              <a:gd name="connsiteY56" fmla="*/ 745298 h 1287049"/>
              <a:gd name="connsiteX57" fmla="*/ 102892 w 1822089"/>
              <a:gd name="connsiteY57" fmla="*/ 754693 h 1287049"/>
              <a:gd name="connsiteX58" fmla="*/ 96629 w 1822089"/>
              <a:gd name="connsiteY58" fmla="*/ 779745 h 1287049"/>
              <a:gd name="connsiteX59" fmla="*/ 90366 w 1822089"/>
              <a:gd name="connsiteY59" fmla="*/ 798534 h 1287049"/>
              <a:gd name="connsiteX60" fmla="*/ 84103 w 1822089"/>
              <a:gd name="connsiteY60" fmla="*/ 807928 h 1287049"/>
              <a:gd name="connsiteX61" fmla="*/ 80971 w 1822089"/>
              <a:gd name="connsiteY61" fmla="*/ 817323 h 1287049"/>
              <a:gd name="connsiteX62" fmla="*/ 77840 w 1822089"/>
              <a:gd name="connsiteY62" fmla="*/ 836112 h 1287049"/>
              <a:gd name="connsiteX63" fmla="*/ 74708 w 1822089"/>
              <a:gd name="connsiteY63" fmla="*/ 845506 h 1287049"/>
              <a:gd name="connsiteX64" fmla="*/ 68445 w 1822089"/>
              <a:gd name="connsiteY64" fmla="*/ 873690 h 1287049"/>
              <a:gd name="connsiteX65" fmla="*/ 62182 w 1822089"/>
              <a:gd name="connsiteY65" fmla="*/ 883084 h 1287049"/>
              <a:gd name="connsiteX66" fmla="*/ 59051 w 1822089"/>
              <a:gd name="connsiteY66" fmla="*/ 892479 h 1287049"/>
              <a:gd name="connsiteX67" fmla="*/ 52788 w 1822089"/>
              <a:gd name="connsiteY67" fmla="*/ 901873 h 1287049"/>
              <a:gd name="connsiteX68" fmla="*/ 40261 w 1822089"/>
              <a:gd name="connsiteY68" fmla="*/ 930057 h 1287049"/>
              <a:gd name="connsiteX69" fmla="*/ 27735 w 1822089"/>
              <a:gd name="connsiteY69" fmla="*/ 967635 h 1287049"/>
              <a:gd name="connsiteX70" fmla="*/ 24604 w 1822089"/>
              <a:gd name="connsiteY70" fmla="*/ 977030 h 1287049"/>
              <a:gd name="connsiteX71" fmla="*/ 18341 w 1822089"/>
              <a:gd name="connsiteY71" fmla="*/ 986424 h 1287049"/>
              <a:gd name="connsiteX72" fmla="*/ 12078 w 1822089"/>
              <a:gd name="connsiteY72" fmla="*/ 1005213 h 1287049"/>
              <a:gd name="connsiteX73" fmla="*/ 8946 w 1822089"/>
              <a:gd name="connsiteY73" fmla="*/ 1099158 h 1287049"/>
              <a:gd name="connsiteX74" fmla="*/ 5815 w 1822089"/>
              <a:gd name="connsiteY74" fmla="*/ 1111684 h 1287049"/>
              <a:gd name="connsiteX75" fmla="*/ 2683 w 1822089"/>
              <a:gd name="connsiteY75" fmla="*/ 1133605 h 1287049"/>
              <a:gd name="connsiteX76" fmla="*/ 5815 w 1822089"/>
              <a:gd name="connsiteY76" fmla="*/ 1196235 h 1287049"/>
              <a:gd name="connsiteX77" fmla="*/ 46525 w 1822089"/>
              <a:gd name="connsiteY77" fmla="*/ 1199367 h 1287049"/>
              <a:gd name="connsiteX78" fmla="*/ 52788 w 1822089"/>
              <a:gd name="connsiteY78" fmla="*/ 1208761 h 1287049"/>
              <a:gd name="connsiteX79" fmla="*/ 59051 w 1822089"/>
              <a:gd name="connsiteY79" fmla="*/ 1227550 h 1287049"/>
              <a:gd name="connsiteX80" fmla="*/ 68445 w 1822089"/>
              <a:gd name="connsiteY80" fmla="*/ 1246339 h 1287049"/>
              <a:gd name="connsiteX81" fmla="*/ 77840 w 1822089"/>
              <a:gd name="connsiteY81" fmla="*/ 1252602 h 1287049"/>
              <a:gd name="connsiteX82" fmla="*/ 99760 w 1822089"/>
              <a:gd name="connsiteY82" fmla="*/ 1249471 h 1287049"/>
              <a:gd name="connsiteX83" fmla="*/ 118549 w 1822089"/>
              <a:gd name="connsiteY83" fmla="*/ 1236945 h 1287049"/>
              <a:gd name="connsiteX84" fmla="*/ 127944 w 1822089"/>
              <a:gd name="connsiteY84" fmla="*/ 1233813 h 1287049"/>
              <a:gd name="connsiteX85" fmla="*/ 143601 w 1822089"/>
              <a:gd name="connsiteY85" fmla="*/ 1236945 h 1287049"/>
              <a:gd name="connsiteX86" fmla="*/ 152996 w 1822089"/>
              <a:gd name="connsiteY86" fmla="*/ 1240076 h 1287049"/>
              <a:gd name="connsiteX87" fmla="*/ 196837 w 1822089"/>
              <a:gd name="connsiteY87" fmla="*/ 1233813 h 1287049"/>
              <a:gd name="connsiteX88" fmla="*/ 225020 w 1822089"/>
              <a:gd name="connsiteY88" fmla="*/ 1224419 h 1287049"/>
              <a:gd name="connsiteX89" fmla="*/ 250072 w 1822089"/>
              <a:gd name="connsiteY89" fmla="*/ 1227550 h 1287049"/>
              <a:gd name="connsiteX90" fmla="*/ 259467 w 1822089"/>
              <a:gd name="connsiteY90" fmla="*/ 1230682 h 1287049"/>
              <a:gd name="connsiteX91" fmla="*/ 268861 w 1822089"/>
              <a:gd name="connsiteY91" fmla="*/ 1236945 h 1287049"/>
              <a:gd name="connsiteX92" fmla="*/ 284519 w 1822089"/>
              <a:gd name="connsiteY92" fmla="*/ 1240076 h 1287049"/>
              <a:gd name="connsiteX93" fmla="*/ 293914 w 1822089"/>
              <a:gd name="connsiteY93" fmla="*/ 1243208 h 1287049"/>
              <a:gd name="connsiteX94" fmla="*/ 325229 w 1822089"/>
              <a:gd name="connsiteY94" fmla="*/ 1252602 h 1287049"/>
              <a:gd name="connsiteX95" fmla="*/ 344018 w 1822089"/>
              <a:gd name="connsiteY95" fmla="*/ 1258865 h 1287049"/>
              <a:gd name="connsiteX96" fmla="*/ 353412 w 1822089"/>
              <a:gd name="connsiteY96" fmla="*/ 1261997 h 1287049"/>
              <a:gd name="connsiteX97" fmla="*/ 384727 w 1822089"/>
              <a:gd name="connsiteY97" fmla="*/ 1258865 h 1287049"/>
              <a:gd name="connsiteX98" fmla="*/ 403516 w 1822089"/>
              <a:gd name="connsiteY98" fmla="*/ 1249471 h 1287049"/>
              <a:gd name="connsiteX99" fmla="*/ 428568 w 1822089"/>
              <a:gd name="connsiteY99" fmla="*/ 1243208 h 1287049"/>
              <a:gd name="connsiteX100" fmla="*/ 437963 w 1822089"/>
              <a:gd name="connsiteY100" fmla="*/ 1240076 h 1287049"/>
              <a:gd name="connsiteX101" fmla="*/ 484935 w 1822089"/>
              <a:gd name="connsiteY101" fmla="*/ 1243208 h 1287049"/>
              <a:gd name="connsiteX102" fmla="*/ 503725 w 1822089"/>
              <a:gd name="connsiteY102" fmla="*/ 1246339 h 1287049"/>
              <a:gd name="connsiteX103" fmla="*/ 516251 w 1822089"/>
              <a:gd name="connsiteY103" fmla="*/ 1249471 h 1287049"/>
              <a:gd name="connsiteX104" fmla="*/ 572618 w 1822089"/>
              <a:gd name="connsiteY104" fmla="*/ 1252602 h 1287049"/>
              <a:gd name="connsiteX105" fmla="*/ 594538 w 1822089"/>
              <a:gd name="connsiteY105" fmla="*/ 1261997 h 1287049"/>
              <a:gd name="connsiteX106" fmla="*/ 613327 w 1822089"/>
              <a:gd name="connsiteY106" fmla="*/ 1268260 h 1287049"/>
              <a:gd name="connsiteX107" fmla="*/ 650905 w 1822089"/>
              <a:gd name="connsiteY107" fmla="*/ 1280786 h 1287049"/>
              <a:gd name="connsiteX108" fmla="*/ 663431 w 1822089"/>
              <a:gd name="connsiteY108" fmla="*/ 1283917 h 1287049"/>
              <a:gd name="connsiteX109" fmla="*/ 672826 w 1822089"/>
              <a:gd name="connsiteY109" fmla="*/ 1287049 h 1287049"/>
              <a:gd name="connsiteX110" fmla="*/ 704141 w 1822089"/>
              <a:gd name="connsiteY110" fmla="*/ 1283917 h 1287049"/>
              <a:gd name="connsiteX111" fmla="*/ 713535 w 1822089"/>
              <a:gd name="connsiteY111" fmla="*/ 1280786 h 1287049"/>
              <a:gd name="connsiteX112" fmla="*/ 757377 w 1822089"/>
              <a:gd name="connsiteY112" fmla="*/ 1274523 h 1287049"/>
              <a:gd name="connsiteX113" fmla="*/ 826270 w 1822089"/>
              <a:gd name="connsiteY113" fmla="*/ 1271391 h 1287049"/>
              <a:gd name="connsiteX114" fmla="*/ 832533 w 1822089"/>
              <a:gd name="connsiteY114" fmla="*/ 1261997 h 1287049"/>
              <a:gd name="connsiteX115" fmla="*/ 838796 w 1822089"/>
              <a:gd name="connsiteY115" fmla="*/ 1236945 h 1287049"/>
              <a:gd name="connsiteX116" fmla="*/ 841927 w 1822089"/>
              <a:gd name="connsiteY116" fmla="*/ 1227550 h 1287049"/>
              <a:gd name="connsiteX117" fmla="*/ 845059 w 1822089"/>
              <a:gd name="connsiteY117" fmla="*/ 1208761 h 1287049"/>
              <a:gd name="connsiteX118" fmla="*/ 848190 w 1822089"/>
              <a:gd name="connsiteY118" fmla="*/ 989556 h 1287049"/>
              <a:gd name="connsiteX119" fmla="*/ 851322 w 1822089"/>
              <a:gd name="connsiteY119" fmla="*/ 980161 h 1287049"/>
              <a:gd name="connsiteX120" fmla="*/ 854453 w 1822089"/>
              <a:gd name="connsiteY120" fmla="*/ 958241 h 1287049"/>
              <a:gd name="connsiteX121" fmla="*/ 857585 w 1822089"/>
              <a:gd name="connsiteY121" fmla="*/ 886216 h 1287049"/>
              <a:gd name="connsiteX122" fmla="*/ 860716 w 1822089"/>
              <a:gd name="connsiteY122" fmla="*/ 876821 h 1287049"/>
              <a:gd name="connsiteX123" fmla="*/ 863848 w 1822089"/>
              <a:gd name="connsiteY123" fmla="*/ 848638 h 1287049"/>
              <a:gd name="connsiteX124" fmla="*/ 866979 w 1822089"/>
              <a:gd name="connsiteY124" fmla="*/ 770350 h 1287049"/>
              <a:gd name="connsiteX125" fmla="*/ 876374 w 1822089"/>
              <a:gd name="connsiteY125" fmla="*/ 767219 h 1287049"/>
              <a:gd name="connsiteX126" fmla="*/ 967188 w 1822089"/>
              <a:gd name="connsiteY126" fmla="*/ 770350 h 1287049"/>
              <a:gd name="connsiteX127" fmla="*/ 1111237 w 1822089"/>
              <a:gd name="connsiteY127" fmla="*/ 776613 h 1287049"/>
              <a:gd name="connsiteX128" fmla="*/ 1136289 w 1822089"/>
              <a:gd name="connsiteY128" fmla="*/ 779745 h 1287049"/>
              <a:gd name="connsiteX129" fmla="*/ 1330442 w 1822089"/>
              <a:gd name="connsiteY129" fmla="*/ 786008 h 1287049"/>
              <a:gd name="connsiteX130" fmla="*/ 1364889 w 1822089"/>
              <a:gd name="connsiteY130" fmla="*/ 789139 h 1287049"/>
              <a:gd name="connsiteX131" fmla="*/ 1374283 w 1822089"/>
              <a:gd name="connsiteY131" fmla="*/ 792271 h 1287049"/>
              <a:gd name="connsiteX132" fmla="*/ 1555911 w 1822089"/>
              <a:gd name="connsiteY132" fmla="*/ 798534 h 1287049"/>
              <a:gd name="connsiteX133" fmla="*/ 1602883 w 1822089"/>
              <a:gd name="connsiteY133" fmla="*/ 801665 h 1287049"/>
              <a:gd name="connsiteX134" fmla="*/ 1800168 w 1822089"/>
              <a:gd name="connsiteY134" fmla="*/ 807928 h 1287049"/>
              <a:gd name="connsiteX135" fmla="*/ 1800168 w 1822089"/>
              <a:gd name="connsiteY135" fmla="*/ 760956 h 1287049"/>
              <a:gd name="connsiteX136" fmla="*/ 1803300 w 1822089"/>
              <a:gd name="connsiteY136" fmla="*/ 645090 h 1287049"/>
              <a:gd name="connsiteX137" fmla="*/ 1806431 w 1822089"/>
              <a:gd name="connsiteY137" fmla="*/ 632564 h 1287049"/>
              <a:gd name="connsiteX138" fmla="*/ 1809563 w 1822089"/>
              <a:gd name="connsiteY138" fmla="*/ 616906 h 1287049"/>
              <a:gd name="connsiteX139" fmla="*/ 1812694 w 1822089"/>
              <a:gd name="connsiteY139" fmla="*/ 585591 h 1287049"/>
              <a:gd name="connsiteX140" fmla="*/ 1815826 w 1822089"/>
              <a:gd name="connsiteY140" fmla="*/ 576197 h 1287049"/>
              <a:gd name="connsiteX141" fmla="*/ 1822089 w 1822089"/>
              <a:gd name="connsiteY141" fmla="*/ 519830 h 1287049"/>
              <a:gd name="connsiteX142" fmla="*/ 1818957 w 1822089"/>
              <a:gd name="connsiteY142" fmla="*/ 485383 h 1287049"/>
              <a:gd name="connsiteX143" fmla="*/ 1781379 w 1822089"/>
              <a:gd name="connsiteY143" fmla="*/ 466594 h 1287049"/>
              <a:gd name="connsiteX144" fmla="*/ 1771985 w 1822089"/>
              <a:gd name="connsiteY144" fmla="*/ 463463 h 1287049"/>
              <a:gd name="connsiteX145" fmla="*/ 1762590 w 1822089"/>
              <a:gd name="connsiteY145" fmla="*/ 457200 h 1287049"/>
              <a:gd name="connsiteX146" fmla="*/ 1753196 w 1822089"/>
              <a:gd name="connsiteY146" fmla="*/ 454068 h 1287049"/>
              <a:gd name="connsiteX147" fmla="*/ 1728144 w 1822089"/>
              <a:gd name="connsiteY147" fmla="*/ 425884 h 1287049"/>
              <a:gd name="connsiteX148" fmla="*/ 1718749 w 1822089"/>
              <a:gd name="connsiteY148" fmla="*/ 416490 h 1287049"/>
              <a:gd name="connsiteX149" fmla="*/ 1706223 w 1822089"/>
              <a:gd name="connsiteY149" fmla="*/ 397701 h 1287049"/>
              <a:gd name="connsiteX150" fmla="*/ 1681171 w 1822089"/>
              <a:gd name="connsiteY150" fmla="*/ 360123 h 1287049"/>
              <a:gd name="connsiteX151" fmla="*/ 1668645 w 1822089"/>
              <a:gd name="connsiteY151" fmla="*/ 341334 h 1287049"/>
              <a:gd name="connsiteX152" fmla="*/ 1662382 w 1822089"/>
              <a:gd name="connsiteY152" fmla="*/ 331939 h 1287049"/>
              <a:gd name="connsiteX153" fmla="*/ 1652988 w 1822089"/>
              <a:gd name="connsiteY153" fmla="*/ 306887 h 1287049"/>
              <a:gd name="connsiteX154" fmla="*/ 1599752 w 1822089"/>
              <a:gd name="connsiteY154" fmla="*/ 313150 h 1287049"/>
              <a:gd name="connsiteX155" fmla="*/ 1577831 w 1822089"/>
              <a:gd name="connsiteY155" fmla="*/ 300624 h 1287049"/>
              <a:gd name="connsiteX156" fmla="*/ 1571568 w 1822089"/>
              <a:gd name="connsiteY156" fmla="*/ 291230 h 1287049"/>
              <a:gd name="connsiteX157" fmla="*/ 1562174 w 1822089"/>
              <a:gd name="connsiteY157" fmla="*/ 284967 h 1287049"/>
              <a:gd name="connsiteX158" fmla="*/ 1552779 w 1822089"/>
              <a:gd name="connsiteY158" fmla="*/ 275572 h 1287049"/>
              <a:gd name="connsiteX159" fmla="*/ 1524596 w 1822089"/>
              <a:gd name="connsiteY159" fmla="*/ 259915 h 1287049"/>
              <a:gd name="connsiteX160" fmla="*/ 1515201 w 1822089"/>
              <a:gd name="connsiteY160" fmla="*/ 250520 h 1287049"/>
              <a:gd name="connsiteX161" fmla="*/ 1505807 w 1822089"/>
              <a:gd name="connsiteY161" fmla="*/ 244257 h 1287049"/>
              <a:gd name="connsiteX162" fmla="*/ 1493281 w 1822089"/>
              <a:gd name="connsiteY162" fmla="*/ 234863 h 1287049"/>
              <a:gd name="connsiteX163" fmla="*/ 1474492 w 1822089"/>
              <a:gd name="connsiteY163" fmla="*/ 225468 h 1287049"/>
              <a:gd name="connsiteX164" fmla="*/ 1424388 w 1822089"/>
              <a:gd name="connsiteY164" fmla="*/ 222336 h 1287049"/>
              <a:gd name="connsiteX165" fmla="*/ 1405598 w 1822089"/>
              <a:gd name="connsiteY165" fmla="*/ 212942 h 1287049"/>
              <a:gd name="connsiteX166" fmla="*/ 1396204 w 1822089"/>
              <a:gd name="connsiteY166" fmla="*/ 203547 h 1287049"/>
              <a:gd name="connsiteX167" fmla="*/ 1383678 w 1822089"/>
              <a:gd name="connsiteY167" fmla="*/ 197284 h 1287049"/>
              <a:gd name="connsiteX168" fmla="*/ 1377415 w 1822089"/>
              <a:gd name="connsiteY168" fmla="*/ 187890 h 1287049"/>
              <a:gd name="connsiteX169" fmla="*/ 1349231 w 1822089"/>
              <a:gd name="connsiteY169" fmla="*/ 172232 h 1287049"/>
              <a:gd name="connsiteX170" fmla="*/ 1295996 w 1822089"/>
              <a:gd name="connsiteY170" fmla="*/ 169101 h 1287049"/>
              <a:gd name="connsiteX171" fmla="*/ 1267812 w 1822089"/>
              <a:gd name="connsiteY171" fmla="*/ 162838 h 1287049"/>
              <a:gd name="connsiteX172" fmla="*/ 1258418 w 1822089"/>
              <a:gd name="connsiteY172" fmla="*/ 159706 h 1287049"/>
              <a:gd name="connsiteX173" fmla="*/ 1164472 w 1822089"/>
              <a:gd name="connsiteY173" fmla="*/ 165969 h 1287049"/>
              <a:gd name="connsiteX174" fmla="*/ 1155078 w 1822089"/>
              <a:gd name="connsiteY174" fmla="*/ 169101 h 1287049"/>
              <a:gd name="connsiteX175" fmla="*/ 1145683 w 1822089"/>
              <a:gd name="connsiteY175" fmla="*/ 175364 h 1287049"/>
              <a:gd name="connsiteX176" fmla="*/ 1070527 w 1822089"/>
              <a:gd name="connsiteY176" fmla="*/ 172232 h 1287049"/>
              <a:gd name="connsiteX177" fmla="*/ 1042344 w 1822089"/>
              <a:gd name="connsiteY177" fmla="*/ 159706 h 1287049"/>
              <a:gd name="connsiteX178" fmla="*/ 1032949 w 1822089"/>
              <a:gd name="connsiteY178" fmla="*/ 156575 h 1287049"/>
              <a:gd name="connsiteX179" fmla="*/ 1014160 w 1822089"/>
              <a:gd name="connsiteY179" fmla="*/ 147180 h 1287049"/>
              <a:gd name="connsiteX180" fmla="*/ 1004766 w 1822089"/>
              <a:gd name="connsiteY180" fmla="*/ 140917 h 1287049"/>
              <a:gd name="connsiteX181" fmla="*/ 1007898 w 1822089"/>
              <a:gd name="connsiteY181" fmla="*/ 128392 h 1287049"/>
              <a:gd name="connsiteX182" fmla="*/ 989108 w 1822089"/>
              <a:gd name="connsiteY182" fmla="*/ 93945 h 1287049"/>
              <a:gd name="connsiteX183" fmla="*/ 982845 w 1822089"/>
              <a:gd name="connsiteY183" fmla="*/ 75156 h 1287049"/>
              <a:gd name="connsiteX184" fmla="*/ 967188 w 1822089"/>
              <a:gd name="connsiteY184" fmla="*/ 53235 h 1287049"/>
              <a:gd name="connsiteX185" fmla="*/ 960925 w 1822089"/>
              <a:gd name="connsiteY185" fmla="*/ 40709 h 1287049"/>
              <a:gd name="connsiteX186" fmla="*/ 954661 w 1822089"/>
              <a:gd name="connsiteY186" fmla="*/ 31315 h 1287049"/>
              <a:gd name="connsiteX187" fmla="*/ 945267 w 1822089"/>
              <a:gd name="connsiteY187" fmla="*/ 9394 h 1287049"/>
              <a:gd name="connsiteX188" fmla="*/ 939004 w 1822089"/>
              <a:gd name="connsiteY188" fmla="*/ 0 h 1287049"/>
              <a:gd name="connsiteX0" fmla="*/ 939004 w 1822089"/>
              <a:gd name="connsiteY0" fmla="*/ 0 h 1287049"/>
              <a:gd name="connsiteX1" fmla="*/ 923346 w 1822089"/>
              <a:gd name="connsiteY1" fmla="*/ 9394 h 1287049"/>
              <a:gd name="connsiteX2" fmla="*/ 913952 w 1822089"/>
              <a:gd name="connsiteY2" fmla="*/ 12526 h 1287049"/>
              <a:gd name="connsiteX3" fmla="*/ 904557 w 1822089"/>
              <a:gd name="connsiteY3" fmla="*/ 21920 h 1287049"/>
              <a:gd name="connsiteX4" fmla="*/ 885768 w 1822089"/>
              <a:gd name="connsiteY4" fmla="*/ 28183 h 1287049"/>
              <a:gd name="connsiteX5" fmla="*/ 866979 w 1822089"/>
              <a:gd name="connsiteY5" fmla="*/ 34446 h 1287049"/>
              <a:gd name="connsiteX6" fmla="*/ 835664 w 1822089"/>
              <a:gd name="connsiteY6" fmla="*/ 40709 h 1287049"/>
              <a:gd name="connsiteX7" fmla="*/ 816875 w 1822089"/>
              <a:gd name="connsiteY7" fmla="*/ 43841 h 1287049"/>
              <a:gd name="connsiteX8" fmla="*/ 788692 w 1822089"/>
              <a:gd name="connsiteY8" fmla="*/ 50104 h 1287049"/>
              <a:gd name="connsiteX9" fmla="*/ 738588 w 1822089"/>
              <a:gd name="connsiteY9" fmla="*/ 56367 h 1287049"/>
              <a:gd name="connsiteX10" fmla="*/ 722930 w 1822089"/>
              <a:gd name="connsiteY10" fmla="*/ 59498 h 1287049"/>
              <a:gd name="connsiteX11" fmla="*/ 697878 w 1822089"/>
              <a:gd name="connsiteY11" fmla="*/ 62630 h 1287049"/>
              <a:gd name="connsiteX12" fmla="*/ 679089 w 1822089"/>
              <a:gd name="connsiteY12" fmla="*/ 65761 h 1287049"/>
              <a:gd name="connsiteX13" fmla="*/ 635248 w 1822089"/>
              <a:gd name="connsiteY13" fmla="*/ 72024 h 1287049"/>
              <a:gd name="connsiteX14" fmla="*/ 625853 w 1822089"/>
              <a:gd name="connsiteY14" fmla="*/ 75156 h 1287049"/>
              <a:gd name="connsiteX15" fmla="*/ 603933 w 1822089"/>
              <a:gd name="connsiteY15" fmla="*/ 100208 h 1287049"/>
              <a:gd name="connsiteX16" fmla="*/ 597670 w 1822089"/>
              <a:gd name="connsiteY16" fmla="*/ 109602 h 1287049"/>
              <a:gd name="connsiteX17" fmla="*/ 591407 w 1822089"/>
              <a:gd name="connsiteY17" fmla="*/ 128391 h 1287049"/>
              <a:gd name="connsiteX18" fmla="*/ 563223 w 1822089"/>
              <a:gd name="connsiteY18" fmla="*/ 150312 h 1287049"/>
              <a:gd name="connsiteX19" fmla="*/ 553829 w 1822089"/>
              <a:gd name="connsiteY19" fmla="*/ 156575 h 1287049"/>
              <a:gd name="connsiteX20" fmla="*/ 547566 w 1822089"/>
              <a:gd name="connsiteY20" fmla="*/ 165969 h 1287049"/>
              <a:gd name="connsiteX21" fmla="*/ 541303 w 1822089"/>
              <a:gd name="connsiteY21" fmla="*/ 184758 h 1287049"/>
              <a:gd name="connsiteX22" fmla="*/ 538171 w 1822089"/>
              <a:gd name="connsiteY22" fmla="*/ 194153 h 1287049"/>
              <a:gd name="connsiteX23" fmla="*/ 519382 w 1822089"/>
              <a:gd name="connsiteY23" fmla="*/ 250520 h 1287049"/>
              <a:gd name="connsiteX24" fmla="*/ 509988 w 1822089"/>
              <a:gd name="connsiteY24" fmla="*/ 278704 h 1287049"/>
              <a:gd name="connsiteX25" fmla="*/ 506856 w 1822089"/>
              <a:gd name="connsiteY25" fmla="*/ 288098 h 1287049"/>
              <a:gd name="connsiteX26" fmla="*/ 488067 w 1822089"/>
              <a:gd name="connsiteY26" fmla="*/ 316282 h 1287049"/>
              <a:gd name="connsiteX27" fmla="*/ 481804 w 1822089"/>
              <a:gd name="connsiteY27" fmla="*/ 325676 h 1287049"/>
              <a:gd name="connsiteX28" fmla="*/ 469278 w 1822089"/>
              <a:gd name="connsiteY28" fmla="*/ 363254 h 1287049"/>
              <a:gd name="connsiteX29" fmla="*/ 466146 w 1822089"/>
              <a:gd name="connsiteY29" fmla="*/ 372649 h 1287049"/>
              <a:gd name="connsiteX30" fmla="*/ 463015 w 1822089"/>
              <a:gd name="connsiteY30" fmla="*/ 382043 h 1287049"/>
              <a:gd name="connsiteX31" fmla="*/ 456752 w 1822089"/>
              <a:gd name="connsiteY31" fmla="*/ 391438 h 1287049"/>
              <a:gd name="connsiteX32" fmla="*/ 450489 w 1822089"/>
              <a:gd name="connsiteY32" fmla="*/ 410227 h 1287049"/>
              <a:gd name="connsiteX33" fmla="*/ 447357 w 1822089"/>
              <a:gd name="connsiteY33" fmla="*/ 419621 h 1287049"/>
              <a:gd name="connsiteX34" fmla="*/ 441094 w 1822089"/>
              <a:gd name="connsiteY34" fmla="*/ 429016 h 1287049"/>
              <a:gd name="connsiteX35" fmla="*/ 431700 w 1822089"/>
              <a:gd name="connsiteY35" fmla="*/ 447805 h 1287049"/>
              <a:gd name="connsiteX36" fmla="*/ 425437 w 1822089"/>
              <a:gd name="connsiteY36" fmla="*/ 466594 h 1287049"/>
              <a:gd name="connsiteX37" fmla="*/ 419174 w 1822089"/>
              <a:gd name="connsiteY37" fmla="*/ 485383 h 1287049"/>
              <a:gd name="connsiteX38" fmla="*/ 412911 w 1822089"/>
              <a:gd name="connsiteY38" fmla="*/ 494778 h 1287049"/>
              <a:gd name="connsiteX39" fmla="*/ 409779 w 1822089"/>
              <a:gd name="connsiteY39" fmla="*/ 504172 h 1287049"/>
              <a:gd name="connsiteX40" fmla="*/ 387859 w 1822089"/>
              <a:gd name="connsiteY40" fmla="*/ 532356 h 1287049"/>
              <a:gd name="connsiteX41" fmla="*/ 381596 w 1822089"/>
              <a:gd name="connsiteY41" fmla="*/ 541750 h 1287049"/>
              <a:gd name="connsiteX42" fmla="*/ 372201 w 1822089"/>
              <a:gd name="connsiteY42" fmla="*/ 544882 h 1287049"/>
              <a:gd name="connsiteX43" fmla="*/ 344018 w 1822089"/>
              <a:gd name="connsiteY43" fmla="*/ 563671 h 1287049"/>
              <a:gd name="connsiteX44" fmla="*/ 331492 w 1822089"/>
              <a:gd name="connsiteY44" fmla="*/ 569934 h 1287049"/>
              <a:gd name="connsiteX45" fmla="*/ 312703 w 1822089"/>
              <a:gd name="connsiteY45" fmla="*/ 576197 h 1287049"/>
              <a:gd name="connsiteX46" fmla="*/ 287651 w 1822089"/>
              <a:gd name="connsiteY46" fmla="*/ 582460 h 1287049"/>
              <a:gd name="connsiteX47" fmla="*/ 256335 w 1822089"/>
              <a:gd name="connsiteY47" fmla="*/ 585591 h 1287049"/>
              <a:gd name="connsiteX48" fmla="*/ 246941 w 1822089"/>
              <a:gd name="connsiteY48" fmla="*/ 591854 h 1287049"/>
              <a:gd name="connsiteX49" fmla="*/ 225020 w 1822089"/>
              <a:gd name="connsiteY49" fmla="*/ 620038 h 1287049"/>
              <a:gd name="connsiteX50" fmla="*/ 184311 w 1822089"/>
              <a:gd name="connsiteY50" fmla="*/ 629432 h 1287049"/>
              <a:gd name="connsiteX51" fmla="*/ 156127 w 1822089"/>
              <a:gd name="connsiteY51" fmla="*/ 638827 h 1287049"/>
              <a:gd name="connsiteX52" fmla="*/ 146733 w 1822089"/>
              <a:gd name="connsiteY52" fmla="*/ 645090 h 1287049"/>
              <a:gd name="connsiteX53" fmla="*/ 140470 w 1822089"/>
              <a:gd name="connsiteY53" fmla="*/ 654484 h 1287049"/>
              <a:gd name="connsiteX54" fmla="*/ 131075 w 1822089"/>
              <a:gd name="connsiteY54" fmla="*/ 685800 h 1287049"/>
              <a:gd name="connsiteX55" fmla="*/ 124812 w 1822089"/>
              <a:gd name="connsiteY55" fmla="*/ 726509 h 1287049"/>
              <a:gd name="connsiteX56" fmla="*/ 109155 w 1822089"/>
              <a:gd name="connsiteY56" fmla="*/ 745298 h 1287049"/>
              <a:gd name="connsiteX57" fmla="*/ 102892 w 1822089"/>
              <a:gd name="connsiteY57" fmla="*/ 754693 h 1287049"/>
              <a:gd name="connsiteX58" fmla="*/ 96629 w 1822089"/>
              <a:gd name="connsiteY58" fmla="*/ 779745 h 1287049"/>
              <a:gd name="connsiteX59" fmla="*/ 90366 w 1822089"/>
              <a:gd name="connsiteY59" fmla="*/ 798534 h 1287049"/>
              <a:gd name="connsiteX60" fmla="*/ 84103 w 1822089"/>
              <a:gd name="connsiteY60" fmla="*/ 807928 h 1287049"/>
              <a:gd name="connsiteX61" fmla="*/ 80971 w 1822089"/>
              <a:gd name="connsiteY61" fmla="*/ 817323 h 1287049"/>
              <a:gd name="connsiteX62" fmla="*/ 77840 w 1822089"/>
              <a:gd name="connsiteY62" fmla="*/ 836112 h 1287049"/>
              <a:gd name="connsiteX63" fmla="*/ 74708 w 1822089"/>
              <a:gd name="connsiteY63" fmla="*/ 845506 h 1287049"/>
              <a:gd name="connsiteX64" fmla="*/ 68445 w 1822089"/>
              <a:gd name="connsiteY64" fmla="*/ 873690 h 1287049"/>
              <a:gd name="connsiteX65" fmla="*/ 62182 w 1822089"/>
              <a:gd name="connsiteY65" fmla="*/ 883084 h 1287049"/>
              <a:gd name="connsiteX66" fmla="*/ 59051 w 1822089"/>
              <a:gd name="connsiteY66" fmla="*/ 892479 h 1287049"/>
              <a:gd name="connsiteX67" fmla="*/ 52788 w 1822089"/>
              <a:gd name="connsiteY67" fmla="*/ 901873 h 1287049"/>
              <a:gd name="connsiteX68" fmla="*/ 40261 w 1822089"/>
              <a:gd name="connsiteY68" fmla="*/ 930057 h 1287049"/>
              <a:gd name="connsiteX69" fmla="*/ 27735 w 1822089"/>
              <a:gd name="connsiteY69" fmla="*/ 967635 h 1287049"/>
              <a:gd name="connsiteX70" fmla="*/ 24604 w 1822089"/>
              <a:gd name="connsiteY70" fmla="*/ 977030 h 1287049"/>
              <a:gd name="connsiteX71" fmla="*/ 18341 w 1822089"/>
              <a:gd name="connsiteY71" fmla="*/ 986424 h 1287049"/>
              <a:gd name="connsiteX72" fmla="*/ 12078 w 1822089"/>
              <a:gd name="connsiteY72" fmla="*/ 1005213 h 1287049"/>
              <a:gd name="connsiteX73" fmla="*/ 8946 w 1822089"/>
              <a:gd name="connsiteY73" fmla="*/ 1099158 h 1287049"/>
              <a:gd name="connsiteX74" fmla="*/ 5815 w 1822089"/>
              <a:gd name="connsiteY74" fmla="*/ 1111684 h 1287049"/>
              <a:gd name="connsiteX75" fmla="*/ 2683 w 1822089"/>
              <a:gd name="connsiteY75" fmla="*/ 1133605 h 1287049"/>
              <a:gd name="connsiteX76" fmla="*/ 5815 w 1822089"/>
              <a:gd name="connsiteY76" fmla="*/ 1196235 h 1287049"/>
              <a:gd name="connsiteX77" fmla="*/ 46525 w 1822089"/>
              <a:gd name="connsiteY77" fmla="*/ 1199367 h 1287049"/>
              <a:gd name="connsiteX78" fmla="*/ 52788 w 1822089"/>
              <a:gd name="connsiteY78" fmla="*/ 1208761 h 1287049"/>
              <a:gd name="connsiteX79" fmla="*/ 59051 w 1822089"/>
              <a:gd name="connsiteY79" fmla="*/ 1227550 h 1287049"/>
              <a:gd name="connsiteX80" fmla="*/ 68445 w 1822089"/>
              <a:gd name="connsiteY80" fmla="*/ 1246339 h 1287049"/>
              <a:gd name="connsiteX81" fmla="*/ 77840 w 1822089"/>
              <a:gd name="connsiteY81" fmla="*/ 1252602 h 1287049"/>
              <a:gd name="connsiteX82" fmla="*/ 99760 w 1822089"/>
              <a:gd name="connsiteY82" fmla="*/ 1249471 h 1287049"/>
              <a:gd name="connsiteX83" fmla="*/ 118549 w 1822089"/>
              <a:gd name="connsiteY83" fmla="*/ 1236945 h 1287049"/>
              <a:gd name="connsiteX84" fmla="*/ 127944 w 1822089"/>
              <a:gd name="connsiteY84" fmla="*/ 1233813 h 1287049"/>
              <a:gd name="connsiteX85" fmla="*/ 143601 w 1822089"/>
              <a:gd name="connsiteY85" fmla="*/ 1236945 h 1287049"/>
              <a:gd name="connsiteX86" fmla="*/ 152996 w 1822089"/>
              <a:gd name="connsiteY86" fmla="*/ 1240076 h 1287049"/>
              <a:gd name="connsiteX87" fmla="*/ 196837 w 1822089"/>
              <a:gd name="connsiteY87" fmla="*/ 1233813 h 1287049"/>
              <a:gd name="connsiteX88" fmla="*/ 225020 w 1822089"/>
              <a:gd name="connsiteY88" fmla="*/ 1224419 h 1287049"/>
              <a:gd name="connsiteX89" fmla="*/ 250072 w 1822089"/>
              <a:gd name="connsiteY89" fmla="*/ 1227550 h 1287049"/>
              <a:gd name="connsiteX90" fmla="*/ 259467 w 1822089"/>
              <a:gd name="connsiteY90" fmla="*/ 1230682 h 1287049"/>
              <a:gd name="connsiteX91" fmla="*/ 268861 w 1822089"/>
              <a:gd name="connsiteY91" fmla="*/ 1236945 h 1287049"/>
              <a:gd name="connsiteX92" fmla="*/ 284519 w 1822089"/>
              <a:gd name="connsiteY92" fmla="*/ 1240076 h 1287049"/>
              <a:gd name="connsiteX93" fmla="*/ 293914 w 1822089"/>
              <a:gd name="connsiteY93" fmla="*/ 1243208 h 1287049"/>
              <a:gd name="connsiteX94" fmla="*/ 325229 w 1822089"/>
              <a:gd name="connsiteY94" fmla="*/ 1252602 h 1287049"/>
              <a:gd name="connsiteX95" fmla="*/ 344018 w 1822089"/>
              <a:gd name="connsiteY95" fmla="*/ 1258865 h 1287049"/>
              <a:gd name="connsiteX96" fmla="*/ 353412 w 1822089"/>
              <a:gd name="connsiteY96" fmla="*/ 1261997 h 1287049"/>
              <a:gd name="connsiteX97" fmla="*/ 384727 w 1822089"/>
              <a:gd name="connsiteY97" fmla="*/ 1258865 h 1287049"/>
              <a:gd name="connsiteX98" fmla="*/ 403516 w 1822089"/>
              <a:gd name="connsiteY98" fmla="*/ 1249471 h 1287049"/>
              <a:gd name="connsiteX99" fmla="*/ 428568 w 1822089"/>
              <a:gd name="connsiteY99" fmla="*/ 1243208 h 1287049"/>
              <a:gd name="connsiteX100" fmla="*/ 437963 w 1822089"/>
              <a:gd name="connsiteY100" fmla="*/ 1240076 h 1287049"/>
              <a:gd name="connsiteX101" fmla="*/ 484935 w 1822089"/>
              <a:gd name="connsiteY101" fmla="*/ 1243208 h 1287049"/>
              <a:gd name="connsiteX102" fmla="*/ 503725 w 1822089"/>
              <a:gd name="connsiteY102" fmla="*/ 1246339 h 1287049"/>
              <a:gd name="connsiteX103" fmla="*/ 516251 w 1822089"/>
              <a:gd name="connsiteY103" fmla="*/ 1249471 h 1287049"/>
              <a:gd name="connsiteX104" fmla="*/ 572618 w 1822089"/>
              <a:gd name="connsiteY104" fmla="*/ 1252602 h 1287049"/>
              <a:gd name="connsiteX105" fmla="*/ 594538 w 1822089"/>
              <a:gd name="connsiteY105" fmla="*/ 1261997 h 1287049"/>
              <a:gd name="connsiteX106" fmla="*/ 613327 w 1822089"/>
              <a:gd name="connsiteY106" fmla="*/ 1268260 h 1287049"/>
              <a:gd name="connsiteX107" fmla="*/ 650905 w 1822089"/>
              <a:gd name="connsiteY107" fmla="*/ 1280786 h 1287049"/>
              <a:gd name="connsiteX108" fmla="*/ 663431 w 1822089"/>
              <a:gd name="connsiteY108" fmla="*/ 1283917 h 1287049"/>
              <a:gd name="connsiteX109" fmla="*/ 672826 w 1822089"/>
              <a:gd name="connsiteY109" fmla="*/ 1287049 h 1287049"/>
              <a:gd name="connsiteX110" fmla="*/ 704141 w 1822089"/>
              <a:gd name="connsiteY110" fmla="*/ 1283917 h 1287049"/>
              <a:gd name="connsiteX111" fmla="*/ 713535 w 1822089"/>
              <a:gd name="connsiteY111" fmla="*/ 1280786 h 1287049"/>
              <a:gd name="connsiteX112" fmla="*/ 757377 w 1822089"/>
              <a:gd name="connsiteY112" fmla="*/ 1274523 h 1287049"/>
              <a:gd name="connsiteX113" fmla="*/ 826270 w 1822089"/>
              <a:gd name="connsiteY113" fmla="*/ 1271391 h 1287049"/>
              <a:gd name="connsiteX114" fmla="*/ 832533 w 1822089"/>
              <a:gd name="connsiteY114" fmla="*/ 1261997 h 1287049"/>
              <a:gd name="connsiteX115" fmla="*/ 838796 w 1822089"/>
              <a:gd name="connsiteY115" fmla="*/ 1236945 h 1287049"/>
              <a:gd name="connsiteX116" fmla="*/ 841927 w 1822089"/>
              <a:gd name="connsiteY116" fmla="*/ 1227550 h 1287049"/>
              <a:gd name="connsiteX117" fmla="*/ 845059 w 1822089"/>
              <a:gd name="connsiteY117" fmla="*/ 1208761 h 1287049"/>
              <a:gd name="connsiteX118" fmla="*/ 848190 w 1822089"/>
              <a:gd name="connsiteY118" fmla="*/ 989556 h 1287049"/>
              <a:gd name="connsiteX119" fmla="*/ 851322 w 1822089"/>
              <a:gd name="connsiteY119" fmla="*/ 980161 h 1287049"/>
              <a:gd name="connsiteX120" fmla="*/ 854453 w 1822089"/>
              <a:gd name="connsiteY120" fmla="*/ 958241 h 1287049"/>
              <a:gd name="connsiteX121" fmla="*/ 857585 w 1822089"/>
              <a:gd name="connsiteY121" fmla="*/ 886216 h 1287049"/>
              <a:gd name="connsiteX122" fmla="*/ 860716 w 1822089"/>
              <a:gd name="connsiteY122" fmla="*/ 876821 h 1287049"/>
              <a:gd name="connsiteX123" fmla="*/ 863848 w 1822089"/>
              <a:gd name="connsiteY123" fmla="*/ 848638 h 1287049"/>
              <a:gd name="connsiteX124" fmla="*/ 866979 w 1822089"/>
              <a:gd name="connsiteY124" fmla="*/ 770350 h 1287049"/>
              <a:gd name="connsiteX125" fmla="*/ 876374 w 1822089"/>
              <a:gd name="connsiteY125" fmla="*/ 767219 h 1287049"/>
              <a:gd name="connsiteX126" fmla="*/ 967188 w 1822089"/>
              <a:gd name="connsiteY126" fmla="*/ 770350 h 1287049"/>
              <a:gd name="connsiteX127" fmla="*/ 1111237 w 1822089"/>
              <a:gd name="connsiteY127" fmla="*/ 776613 h 1287049"/>
              <a:gd name="connsiteX128" fmla="*/ 1136289 w 1822089"/>
              <a:gd name="connsiteY128" fmla="*/ 779745 h 1287049"/>
              <a:gd name="connsiteX129" fmla="*/ 1330442 w 1822089"/>
              <a:gd name="connsiteY129" fmla="*/ 786008 h 1287049"/>
              <a:gd name="connsiteX130" fmla="*/ 1364889 w 1822089"/>
              <a:gd name="connsiteY130" fmla="*/ 789139 h 1287049"/>
              <a:gd name="connsiteX131" fmla="*/ 1374283 w 1822089"/>
              <a:gd name="connsiteY131" fmla="*/ 792271 h 1287049"/>
              <a:gd name="connsiteX132" fmla="*/ 1555911 w 1822089"/>
              <a:gd name="connsiteY132" fmla="*/ 798534 h 1287049"/>
              <a:gd name="connsiteX133" fmla="*/ 1602883 w 1822089"/>
              <a:gd name="connsiteY133" fmla="*/ 801665 h 1287049"/>
              <a:gd name="connsiteX134" fmla="*/ 1800168 w 1822089"/>
              <a:gd name="connsiteY134" fmla="*/ 807928 h 1287049"/>
              <a:gd name="connsiteX135" fmla="*/ 1800168 w 1822089"/>
              <a:gd name="connsiteY135" fmla="*/ 760956 h 1287049"/>
              <a:gd name="connsiteX136" fmla="*/ 1803300 w 1822089"/>
              <a:gd name="connsiteY136" fmla="*/ 645090 h 1287049"/>
              <a:gd name="connsiteX137" fmla="*/ 1806431 w 1822089"/>
              <a:gd name="connsiteY137" fmla="*/ 632564 h 1287049"/>
              <a:gd name="connsiteX138" fmla="*/ 1809563 w 1822089"/>
              <a:gd name="connsiteY138" fmla="*/ 616906 h 1287049"/>
              <a:gd name="connsiteX139" fmla="*/ 1812694 w 1822089"/>
              <a:gd name="connsiteY139" fmla="*/ 585591 h 1287049"/>
              <a:gd name="connsiteX140" fmla="*/ 1815826 w 1822089"/>
              <a:gd name="connsiteY140" fmla="*/ 576197 h 1287049"/>
              <a:gd name="connsiteX141" fmla="*/ 1822089 w 1822089"/>
              <a:gd name="connsiteY141" fmla="*/ 519830 h 1287049"/>
              <a:gd name="connsiteX142" fmla="*/ 1818957 w 1822089"/>
              <a:gd name="connsiteY142" fmla="*/ 485383 h 1287049"/>
              <a:gd name="connsiteX143" fmla="*/ 1781379 w 1822089"/>
              <a:gd name="connsiteY143" fmla="*/ 466594 h 1287049"/>
              <a:gd name="connsiteX144" fmla="*/ 1771985 w 1822089"/>
              <a:gd name="connsiteY144" fmla="*/ 463463 h 1287049"/>
              <a:gd name="connsiteX145" fmla="*/ 1762590 w 1822089"/>
              <a:gd name="connsiteY145" fmla="*/ 457200 h 1287049"/>
              <a:gd name="connsiteX146" fmla="*/ 1753196 w 1822089"/>
              <a:gd name="connsiteY146" fmla="*/ 454068 h 1287049"/>
              <a:gd name="connsiteX147" fmla="*/ 1728144 w 1822089"/>
              <a:gd name="connsiteY147" fmla="*/ 425884 h 1287049"/>
              <a:gd name="connsiteX148" fmla="*/ 1718749 w 1822089"/>
              <a:gd name="connsiteY148" fmla="*/ 416490 h 1287049"/>
              <a:gd name="connsiteX149" fmla="*/ 1706223 w 1822089"/>
              <a:gd name="connsiteY149" fmla="*/ 397701 h 1287049"/>
              <a:gd name="connsiteX150" fmla="*/ 1681171 w 1822089"/>
              <a:gd name="connsiteY150" fmla="*/ 360123 h 1287049"/>
              <a:gd name="connsiteX151" fmla="*/ 1668645 w 1822089"/>
              <a:gd name="connsiteY151" fmla="*/ 341334 h 1287049"/>
              <a:gd name="connsiteX152" fmla="*/ 1662382 w 1822089"/>
              <a:gd name="connsiteY152" fmla="*/ 331939 h 1287049"/>
              <a:gd name="connsiteX153" fmla="*/ 1652988 w 1822089"/>
              <a:gd name="connsiteY153" fmla="*/ 306887 h 1287049"/>
              <a:gd name="connsiteX154" fmla="*/ 1599752 w 1822089"/>
              <a:gd name="connsiteY154" fmla="*/ 313150 h 1287049"/>
              <a:gd name="connsiteX155" fmla="*/ 1577831 w 1822089"/>
              <a:gd name="connsiteY155" fmla="*/ 300624 h 1287049"/>
              <a:gd name="connsiteX156" fmla="*/ 1571568 w 1822089"/>
              <a:gd name="connsiteY156" fmla="*/ 291230 h 1287049"/>
              <a:gd name="connsiteX157" fmla="*/ 1562174 w 1822089"/>
              <a:gd name="connsiteY157" fmla="*/ 284967 h 1287049"/>
              <a:gd name="connsiteX158" fmla="*/ 1552779 w 1822089"/>
              <a:gd name="connsiteY158" fmla="*/ 275572 h 1287049"/>
              <a:gd name="connsiteX159" fmla="*/ 1524596 w 1822089"/>
              <a:gd name="connsiteY159" fmla="*/ 259915 h 1287049"/>
              <a:gd name="connsiteX160" fmla="*/ 1515201 w 1822089"/>
              <a:gd name="connsiteY160" fmla="*/ 250520 h 1287049"/>
              <a:gd name="connsiteX161" fmla="*/ 1505807 w 1822089"/>
              <a:gd name="connsiteY161" fmla="*/ 244257 h 1287049"/>
              <a:gd name="connsiteX162" fmla="*/ 1493281 w 1822089"/>
              <a:gd name="connsiteY162" fmla="*/ 234863 h 1287049"/>
              <a:gd name="connsiteX163" fmla="*/ 1474492 w 1822089"/>
              <a:gd name="connsiteY163" fmla="*/ 225468 h 1287049"/>
              <a:gd name="connsiteX164" fmla="*/ 1424388 w 1822089"/>
              <a:gd name="connsiteY164" fmla="*/ 222336 h 1287049"/>
              <a:gd name="connsiteX165" fmla="*/ 1405598 w 1822089"/>
              <a:gd name="connsiteY165" fmla="*/ 212942 h 1287049"/>
              <a:gd name="connsiteX166" fmla="*/ 1396204 w 1822089"/>
              <a:gd name="connsiteY166" fmla="*/ 203547 h 1287049"/>
              <a:gd name="connsiteX167" fmla="*/ 1383678 w 1822089"/>
              <a:gd name="connsiteY167" fmla="*/ 197284 h 1287049"/>
              <a:gd name="connsiteX168" fmla="*/ 1377415 w 1822089"/>
              <a:gd name="connsiteY168" fmla="*/ 187890 h 1287049"/>
              <a:gd name="connsiteX169" fmla="*/ 1349231 w 1822089"/>
              <a:gd name="connsiteY169" fmla="*/ 172232 h 1287049"/>
              <a:gd name="connsiteX170" fmla="*/ 1295996 w 1822089"/>
              <a:gd name="connsiteY170" fmla="*/ 169101 h 1287049"/>
              <a:gd name="connsiteX171" fmla="*/ 1267812 w 1822089"/>
              <a:gd name="connsiteY171" fmla="*/ 162838 h 1287049"/>
              <a:gd name="connsiteX172" fmla="*/ 1258418 w 1822089"/>
              <a:gd name="connsiteY172" fmla="*/ 159706 h 1287049"/>
              <a:gd name="connsiteX173" fmla="*/ 1164472 w 1822089"/>
              <a:gd name="connsiteY173" fmla="*/ 165969 h 1287049"/>
              <a:gd name="connsiteX174" fmla="*/ 1155078 w 1822089"/>
              <a:gd name="connsiteY174" fmla="*/ 169101 h 1287049"/>
              <a:gd name="connsiteX175" fmla="*/ 1145683 w 1822089"/>
              <a:gd name="connsiteY175" fmla="*/ 175364 h 1287049"/>
              <a:gd name="connsiteX176" fmla="*/ 1070527 w 1822089"/>
              <a:gd name="connsiteY176" fmla="*/ 172232 h 1287049"/>
              <a:gd name="connsiteX177" fmla="*/ 1042344 w 1822089"/>
              <a:gd name="connsiteY177" fmla="*/ 159706 h 1287049"/>
              <a:gd name="connsiteX178" fmla="*/ 1032949 w 1822089"/>
              <a:gd name="connsiteY178" fmla="*/ 156575 h 1287049"/>
              <a:gd name="connsiteX179" fmla="*/ 1014160 w 1822089"/>
              <a:gd name="connsiteY179" fmla="*/ 147180 h 1287049"/>
              <a:gd name="connsiteX180" fmla="*/ 1014161 w 1822089"/>
              <a:gd name="connsiteY180" fmla="*/ 140917 h 1287049"/>
              <a:gd name="connsiteX181" fmla="*/ 1007898 w 1822089"/>
              <a:gd name="connsiteY181" fmla="*/ 128392 h 1287049"/>
              <a:gd name="connsiteX182" fmla="*/ 989108 w 1822089"/>
              <a:gd name="connsiteY182" fmla="*/ 93945 h 1287049"/>
              <a:gd name="connsiteX183" fmla="*/ 982845 w 1822089"/>
              <a:gd name="connsiteY183" fmla="*/ 75156 h 1287049"/>
              <a:gd name="connsiteX184" fmla="*/ 967188 w 1822089"/>
              <a:gd name="connsiteY184" fmla="*/ 53235 h 1287049"/>
              <a:gd name="connsiteX185" fmla="*/ 960925 w 1822089"/>
              <a:gd name="connsiteY185" fmla="*/ 40709 h 1287049"/>
              <a:gd name="connsiteX186" fmla="*/ 954661 w 1822089"/>
              <a:gd name="connsiteY186" fmla="*/ 31315 h 1287049"/>
              <a:gd name="connsiteX187" fmla="*/ 945267 w 1822089"/>
              <a:gd name="connsiteY187" fmla="*/ 9394 h 1287049"/>
              <a:gd name="connsiteX188" fmla="*/ 939004 w 1822089"/>
              <a:gd name="connsiteY188" fmla="*/ 0 h 1287049"/>
              <a:gd name="connsiteX0" fmla="*/ 939004 w 1822089"/>
              <a:gd name="connsiteY0" fmla="*/ 0 h 1287049"/>
              <a:gd name="connsiteX1" fmla="*/ 923346 w 1822089"/>
              <a:gd name="connsiteY1" fmla="*/ 9394 h 1287049"/>
              <a:gd name="connsiteX2" fmla="*/ 913952 w 1822089"/>
              <a:gd name="connsiteY2" fmla="*/ 12526 h 1287049"/>
              <a:gd name="connsiteX3" fmla="*/ 904557 w 1822089"/>
              <a:gd name="connsiteY3" fmla="*/ 21920 h 1287049"/>
              <a:gd name="connsiteX4" fmla="*/ 885768 w 1822089"/>
              <a:gd name="connsiteY4" fmla="*/ 28183 h 1287049"/>
              <a:gd name="connsiteX5" fmla="*/ 866979 w 1822089"/>
              <a:gd name="connsiteY5" fmla="*/ 34446 h 1287049"/>
              <a:gd name="connsiteX6" fmla="*/ 835664 w 1822089"/>
              <a:gd name="connsiteY6" fmla="*/ 40709 h 1287049"/>
              <a:gd name="connsiteX7" fmla="*/ 816875 w 1822089"/>
              <a:gd name="connsiteY7" fmla="*/ 43841 h 1287049"/>
              <a:gd name="connsiteX8" fmla="*/ 788692 w 1822089"/>
              <a:gd name="connsiteY8" fmla="*/ 50104 h 1287049"/>
              <a:gd name="connsiteX9" fmla="*/ 738588 w 1822089"/>
              <a:gd name="connsiteY9" fmla="*/ 56367 h 1287049"/>
              <a:gd name="connsiteX10" fmla="*/ 722930 w 1822089"/>
              <a:gd name="connsiteY10" fmla="*/ 59498 h 1287049"/>
              <a:gd name="connsiteX11" fmla="*/ 697878 w 1822089"/>
              <a:gd name="connsiteY11" fmla="*/ 62630 h 1287049"/>
              <a:gd name="connsiteX12" fmla="*/ 679089 w 1822089"/>
              <a:gd name="connsiteY12" fmla="*/ 65761 h 1287049"/>
              <a:gd name="connsiteX13" fmla="*/ 635248 w 1822089"/>
              <a:gd name="connsiteY13" fmla="*/ 72024 h 1287049"/>
              <a:gd name="connsiteX14" fmla="*/ 625853 w 1822089"/>
              <a:gd name="connsiteY14" fmla="*/ 75156 h 1287049"/>
              <a:gd name="connsiteX15" fmla="*/ 603933 w 1822089"/>
              <a:gd name="connsiteY15" fmla="*/ 100208 h 1287049"/>
              <a:gd name="connsiteX16" fmla="*/ 597670 w 1822089"/>
              <a:gd name="connsiteY16" fmla="*/ 109602 h 1287049"/>
              <a:gd name="connsiteX17" fmla="*/ 591407 w 1822089"/>
              <a:gd name="connsiteY17" fmla="*/ 128391 h 1287049"/>
              <a:gd name="connsiteX18" fmla="*/ 563223 w 1822089"/>
              <a:gd name="connsiteY18" fmla="*/ 150312 h 1287049"/>
              <a:gd name="connsiteX19" fmla="*/ 553829 w 1822089"/>
              <a:gd name="connsiteY19" fmla="*/ 156575 h 1287049"/>
              <a:gd name="connsiteX20" fmla="*/ 547566 w 1822089"/>
              <a:gd name="connsiteY20" fmla="*/ 165969 h 1287049"/>
              <a:gd name="connsiteX21" fmla="*/ 541303 w 1822089"/>
              <a:gd name="connsiteY21" fmla="*/ 184758 h 1287049"/>
              <a:gd name="connsiteX22" fmla="*/ 538171 w 1822089"/>
              <a:gd name="connsiteY22" fmla="*/ 194153 h 1287049"/>
              <a:gd name="connsiteX23" fmla="*/ 519382 w 1822089"/>
              <a:gd name="connsiteY23" fmla="*/ 250520 h 1287049"/>
              <a:gd name="connsiteX24" fmla="*/ 509988 w 1822089"/>
              <a:gd name="connsiteY24" fmla="*/ 278704 h 1287049"/>
              <a:gd name="connsiteX25" fmla="*/ 506856 w 1822089"/>
              <a:gd name="connsiteY25" fmla="*/ 288098 h 1287049"/>
              <a:gd name="connsiteX26" fmla="*/ 488067 w 1822089"/>
              <a:gd name="connsiteY26" fmla="*/ 316282 h 1287049"/>
              <a:gd name="connsiteX27" fmla="*/ 481804 w 1822089"/>
              <a:gd name="connsiteY27" fmla="*/ 325676 h 1287049"/>
              <a:gd name="connsiteX28" fmla="*/ 469278 w 1822089"/>
              <a:gd name="connsiteY28" fmla="*/ 363254 h 1287049"/>
              <a:gd name="connsiteX29" fmla="*/ 466146 w 1822089"/>
              <a:gd name="connsiteY29" fmla="*/ 372649 h 1287049"/>
              <a:gd name="connsiteX30" fmla="*/ 463015 w 1822089"/>
              <a:gd name="connsiteY30" fmla="*/ 382043 h 1287049"/>
              <a:gd name="connsiteX31" fmla="*/ 456752 w 1822089"/>
              <a:gd name="connsiteY31" fmla="*/ 391438 h 1287049"/>
              <a:gd name="connsiteX32" fmla="*/ 450489 w 1822089"/>
              <a:gd name="connsiteY32" fmla="*/ 410227 h 1287049"/>
              <a:gd name="connsiteX33" fmla="*/ 447357 w 1822089"/>
              <a:gd name="connsiteY33" fmla="*/ 419621 h 1287049"/>
              <a:gd name="connsiteX34" fmla="*/ 441094 w 1822089"/>
              <a:gd name="connsiteY34" fmla="*/ 429016 h 1287049"/>
              <a:gd name="connsiteX35" fmla="*/ 431700 w 1822089"/>
              <a:gd name="connsiteY35" fmla="*/ 447805 h 1287049"/>
              <a:gd name="connsiteX36" fmla="*/ 425437 w 1822089"/>
              <a:gd name="connsiteY36" fmla="*/ 466594 h 1287049"/>
              <a:gd name="connsiteX37" fmla="*/ 419174 w 1822089"/>
              <a:gd name="connsiteY37" fmla="*/ 485383 h 1287049"/>
              <a:gd name="connsiteX38" fmla="*/ 412911 w 1822089"/>
              <a:gd name="connsiteY38" fmla="*/ 494778 h 1287049"/>
              <a:gd name="connsiteX39" fmla="*/ 409779 w 1822089"/>
              <a:gd name="connsiteY39" fmla="*/ 504172 h 1287049"/>
              <a:gd name="connsiteX40" fmla="*/ 387859 w 1822089"/>
              <a:gd name="connsiteY40" fmla="*/ 532356 h 1287049"/>
              <a:gd name="connsiteX41" fmla="*/ 381596 w 1822089"/>
              <a:gd name="connsiteY41" fmla="*/ 541750 h 1287049"/>
              <a:gd name="connsiteX42" fmla="*/ 372201 w 1822089"/>
              <a:gd name="connsiteY42" fmla="*/ 544882 h 1287049"/>
              <a:gd name="connsiteX43" fmla="*/ 344018 w 1822089"/>
              <a:gd name="connsiteY43" fmla="*/ 563671 h 1287049"/>
              <a:gd name="connsiteX44" fmla="*/ 331492 w 1822089"/>
              <a:gd name="connsiteY44" fmla="*/ 569934 h 1287049"/>
              <a:gd name="connsiteX45" fmla="*/ 312703 w 1822089"/>
              <a:gd name="connsiteY45" fmla="*/ 576197 h 1287049"/>
              <a:gd name="connsiteX46" fmla="*/ 287651 w 1822089"/>
              <a:gd name="connsiteY46" fmla="*/ 582460 h 1287049"/>
              <a:gd name="connsiteX47" fmla="*/ 256335 w 1822089"/>
              <a:gd name="connsiteY47" fmla="*/ 585591 h 1287049"/>
              <a:gd name="connsiteX48" fmla="*/ 246941 w 1822089"/>
              <a:gd name="connsiteY48" fmla="*/ 591854 h 1287049"/>
              <a:gd name="connsiteX49" fmla="*/ 225020 w 1822089"/>
              <a:gd name="connsiteY49" fmla="*/ 620038 h 1287049"/>
              <a:gd name="connsiteX50" fmla="*/ 184311 w 1822089"/>
              <a:gd name="connsiteY50" fmla="*/ 629432 h 1287049"/>
              <a:gd name="connsiteX51" fmla="*/ 156127 w 1822089"/>
              <a:gd name="connsiteY51" fmla="*/ 638827 h 1287049"/>
              <a:gd name="connsiteX52" fmla="*/ 146733 w 1822089"/>
              <a:gd name="connsiteY52" fmla="*/ 645090 h 1287049"/>
              <a:gd name="connsiteX53" fmla="*/ 140470 w 1822089"/>
              <a:gd name="connsiteY53" fmla="*/ 654484 h 1287049"/>
              <a:gd name="connsiteX54" fmla="*/ 131075 w 1822089"/>
              <a:gd name="connsiteY54" fmla="*/ 685800 h 1287049"/>
              <a:gd name="connsiteX55" fmla="*/ 124812 w 1822089"/>
              <a:gd name="connsiteY55" fmla="*/ 726509 h 1287049"/>
              <a:gd name="connsiteX56" fmla="*/ 109155 w 1822089"/>
              <a:gd name="connsiteY56" fmla="*/ 745298 h 1287049"/>
              <a:gd name="connsiteX57" fmla="*/ 102892 w 1822089"/>
              <a:gd name="connsiteY57" fmla="*/ 754693 h 1287049"/>
              <a:gd name="connsiteX58" fmla="*/ 96629 w 1822089"/>
              <a:gd name="connsiteY58" fmla="*/ 779745 h 1287049"/>
              <a:gd name="connsiteX59" fmla="*/ 90366 w 1822089"/>
              <a:gd name="connsiteY59" fmla="*/ 798534 h 1287049"/>
              <a:gd name="connsiteX60" fmla="*/ 84103 w 1822089"/>
              <a:gd name="connsiteY60" fmla="*/ 807928 h 1287049"/>
              <a:gd name="connsiteX61" fmla="*/ 80971 w 1822089"/>
              <a:gd name="connsiteY61" fmla="*/ 817323 h 1287049"/>
              <a:gd name="connsiteX62" fmla="*/ 77840 w 1822089"/>
              <a:gd name="connsiteY62" fmla="*/ 836112 h 1287049"/>
              <a:gd name="connsiteX63" fmla="*/ 74708 w 1822089"/>
              <a:gd name="connsiteY63" fmla="*/ 845506 h 1287049"/>
              <a:gd name="connsiteX64" fmla="*/ 68445 w 1822089"/>
              <a:gd name="connsiteY64" fmla="*/ 873690 h 1287049"/>
              <a:gd name="connsiteX65" fmla="*/ 62182 w 1822089"/>
              <a:gd name="connsiteY65" fmla="*/ 883084 h 1287049"/>
              <a:gd name="connsiteX66" fmla="*/ 59051 w 1822089"/>
              <a:gd name="connsiteY66" fmla="*/ 892479 h 1287049"/>
              <a:gd name="connsiteX67" fmla="*/ 52788 w 1822089"/>
              <a:gd name="connsiteY67" fmla="*/ 901873 h 1287049"/>
              <a:gd name="connsiteX68" fmla="*/ 40261 w 1822089"/>
              <a:gd name="connsiteY68" fmla="*/ 930057 h 1287049"/>
              <a:gd name="connsiteX69" fmla="*/ 27735 w 1822089"/>
              <a:gd name="connsiteY69" fmla="*/ 967635 h 1287049"/>
              <a:gd name="connsiteX70" fmla="*/ 24604 w 1822089"/>
              <a:gd name="connsiteY70" fmla="*/ 977030 h 1287049"/>
              <a:gd name="connsiteX71" fmla="*/ 18341 w 1822089"/>
              <a:gd name="connsiteY71" fmla="*/ 986424 h 1287049"/>
              <a:gd name="connsiteX72" fmla="*/ 12078 w 1822089"/>
              <a:gd name="connsiteY72" fmla="*/ 1005213 h 1287049"/>
              <a:gd name="connsiteX73" fmla="*/ 8946 w 1822089"/>
              <a:gd name="connsiteY73" fmla="*/ 1099158 h 1287049"/>
              <a:gd name="connsiteX74" fmla="*/ 5815 w 1822089"/>
              <a:gd name="connsiteY74" fmla="*/ 1111684 h 1287049"/>
              <a:gd name="connsiteX75" fmla="*/ 2683 w 1822089"/>
              <a:gd name="connsiteY75" fmla="*/ 1133605 h 1287049"/>
              <a:gd name="connsiteX76" fmla="*/ 5815 w 1822089"/>
              <a:gd name="connsiteY76" fmla="*/ 1196235 h 1287049"/>
              <a:gd name="connsiteX77" fmla="*/ 46525 w 1822089"/>
              <a:gd name="connsiteY77" fmla="*/ 1199367 h 1287049"/>
              <a:gd name="connsiteX78" fmla="*/ 52788 w 1822089"/>
              <a:gd name="connsiteY78" fmla="*/ 1208761 h 1287049"/>
              <a:gd name="connsiteX79" fmla="*/ 59051 w 1822089"/>
              <a:gd name="connsiteY79" fmla="*/ 1227550 h 1287049"/>
              <a:gd name="connsiteX80" fmla="*/ 68445 w 1822089"/>
              <a:gd name="connsiteY80" fmla="*/ 1246339 h 1287049"/>
              <a:gd name="connsiteX81" fmla="*/ 77840 w 1822089"/>
              <a:gd name="connsiteY81" fmla="*/ 1252602 h 1287049"/>
              <a:gd name="connsiteX82" fmla="*/ 99760 w 1822089"/>
              <a:gd name="connsiteY82" fmla="*/ 1249471 h 1287049"/>
              <a:gd name="connsiteX83" fmla="*/ 118549 w 1822089"/>
              <a:gd name="connsiteY83" fmla="*/ 1236945 h 1287049"/>
              <a:gd name="connsiteX84" fmla="*/ 127944 w 1822089"/>
              <a:gd name="connsiteY84" fmla="*/ 1233813 h 1287049"/>
              <a:gd name="connsiteX85" fmla="*/ 143601 w 1822089"/>
              <a:gd name="connsiteY85" fmla="*/ 1236945 h 1287049"/>
              <a:gd name="connsiteX86" fmla="*/ 152996 w 1822089"/>
              <a:gd name="connsiteY86" fmla="*/ 1240076 h 1287049"/>
              <a:gd name="connsiteX87" fmla="*/ 196837 w 1822089"/>
              <a:gd name="connsiteY87" fmla="*/ 1233813 h 1287049"/>
              <a:gd name="connsiteX88" fmla="*/ 225020 w 1822089"/>
              <a:gd name="connsiteY88" fmla="*/ 1224419 h 1287049"/>
              <a:gd name="connsiteX89" fmla="*/ 250072 w 1822089"/>
              <a:gd name="connsiteY89" fmla="*/ 1227550 h 1287049"/>
              <a:gd name="connsiteX90" fmla="*/ 259467 w 1822089"/>
              <a:gd name="connsiteY90" fmla="*/ 1230682 h 1287049"/>
              <a:gd name="connsiteX91" fmla="*/ 268861 w 1822089"/>
              <a:gd name="connsiteY91" fmla="*/ 1236945 h 1287049"/>
              <a:gd name="connsiteX92" fmla="*/ 284519 w 1822089"/>
              <a:gd name="connsiteY92" fmla="*/ 1240076 h 1287049"/>
              <a:gd name="connsiteX93" fmla="*/ 293914 w 1822089"/>
              <a:gd name="connsiteY93" fmla="*/ 1243208 h 1287049"/>
              <a:gd name="connsiteX94" fmla="*/ 325229 w 1822089"/>
              <a:gd name="connsiteY94" fmla="*/ 1252602 h 1287049"/>
              <a:gd name="connsiteX95" fmla="*/ 344018 w 1822089"/>
              <a:gd name="connsiteY95" fmla="*/ 1258865 h 1287049"/>
              <a:gd name="connsiteX96" fmla="*/ 353412 w 1822089"/>
              <a:gd name="connsiteY96" fmla="*/ 1261997 h 1287049"/>
              <a:gd name="connsiteX97" fmla="*/ 384727 w 1822089"/>
              <a:gd name="connsiteY97" fmla="*/ 1258865 h 1287049"/>
              <a:gd name="connsiteX98" fmla="*/ 403516 w 1822089"/>
              <a:gd name="connsiteY98" fmla="*/ 1249471 h 1287049"/>
              <a:gd name="connsiteX99" fmla="*/ 428568 w 1822089"/>
              <a:gd name="connsiteY99" fmla="*/ 1243208 h 1287049"/>
              <a:gd name="connsiteX100" fmla="*/ 437963 w 1822089"/>
              <a:gd name="connsiteY100" fmla="*/ 1240076 h 1287049"/>
              <a:gd name="connsiteX101" fmla="*/ 484935 w 1822089"/>
              <a:gd name="connsiteY101" fmla="*/ 1243208 h 1287049"/>
              <a:gd name="connsiteX102" fmla="*/ 503725 w 1822089"/>
              <a:gd name="connsiteY102" fmla="*/ 1246339 h 1287049"/>
              <a:gd name="connsiteX103" fmla="*/ 516251 w 1822089"/>
              <a:gd name="connsiteY103" fmla="*/ 1249471 h 1287049"/>
              <a:gd name="connsiteX104" fmla="*/ 572618 w 1822089"/>
              <a:gd name="connsiteY104" fmla="*/ 1252602 h 1287049"/>
              <a:gd name="connsiteX105" fmla="*/ 594538 w 1822089"/>
              <a:gd name="connsiteY105" fmla="*/ 1261997 h 1287049"/>
              <a:gd name="connsiteX106" fmla="*/ 613327 w 1822089"/>
              <a:gd name="connsiteY106" fmla="*/ 1268260 h 1287049"/>
              <a:gd name="connsiteX107" fmla="*/ 650905 w 1822089"/>
              <a:gd name="connsiteY107" fmla="*/ 1280786 h 1287049"/>
              <a:gd name="connsiteX108" fmla="*/ 663431 w 1822089"/>
              <a:gd name="connsiteY108" fmla="*/ 1283917 h 1287049"/>
              <a:gd name="connsiteX109" fmla="*/ 672826 w 1822089"/>
              <a:gd name="connsiteY109" fmla="*/ 1287049 h 1287049"/>
              <a:gd name="connsiteX110" fmla="*/ 704141 w 1822089"/>
              <a:gd name="connsiteY110" fmla="*/ 1283917 h 1287049"/>
              <a:gd name="connsiteX111" fmla="*/ 713535 w 1822089"/>
              <a:gd name="connsiteY111" fmla="*/ 1280786 h 1287049"/>
              <a:gd name="connsiteX112" fmla="*/ 757377 w 1822089"/>
              <a:gd name="connsiteY112" fmla="*/ 1274523 h 1287049"/>
              <a:gd name="connsiteX113" fmla="*/ 826270 w 1822089"/>
              <a:gd name="connsiteY113" fmla="*/ 1271391 h 1287049"/>
              <a:gd name="connsiteX114" fmla="*/ 832533 w 1822089"/>
              <a:gd name="connsiteY114" fmla="*/ 1261997 h 1287049"/>
              <a:gd name="connsiteX115" fmla="*/ 838796 w 1822089"/>
              <a:gd name="connsiteY115" fmla="*/ 1236945 h 1287049"/>
              <a:gd name="connsiteX116" fmla="*/ 841927 w 1822089"/>
              <a:gd name="connsiteY116" fmla="*/ 1227550 h 1287049"/>
              <a:gd name="connsiteX117" fmla="*/ 845059 w 1822089"/>
              <a:gd name="connsiteY117" fmla="*/ 1208761 h 1287049"/>
              <a:gd name="connsiteX118" fmla="*/ 848190 w 1822089"/>
              <a:gd name="connsiteY118" fmla="*/ 989556 h 1287049"/>
              <a:gd name="connsiteX119" fmla="*/ 851322 w 1822089"/>
              <a:gd name="connsiteY119" fmla="*/ 980161 h 1287049"/>
              <a:gd name="connsiteX120" fmla="*/ 854453 w 1822089"/>
              <a:gd name="connsiteY120" fmla="*/ 958241 h 1287049"/>
              <a:gd name="connsiteX121" fmla="*/ 857585 w 1822089"/>
              <a:gd name="connsiteY121" fmla="*/ 886216 h 1287049"/>
              <a:gd name="connsiteX122" fmla="*/ 860716 w 1822089"/>
              <a:gd name="connsiteY122" fmla="*/ 876821 h 1287049"/>
              <a:gd name="connsiteX123" fmla="*/ 863848 w 1822089"/>
              <a:gd name="connsiteY123" fmla="*/ 848638 h 1287049"/>
              <a:gd name="connsiteX124" fmla="*/ 866979 w 1822089"/>
              <a:gd name="connsiteY124" fmla="*/ 770350 h 1287049"/>
              <a:gd name="connsiteX125" fmla="*/ 876374 w 1822089"/>
              <a:gd name="connsiteY125" fmla="*/ 767219 h 1287049"/>
              <a:gd name="connsiteX126" fmla="*/ 967188 w 1822089"/>
              <a:gd name="connsiteY126" fmla="*/ 770350 h 1287049"/>
              <a:gd name="connsiteX127" fmla="*/ 1111237 w 1822089"/>
              <a:gd name="connsiteY127" fmla="*/ 776613 h 1287049"/>
              <a:gd name="connsiteX128" fmla="*/ 1136289 w 1822089"/>
              <a:gd name="connsiteY128" fmla="*/ 779745 h 1287049"/>
              <a:gd name="connsiteX129" fmla="*/ 1330442 w 1822089"/>
              <a:gd name="connsiteY129" fmla="*/ 786008 h 1287049"/>
              <a:gd name="connsiteX130" fmla="*/ 1364889 w 1822089"/>
              <a:gd name="connsiteY130" fmla="*/ 789139 h 1287049"/>
              <a:gd name="connsiteX131" fmla="*/ 1374283 w 1822089"/>
              <a:gd name="connsiteY131" fmla="*/ 792271 h 1287049"/>
              <a:gd name="connsiteX132" fmla="*/ 1555911 w 1822089"/>
              <a:gd name="connsiteY132" fmla="*/ 798534 h 1287049"/>
              <a:gd name="connsiteX133" fmla="*/ 1602883 w 1822089"/>
              <a:gd name="connsiteY133" fmla="*/ 801665 h 1287049"/>
              <a:gd name="connsiteX134" fmla="*/ 1800168 w 1822089"/>
              <a:gd name="connsiteY134" fmla="*/ 807928 h 1287049"/>
              <a:gd name="connsiteX135" fmla="*/ 1800168 w 1822089"/>
              <a:gd name="connsiteY135" fmla="*/ 760956 h 1287049"/>
              <a:gd name="connsiteX136" fmla="*/ 1803300 w 1822089"/>
              <a:gd name="connsiteY136" fmla="*/ 645090 h 1287049"/>
              <a:gd name="connsiteX137" fmla="*/ 1806431 w 1822089"/>
              <a:gd name="connsiteY137" fmla="*/ 632564 h 1287049"/>
              <a:gd name="connsiteX138" fmla="*/ 1809563 w 1822089"/>
              <a:gd name="connsiteY138" fmla="*/ 616906 h 1287049"/>
              <a:gd name="connsiteX139" fmla="*/ 1812694 w 1822089"/>
              <a:gd name="connsiteY139" fmla="*/ 585591 h 1287049"/>
              <a:gd name="connsiteX140" fmla="*/ 1815826 w 1822089"/>
              <a:gd name="connsiteY140" fmla="*/ 576197 h 1287049"/>
              <a:gd name="connsiteX141" fmla="*/ 1822089 w 1822089"/>
              <a:gd name="connsiteY141" fmla="*/ 519830 h 1287049"/>
              <a:gd name="connsiteX142" fmla="*/ 1818957 w 1822089"/>
              <a:gd name="connsiteY142" fmla="*/ 485383 h 1287049"/>
              <a:gd name="connsiteX143" fmla="*/ 1781379 w 1822089"/>
              <a:gd name="connsiteY143" fmla="*/ 466594 h 1287049"/>
              <a:gd name="connsiteX144" fmla="*/ 1771985 w 1822089"/>
              <a:gd name="connsiteY144" fmla="*/ 463463 h 1287049"/>
              <a:gd name="connsiteX145" fmla="*/ 1762590 w 1822089"/>
              <a:gd name="connsiteY145" fmla="*/ 457200 h 1287049"/>
              <a:gd name="connsiteX146" fmla="*/ 1753196 w 1822089"/>
              <a:gd name="connsiteY146" fmla="*/ 454068 h 1287049"/>
              <a:gd name="connsiteX147" fmla="*/ 1728144 w 1822089"/>
              <a:gd name="connsiteY147" fmla="*/ 425884 h 1287049"/>
              <a:gd name="connsiteX148" fmla="*/ 1718749 w 1822089"/>
              <a:gd name="connsiteY148" fmla="*/ 416490 h 1287049"/>
              <a:gd name="connsiteX149" fmla="*/ 1706223 w 1822089"/>
              <a:gd name="connsiteY149" fmla="*/ 397701 h 1287049"/>
              <a:gd name="connsiteX150" fmla="*/ 1681171 w 1822089"/>
              <a:gd name="connsiteY150" fmla="*/ 360123 h 1287049"/>
              <a:gd name="connsiteX151" fmla="*/ 1668645 w 1822089"/>
              <a:gd name="connsiteY151" fmla="*/ 341334 h 1287049"/>
              <a:gd name="connsiteX152" fmla="*/ 1662382 w 1822089"/>
              <a:gd name="connsiteY152" fmla="*/ 331939 h 1287049"/>
              <a:gd name="connsiteX153" fmla="*/ 1652988 w 1822089"/>
              <a:gd name="connsiteY153" fmla="*/ 306887 h 1287049"/>
              <a:gd name="connsiteX154" fmla="*/ 1599752 w 1822089"/>
              <a:gd name="connsiteY154" fmla="*/ 313150 h 1287049"/>
              <a:gd name="connsiteX155" fmla="*/ 1577831 w 1822089"/>
              <a:gd name="connsiteY155" fmla="*/ 300624 h 1287049"/>
              <a:gd name="connsiteX156" fmla="*/ 1571568 w 1822089"/>
              <a:gd name="connsiteY156" fmla="*/ 291230 h 1287049"/>
              <a:gd name="connsiteX157" fmla="*/ 1562174 w 1822089"/>
              <a:gd name="connsiteY157" fmla="*/ 284967 h 1287049"/>
              <a:gd name="connsiteX158" fmla="*/ 1552779 w 1822089"/>
              <a:gd name="connsiteY158" fmla="*/ 275572 h 1287049"/>
              <a:gd name="connsiteX159" fmla="*/ 1524596 w 1822089"/>
              <a:gd name="connsiteY159" fmla="*/ 259915 h 1287049"/>
              <a:gd name="connsiteX160" fmla="*/ 1515201 w 1822089"/>
              <a:gd name="connsiteY160" fmla="*/ 250520 h 1287049"/>
              <a:gd name="connsiteX161" fmla="*/ 1505807 w 1822089"/>
              <a:gd name="connsiteY161" fmla="*/ 244257 h 1287049"/>
              <a:gd name="connsiteX162" fmla="*/ 1493281 w 1822089"/>
              <a:gd name="connsiteY162" fmla="*/ 234863 h 1287049"/>
              <a:gd name="connsiteX163" fmla="*/ 1474492 w 1822089"/>
              <a:gd name="connsiteY163" fmla="*/ 225468 h 1287049"/>
              <a:gd name="connsiteX164" fmla="*/ 1424388 w 1822089"/>
              <a:gd name="connsiteY164" fmla="*/ 222336 h 1287049"/>
              <a:gd name="connsiteX165" fmla="*/ 1405598 w 1822089"/>
              <a:gd name="connsiteY165" fmla="*/ 212942 h 1287049"/>
              <a:gd name="connsiteX166" fmla="*/ 1396204 w 1822089"/>
              <a:gd name="connsiteY166" fmla="*/ 203547 h 1287049"/>
              <a:gd name="connsiteX167" fmla="*/ 1383678 w 1822089"/>
              <a:gd name="connsiteY167" fmla="*/ 197284 h 1287049"/>
              <a:gd name="connsiteX168" fmla="*/ 1377415 w 1822089"/>
              <a:gd name="connsiteY168" fmla="*/ 187890 h 1287049"/>
              <a:gd name="connsiteX169" fmla="*/ 1349231 w 1822089"/>
              <a:gd name="connsiteY169" fmla="*/ 172232 h 1287049"/>
              <a:gd name="connsiteX170" fmla="*/ 1295996 w 1822089"/>
              <a:gd name="connsiteY170" fmla="*/ 169101 h 1287049"/>
              <a:gd name="connsiteX171" fmla="*/ 1267812 w 1822089"/>
              <a:gd name="connsiteY171" fmla="*/ 162838 h 1287049"/>
              <a:gd name="connsiteX172" fmla="*/ 1258418 w 1822089"/>
              <a:gd name="connsiteY172" fmla="*/ 159706 h 1287049"/>
              <a:gd name="connsiteX173" fmla="*/ 1164472 w 1822089"/>
              <a:gd name="connsiteY173" fmla="*/ 165969 h 1287049"/>
              <a:gd name="connsiteX174" fmla="*/ 1155078 w 1822089"/>
              <a:gd name="connsiteY174" fmla="*/ 169101 h 1287049"/>
              <a:gd name="connsiteX175" fmla="*/ 1145683 w 1822089"/>
              <a:gd name="connsiteY175" fmla="*/ 175364 h 1287049"/>
              <a:gd name="connsiteX176" fmla="*/ 1070527 w 1822089"/>
              <a:gd name="connsiteY176" fmla="*/ 172232 h 1287049"/>
              <a:gd name="connsiteX177" fmla="*/ 1042344 w 1822089"/>
              <a:gd name="connsiteY177" fmla="*/ 159706 h 1287049"/>
              <a:gd name="connsiteX178" fmla="*/ 1032949 w 1822089"/>
              <a:gd name="connsiteY178" fmla="*/ 156575 h 1287049"/>
              <a:gd name="connsiteX179" fmla="*/ 1014160 w 1822089"/>
              <a:gd name="connsiteY179" fmla="*/ 147180 h 1287049"/>
              <a:gd name="connsiteX180" fmla="*/ 1026687 w 1822089"/>
              <a:gd name="connsiteY180" fmla="*/ 137785 h 1287049"/>
              <a:gd name="connsiteX181" fmla="*/ 1007898 w 1822089"/>
              <a:gd name="connsiteY181" fmla="*/ 128392 h 1287049"/>
              <a:gd name="connsiteX182" fmla="*/ 989108 w 1822089"/>
              <a:gd name="connsiteY182" fmla="*/ 93945 h 1287049"/>
              <a:gd name="connsiteX183" fmla="*/ 982845 w 1822089"/>
              <a:gd name="connsiteY183" fmla="*/ 75156 h 1287049"/>
              <a:gd name="connsiteX184" fmla="*/ 967188 w 1822089"/>
              <a:gd name="connsiteY184" fmla="*/ 53235 h 1287049"/>
              <a:gd name="connsiteX185" fmla="*/ 960925 w 1822089"/>
              <a:gd name="connsiteY185" fmla="*/ 40709 h 1287049"/>
              <a:gd name="connsiteX186" fmla="*/ 954661 w 1822089"/>
              <a:gd name="connsiteY186" fmla="*/ 31315 h 1287049"/>
              <a:gd name="connsiteX187" fmla="*/ 945267 w 1822089"/>
              <a:gd name="connsiteY187" fmla="*/ 9394 h 1287049"/>
              <a:gd name="connsiteX188" fmla="*/ 939004 w 1822089"/>
              <a:gd name="connsiteY188" fmla="*/ 0 h 1287049"/>
              <a:gd name="connsiteX0" fmla="*/ 939004 w 1822089"/>
              <a:gd name="connsiteY0" fmla="*/ 0 h 1287049"/>
              <a:gd name="connsiteX1" fmla="*/ 923346 w 1822089"/>
              <a:gd name="connsiteY1" fmla="*/ 9394 h 1287049"/>
              <a:gd name="connsiteX2" fmla="*/ 913952 w 1822089"/>
              <a:gd name="connsiteY2" fmla="*/ 12526 h 1287049"/>
              <a:gd name="connsiteX3" fmla="*/ 904557 w 1822089"/>
              <a:gd name="connsiteY3" fmla="*/ 21920 h 1287049"/>
              <a:gd name="connsiteX4" fmla="*/ 885768 w 1822089"/>
              <a:gd name="connsiteY4" fmla="*/ 28183 h 1287049"/>
              <a:gd name="connsiteX5" fmla="*/ 866979 w 1822089"/>
              <a:gd name="connsiteY5" fmla="*/ 34446 h 1287049"/>
              <a:gd name="connsiteX6" fmla="*/ 835664 w 1822089"/>
              <a:gd name="connsiteY6" fmla="*/ 40709 h 1287049"/>
              <a:gd name="connsiteX7" fmla="*/ 816875 w 1822089"/>
              <a:gd name="connsiteY7" fmla="*/ 43841 h 1287049"/>
              <a:gd name="connsiteX8" fmla="*/ 788692 w 1822089"/>
              <a:gd name="connsiteY8" fmla="*/ 50104 h 1287049"/>
              <a:gd name="connsiteX9" fmla="*/ 738588 w 1822089"/>
              <a:gd name="connsiteY9" fmla="*/ 56367 h 1287049"/>
              <a:gd name="connsiteX10" fmla="*/ 722930 w 1822089"/>
              <a:gd name="connsiteY10" fmla="*/ 59498 h 1287049"/>
              <a:gd name="connsiteX11" fmla="*/ 697878 w 1822089"/>
              <a:gd name="connsiteY11" fmla="*/ 62630 h 1287049"/>
              <a:gd name="connsiteX12" fmla="*/ 679089 w 1822089"/>
              <a:gd name="connsiteY12" fmla="*/ 65761 h 1287049"/>
              <a:gd name="connsiteX13" fmla="*/ 635248 w 1822089"/>
              <a:gd name="connsiteY13" fmla="*/ 72024 h 1287049"/>
              <a:gd name="connsiteX14" fmla="*/ 625853 w 1822089"/>
              <a:gd name="connsiteY14" fmla="*/ 75156 h 1287049"/>
              <a:gd name="connsiteX15" fmla="*/ 603933 w 1822089"/>
              <a:gd name="connsiteY15" fmla="*/ 100208 h 1287049"/>
              <a:gd name="connsiteX16" fmla="*/ 597670 w 1822089"/>
              <a:gd name="connsiteY16" fmla="*/ 109602 h 1287049"/>
              <a:gd name="connsiteX17" fmla="*/ 591407 w 1822089"/>
              <a:gd name="connsiteY17" fmla="*/ 128391 h 1287049"/>
              <a:gd name="connsiteX18" fmla="*/ 563223 w 1822089"/>
              <a:gd name="connsiteY18" fmla="*/ 150312 h 1287049"/>
              <a:gd name="connsiteX19" fmla="*/ 553829 w 1822089"/>
              <a:gd name="connsiteY19" fmla="*/ 156575 h 1287049"/>
              <a:gd name="connsiteX20" fmla="*/ 547566 w 1822089"/>
              <a:gd name="connsiteY20" fmla="*/ 165969 h 1287049"/>
              <a:gd name="connsiteX21" fmla="*/ 541303 w 1822089"/>
              <a:gd name="connsiteY21" fmla="*/ 184758 h 1287049"/>
              <a:gd name="connsiteX22" fmla="*/ 538171 w 1822089"/>
              <a:gd name="connsiteY22" fmla="*/ 194153 h 1287049"/>
              <a:gd name="connsiteX23" fmla="*/ 519382 w 1822089"/>
              <a:gd name="connsiteY23" fmla="*/ 250520 h 1287049"/>
              <a:gd name="connsiteX24" fmla="*/ 509988 w 1822089"/>
              <a:gd name="connsiteY24" fmla="*/ 278704 h 1287049"/>
              <a:gd name="connsiteX25" fmla="*/ 506856 w 1822089"/>
              <a:gd name="connsiteY25" fmla="*/ 288098 h 1287049"/>
              <a:gd name="connsiteX26" fmla="*/ 488067 w 1822089"/>
              <a:gd name="connsiteY26" fmla="*/ 316282 h 1287049"/>
              <a:gd name="connsiteX27" fmla="*/ 481804 w 1822089"/>
              <a:gd name="connsiteY27" fmla="*/ 325676 h 1287049"/>
              <a:gd name="connsiteX28" fmla="*/ 469278 w 1822089"/>
              <a:gd name="connsiteY28" fmla="*/ 363254 h 1287049"/>
              <a:gd name="connsiteX29" fmla="*/ 466146 w 1822089"/>
              <a:gd name="connsiteY29" fmla="*/ 372649 h 1287049"/>
              <a:gd name="connsiteX30" fmla="*/ 463015 w 1822089"/>
              <a:gd name="connsiteY30" fmla="*/ 382043 h 1287049"/>
              <a:gd name="connsiteX31" fmla="*/ 456752 w 1822089"/>
              <a:gd name="connsiteY31" fmla="*/ 391438 h 1287049"/>
              <a:gd name="connsiteX32" fmla="*/ 450489 w 1822089"/>
              <a:gd name="connsiteY32" fmla="*/ 410227 h 1287049"/>
              <a:gd name="connsiteX33" fmla="*/ 447357 w 1822089"/>
              <a:gd name="connsiteY33" fmla="*/ 419621 h 1287049"/>
              <a:gd name="connsiteX34" fmla="*/ 441094 w 1822089"/>
              <a:gd name="connsiteY34" fmla="*/ 429016 h 1287049"/>
              <a:gd name="connsiteX35" fmla="*/ 431700 w 1822089"/>
              <a:gd name="connsiteY35" fmla="*/ 447805 h 1287049"/>
              <a:gd name="connsiteX36" fmla="*/ 425437 w 1822089"/>
              <a:gd name="connsiteY36" fmla="*/ 466594 h 1287049"/>
              <a:gd name="connsiteX37" fmla="*/ 419174 w 1822089"/>
              <a:gd name="connsiteY37" fmla="*/ 485383 h 1287049"/>
              <a:gd name="connsiteX38" fmla="*/ 412911 w 1822089"/>
              <a:gd name="connsiteY38" fmla="*/ 494778 h 1287049"/>
              <a:gd name="connsiteX39" fmla="*/ 409779 w 1822089"/>
              <a:gd name="connsiteY39" fmla="*/ 504172 h 1287049"/>
              <a:gd name="connsiteX40" fmla="*/ 387859 w 1822089"/>
              <a:gd name="connsiteY40" fmla="*/ 532356 h 1287049"/>
              <a:gd name="connsiteX41" fmla="*/ 381596 w 1822089"/>
              <a:gd name="connsiteY41" fmla="*/ 541750 h 1287049"/>
              <a:gd name="connsiteX42" fmla="*/ 372201 w 1822089"/>
              <a:gd name="connsiteY42" fmla="*/ 544882 h 1287049"/>
              <a:gd name="connsiteX43" fmla="*/ 344018 w 1822089"/>
              <a:gd name="connsiteY43" fmla="*/ 563671 h 1287049"/>
              <a:gd name="connsiteX44" fmla="*/ 331492 w 1822089"/>
              <a:gd name="connsiteY44" fmla="*/ 569934 h 1287049"/>
              <a:gd name="connsiteX45" fmla="*/ 312703 w 1822089"/>
              <a:gd name="connsiteY45" fmla="*/ 576197 h 1287049"/>
              <a:gd name="connsiteX46" fmla="*/ 287651 w 1822089"/>
              <a:gd name="connsiteY46" fmla="*/ 582460 h 1287049"/>
              <a:gd name="connsiteX47" fmla="*/ 256335 w 1822089"/>
              <a:gd name="connsiteY47" fmla="*/ 585591 h 1287049"/>
              <a:gd name="connsiteX48" fmla="*/ 246941 w 1822089"/>
              <a:gd name="connsiteY48" fmla="*/ 591854 h 1287049"/>
              <a:gd name="connsiteX49" fmla="*/ 225020 w 1822089"/>
              <a:gd name="connsiteY49" fmla="*/ 620038 h 1287049"/>
              <a:gd name="connsiteX50" fmla="*/ 184311 w 1822089"/>
              <a:gd name="connsiteY50" fmla="*/ 629432 h 1287049"/>
              <a:gd name="connsiteX51" fmla="*/ 156127 w 1822089"/>
              <a:gd name="connsiteY51" fmla="*/ 638827 h 1287049"/>
              <a:gd name="connsiteX52" fmla="*/ 146733 w 1822089"/>
              <a:gd name="connsiteY52" fmla="*/ 645090 h 1287049"/>
              <a:gd name="connsiteX53" fmla="*/ 140470 w 1822089"/>
              <a:gd name="connsiteY53" fmla="*/ 654484 h 1287049"/>
              <a:gd name="connsiteX54" fmla="*/ 131075 w 1822089"/>
              <a:gd name="connsiteY54" fmla="*/ 685800 h 1287049"/>
              <a:gd name="connsiteX55" fmla="*/ 124812 w 1822089"/>
              <a:gd name="connsiteY55" fmla="*/ 726509 h 1287049"/>
              <a:gd name="connsiteX56" fmla="*/ 109155 w 1822089"/>
              <a:gd name="connsiteY56" fmla="*/ 745298 h 1287049"/>
              <a:gd name="connsiteX57" fmla="*/ 102892 w 1822089"/>
              <a:gd name="connsiteY57" fmla="*/ 754693 h 1287049"/>
              <a:gd name="connsiteX58" fmla="*/ 96629 w 1822089"/>
              <a:gd name="connsiteY58" fmla="*/ 779745 h 1287049"/>
              <a:gd name="connsiteX59" fmla="*/ 90366 w 1822089"/>
              <a:gd name="connsiteY59" fmla="*/ 798534 h 1287049"/>
              <a:gd name="connsiteX60" fmla="*/ 84103 w 1822089"/>
              <a:gd name="connsiteY60" fmla="*/ 807928 h 1287049"/>
              <a:gd name="connsiteX61" fmla="*/ 80971 w 1822089"/>
              <a:gd name="connsiteY61" fmla="*/ 817323 h 1287049"/>
              <a:gd name="connsiteX62" fmla="*/ 77840 w 1822089"/>
              <a:gd name="connsiteY62" fmla="*/ 836112 h 1287049"/>
              <a:gd name="connsiteX63" fmla="*/ 74708 w 1822089"/>
              <a:gd name="connsiteY63" fmla="*/ 845506 h 1287049"/>
              <a:gd name="connsiteX64" fmla="*/ 68445 w 1822089"/>
              <a:gd name="connsiteY64" fmla="*/ 873690 h 1287049"/>
              <a:gd name="connsiteX65" fmla="*/ 62182 w 1822089"/>
              <a:gd name="connsiteY65" fmla="*/ 883084 h 1287049"/>
              <a:gd name="connsiteX66" fmla="*/ 59051 w 1822089"/>
              <a:gd name="connsiteY66" fmla="*/ 892479 h 1287049"/>
              <a:gd name="connsiteX67" fmla="*/ 52788 w 1822089"/>
              <a:gd name="connsiteY67" fmla="*/ 901873 h 1287049"/>
              <a:gd name="connsiteX68" fmla="*/ 40261 w 1822089"/>
              <a:gd name="connsiteY68" fmla="*/ 930057 h 1287049"/>
              <a:gd name="connsiteX69" fmla="*/ 27735 w 1822089"/>
              <a:gd name="connsiteY69" fmla="*/ 967635 h 1287049"/>
              <a:gd name="connsiteX70" fmla="*/ 24604 w 1822089"/>
              <a:gd name="connsiteY70" fmla="*/ 977030 h 1287049"/>
              <a:gd name="connsiteX71" fmla="*/ 18341 w 1822089"/>
              <a:gd name="connsiteY71" fmla="*/ 986424 h 1287049"/>
              <a:gd name="connsiteX72" fmla="*/ 12078 w 1822089"/>
              <a:gd name="connsiteY72" fmla="*/ 1005213 h 1287049"/>
              <a:gd name="connsiteX73" fmla="*/ 8946 w 1822089"/>
              <a:gd name="connsiteY73" fmla="*/ 1099158 h 1287049"/>
              <a:gd name="connsiteX74" fmla="*/ 5815 w 1822089"/>
              <a:gd name="connsiteY74" fmla="*/ 1111684 h 1287049"/>
              <a:gd name="connsiteX75" fmla="*/ 2683 w 1822089"/>
              <a:gd name="connsiteY75" fmla="*/ 1133605 h 1287049"/>
              <a:gd name="connsiteX76" fmla="*/ 5815 w 1822089"/>
              <a:gd name="connsiteY76" fmla="*/ 1196235 h 1287049"/>
              <a:gd name="connsiteX77" fmla="*/ 46525 w 1822089"/>
              <a:gd name="connsiteY77" fmla="*/ 1199367 h 1287049"/>
              <a:gd name="connsiteX78" fmla="*/ 52788 w 1822089"/>
              <a:gd name="connsiteY78" fmla="*/ 1208761 h 1287049"/>
              <a:gd name="connsiteX79" fmla="*/ 59051 w 1822089"/>
              <a:gd name="connsiteY79" fmla="*/ 1227550 h 1287049"/>
              <a:gd name="connsiteX80" fmla="*/ 68445 w 1822089"/>
              <a:gd name="connsiteY80" fmla="*/ 1246339 h 1287049"/>
              <a:gd name="connsiteX81" fmla="*/ 77840 w 1822089"/>
              <a:gd name="connsiteY81" fmla="*/ 1252602 h 1287049"/>
              <a:gd name="connsiteX82" fmla="*/ 99760 w 1822089"/>
              <a:gd name="connsiteY82" fmla="*/ 1249471 h 1287049"/>
              <a:gd name="connsiteX83" fmla="*/ 118549 w 1822089"/>
              <a:gd name="connsiteY83" fmla="*/ 1236945 h 1287049"/>
              <a:gd name="connsiteX84" fmla="*/ 127944 w 1822089"/>
              <a:gd name="connsiteY84" fmla="*/ 1233813 h 1287049"/>
              <a:gd name="connsiteX85" fmla="*/ 143601 w 1822089"/>
              <a:gd name="connsiteY85" fmla="*/ 1236945 h 1287049"/>
              <a:gd name="connsiteX86" fmla="*/ 152996 w 1822089"/>
              <a:gd name="connsiteY86" fmla="*/ 1240076 h 1287049"/>
              <a:gd name="connsiteX87" fmla="*/ 196837 w 1822089"/>
              <a:gd name="connsiteY87" fmla="*/ 1233813 h 1287049"/>
              <a:gd name="connsiteX88" fmla="*/ 225020 w 1822089"/>
              <a:gd name="connsiteY88" fmla="*/ 1224419 h 1287049"/>
              <a:gd name="connsiteX89" fmla="*/ 250072 w 1822089"/>
              <a:gd name="connsiteY89" fmla="*/ 1227550 h 1287049"/>
              <a:gd name="connsiteX90" fmla="*/ 259467 w 1822089"/>
              <a:gd name="connsiteY90" fmla="*/ 1230682 h 1287049"/>
              <a:gd name="connsiteX91" fmla="*/ 268861 w 1822089"/>
              <a:gd name="connsiteY91" fmla="*/ 1236945 h 1287049"/>
              <a:gd name="connsiteX92" fmla="*/ 284519 w 1822089"/>
              <a:gd name="connsiteY92" fmla="*/ 1240076 h 1287049"/>
              <a:gd name="connsiteX93" fmla="*/ 293914 w 1822089"/>
              <a:gd name="connsiteY93" fmla="*/ 1243208 h 1287049"/>
              <a:gd name="connsiteX94" fmla="*/ 325229 w 1822089"/>
              <a:gd name="connsiteY94" fmla="*/ 1252602 h 1287049"/>
              <a:gd name="connsiteX95" fmla="*/ 344018 w 1822089"/>
              <a:gd name="connsiteY95" fmla="*/ 1258865 h 1287049"/>
              <a:gd name="connsiteX96" fmla="*/ 353412 w 1822089"/>
              <a:gd name="connsiteY96" fmla="*/ 1261997 h 1287049"/>
              <a:gd name="connsiteX97" fmla="*/ 384727 w 1822089"/>
              <a:gd name="connsiteY97" fmla="*/ 1258865 h 1287049"/>
              <a:gd name="connsiteX98" fmla="*/ 403516 w 1822089"/>
              <a:gd name="connsiteY98" fmla="*/ 1249471 h 1287049"/>
              <a:gd name="connsiteX99" fmla="*/ 428568 w 1822089"/>
              <a:gd name="connsiteY99" fmla="*/ 1243208 h 1287049"/>
              <a:gd name="connsiteX100" fmla="*/ 437963 w 1822089"/>
              <a:gd name="connsiteY100" fmla="*/ 1240076 h 1287049"/>
              <a:gd name="connsiteX101" fmla="*/ 484935 w 1822089"/>
              <a:gd name="connsiteY101" fmla="*/ 1243208 h 1287049"/>
              <a:gd name="connsiteX102" fmla="*/ 503725 w 1822089"/>
              <a:gd name="connsiteY102" fmla="*/ 1246339 h 1287049"/>
              <a:gd name="connsiteX103" fmla="*/ 516251 w 1822089"/>
              <a:gd name="connsiteY103" fmla="*/ 1249471 h 1287049"/>
              <a:gd name="connsiteX104" fmla="*/ 572618 w 1822089"/>
              <a:gd name="connsiteY104" fmla="*/ 1252602 h 1287049"/>
              <a:gd name="connsiteX105" fmla="*/ 594538 w 1822089"/>
              <a:gd name="connsiteY105" fmla="*/ 1261997 h 1287049"/>
              <a:gd name="connsiteX106" fmla="*/ 613327 w 1822089"/>
              <a:gd name="connsiteY106" fmla="*/ 1268260 h 1287049"/>
              <a:gd name="connsiteX107" fmla="*/ 650905 w 1822089"/>
              <a:gd name="connsiteY107" fmla="*/ 1280786 h 1287049"/>
              <a:gd name="connsiteX108" fmla="*/ 663431 w 1822089"/>
              <a:gd name="connsiteY108" fmla="*/ 1283917 h 1287049"/>
              <a:gd name="connsiteX109" fmla="*/ 672826 w 1822089"/>
              <a:gd name="connsiteY109" fmla="*/ 1287049 h 1287049"/>
              <a:gd name="connsiteX110" fmla="*/ 704141 w 1822089"/>
              <a:gd name="connsiteY110" fmla="*/ 1283917 h 1287049"/>
              <a:gd name="connsiteX111" fmla="*/ 713535 w 1822089"/>
              <a:gd name="connsiteY111" fmla="*/ 1280786 h 1287049"/>
              <a:gd name="connsiteX112" fmla="*/ 757377 w 1822089"/>
              <a:gd name="connsiteY112" fmla="*/ 1274523 h 1287049"/>
              <a:gd name="connsiteX113" fmla="*/ 826270 w 1822089"/>
              <a:gd name="connsiteY113" fmla="*/ 1271391 h 1287049"/>
              <a:gd name="connsiteX114" fmla="*/ 832533 w 1822089"/>
              <a:gd name="connsiteY114" fmla="*/ 1261997 h 1287049"/>
              <a:gd name="connsiteX115" fmla="*/ 838796 w 1822089"/>
              <a:gd name="connsiteY115" fmla="*/ 1236945 h 1287049"/>
              <a:gd name="connsiteX116" fmla="*/ 841927 w 1822089"/>
              <a:gd name="connsiteY116" fmla="*/ 1227550 h 1287049"/>
              <a:gd name="connsiteX117" fmla="*/ 845059 w 1822089"/>
              <a:gd name="connsiteY117" fmla="*/ 1208761 h 1287049"/>
              <a:gd name="connsiteX118" fmla="*/ 848190 w 1822089"/>
              <a:gd name="connsiteY118" fmla="*/ 989556 h 1287049"/>
              <a:gd name="connsiteX119" fmla="*/ 851322 w 1822089"/>
              <a:gd name="connsiteY119" fmla="*/ 980161 h 1287049"/>
              <a:gd name="connsiteX120" fmla="*/ 854453 w 1822089"/>
              <a:gd name="connsiteY120" fmla="*/ 958241 h 1287049"/>
              <a:gd name="connsiteX121" fmla="*/ 857585 w 1822089"/>
              <a:gd name="connsiteY121" fmla="*/ 886216 h 1287049"/>
              <a:gd name="connsiteX122" fmla="*/ 860716 w 1822089"/>
              <a:gd name="connsiteY122" fmla="*/ 876821 h 1287049"/>
              <a:gd name="connsiteX123" fmla="*/ 863848 w 1822089"/>
              <a:gd name="connsiteY123" fmla="*/ 848638 h 1287049"/>
              <a:gd name="connsiteX124" fmla="*/ 866979 w 1822089"/>
              <a:gd name="connsiteY124" fmla="*/ 770350 h 1287049"/>
              <a:gd name="connsiteX125" fmla="*/ 876374 w 1822089"/>
              <a:gd name="connsiteY125" fmla="*/ 767219 h 1287049"/>
              <a:gd name="connsiteX126" fmla="*/ 967188 w 1822089"/>
              <a:gd name="connsiteY126" fmla="*/ 770350 h 1287049"/>
              <a:gd name="connsiteX127" fmla="*/ 1111237 w 1822089"/>
              <a:gd name="connsiteY127" fmla="*/ 776613 h 1287049"/>
              <a:gd name="connsiteX128" fmla="*/ 1136289 w 1822089"/>
              <a:gd name="connsiteY128" fmla="*/ 779745 h 1287049"/>
              <a:gd name="connsiteX129" fmla="*/ 1330442 w 1822089"/>
              <a:gd name="connsiteY129" fmla="*/ 786008 h 1287049"/>
              <a:gd name="connsiteX130" fmla="*/ 1364889 w 1822089"/>
              <a:gd name="connsiteY130" fmla="*/ 789139 h 1287049"/>
              <a:gd name="connsiteX131" fmla="*/ 1374283 w 1822089"/>
              <a:gd name="connsiteY131" fmla="*/ 792271 h 1287049"/>
              <a:gd name="connsiteX132" fmla="*/ 1555911 w 1822089"/>
              <a:gd name="connsiteY132" fmla="*/ 798534 h 1287049"/>
              <a:gd name="connsiteX133" fmla="*/ 1602883 w 1822089"/>
              <a:gd name="connsiteY133" fmla="*/ 801665 h 1287049"/>
              <a:gd name="connsiteX134" fmla="*/ 1800168 w 1822089"/>
              <a:gd name="connsiteY134" fmla="*/ 807928 h 1287049"/>
              <a:gd name="connsiteX135" fmla="*/ 1800168 w 1822089"/>
              <a:gd name="connsiteY135" fmla="*/ 760956 h 1287049"/>
              <a:gd name="connsiteX136" fmla="*/ 1803300 w 1822089"/>
              <a:gd name="connsiteY136" fmla="*/ 645090 h 1287049"/>
              <a:gd name="connsiteX137" fmla="*/ 1806431 w 1822089"/>
              <a:gd name="connsiteY137" fmla="*/ 632564 h 1287049"/>
              <a:gd name="connsiteX138" fmla="*/ 1809563 w 1822089"/>
              <a:gd name="connsiteY138" fmla="*/ 616906 h 1287049"/>
              <a:gd name="connsiteX139" fmla="*/ 1812694 w 1822089"/>
              <a:gd name="connsiteY139" fmla="*/ 585591 h 1287049"/>
              <a:gd name="connsiteX140" fmla="*/ 1815826 w 1822089"/>
              <a:gd name="connsiteY140" fmla="*/ 576197 h 1287049"/>
              <a:gd name="connsiteX141" fmla="*/ 1822089 w 1822089"/>
              <a:gd name="connsiteY141" fmla="*/ 519830 h 1287049"/>
              <a:gd name="connsiteX142" fmla="*/ 1818957 w 1822089"/>
              <a:gd name="connsiteY142" fmla="*/ 485383 h 1287049"/>
              <a:gd name="connsiteX143" fmla="*/ 1781379 w 1822089"/>
              <a:gd name="connsiteY143" fmla="*/ 466594 h 1287049"/>
              <a:gd name="connsiteX144" fmla="*/ 1771985 w 1822089"/>
              <a:gd name="connsiteY144" fmla="*/ 463463 h 1287049"/>
              <a:gd name="connsiteX145" fmla="*/ 1762590 w 1822089"/>
              <a:gd name="connsiteY145" fmla="*/ 457200 h 1287049"/>
              <a:gd name="connsiteX146" fmla="*/ 1753196 w 1822089"/>
              <a:gd name="connsiteY146" fmla="*/ 454068 h 1287049"/>
              <a:gd name="connsiteX147" fmla="*/ 1728144 w 1822089"/>
              <a:gd name="connsiteY147" fmla="*/ 425884 h 1287049"/>
              <a:gd name="connsiteX148" fmla="*/ 1718749 w 1822089"/>
              <a:gd name="connsiteY148" fmla="*/ 416490 h 1287049"/>
              <a:gd name="connsiteX149" fmla="*/ 1706223 w 1822089"/>
              <a:gd name="connsiteY149" fmla="*/ 397701 h 1287049"/>
              <a:gd name="connsiteX150" fmla="*/ 1681171 w 1822089"/>
              <a:gd name="connsiteY150" fmla="*/ 360123 h 1287049"/>
              <a:gd name="connsiteX151" fmla="*/ 1668645 w 1822089"/>
              <a:gd name="connsiteY151" fmla="*/ 341334 h 1287049"/>
              <a:gd name="connsiteX152" fmla="*/ 1662382 w 1822089"/>
              <a:gd name="connsiteY152" fmla="*/ 331939 h 1287049"/>
              <a:gd name="connsiteX153" fmla="*/ 1652988 w 1822089"/>
              <a:gd name="connsiteY153" fmla="*/ 306887 h 1287049"/>
              <a:gd name="connsiteX154" fmla="*/ 1599752 w 1822089"/>
              <a:gd name="connsiteY154" fmla="*/ 313150 h 1287049"/>
              <a:gd name="connsiteX155" fmla="*/ 1577831 w 1822089"/>
              <a:gd name="connsiteY155" fmla="*/ 300624 h 1287049"/>
              <a:gd name="connsiteX156" fmla="*/ 1571568 w 1822089"/>
              <a:gd name="connsiteY156" fmla="*/ 291230 h 1287049"/>
              <a:gd name="connsiteX157" fmla="*/ 1562174 w 1822089"/>
              <a:gd name="connsiteY157" fmla="*/ 284967 h 1287049"/>
              <a:gd name="connsiteX158" fmla="*/ 1552779 w 1822089"/>
              <a:gd name="connsiteY158" fmla="*/ 275572 h 1287049"/>
              <a:gd name="connsiteX159" fmla="*/ 1524596 w 1822089"/>
              <a:gd name="connsiteY159" fmla="*/ 259915 h 1287049"/>
              <a:gd name="connsiteX160" fmla="*/ 1515201 w 1822089"/>
              <a:gd name="connsiteY160" fmla="*/ 250520 h 1287049"/>
              <a:gd name="connsiteX161" fmla="*/ 1505807 w 1822089"/>
              <a:gd name="connsiteY161" fmla="*/ 244257 h 1287049"/>
              <a:gd name="connsiteX162" fmla="*/ 1493281 w 1822089"/>
              <a:gd name="connsiteY162" fmla="*/ 234863 h 1287049"/>
              <a:gd name="connsiteX163" fmla="*/ 1474492 w 1822089"/>
              <a:gd name="connsiteY163" fmla="*/ 225468 h 1287049"/>
              <a:gd name="connsiteX164" fmla="*/ 1424388 w 1822089"/>
              <a:gd name="connsiteY164" fmla="*/ 222336 h 1287049"/>
              <a:gd name="connsiteX165" fmla="*/ 1405598 w 1822089"/>
              <a:gd name="connsiteY165" fmla="*/ 212942 h 1287049"/>
              <a:gd name="connsiteX166" fmla="*/ 1396204 w 1822089"/>
              <a:gd name="connsiteY166" fmla="*/ 203547 h 1287049"/>
              <a:gd name="connsiteX167" fmla="*/ 1383678 w 1822089"/>
              <a:gd name="connsiteY167" fmla="*/ 197284 h 1287049"/>
              <a:gd name="connsiteX168" fmla="*/ 1377415 w 1822089"/>
              <a:gd name="connsiteY168" fmla="*/ 187890 h 1287049"/>
              <a:gd name="connsiteX169" fmla="*/ 1349231 w 1822089"/>
              <a:gd name="connsiteY169" fmla="*/ 172232 h 1287049"/>
              <a:gd name="connsiteX170" fmla="*/ 1295996 w 1822089"/>
              <a:gd name="connsiteY170" fmla="*/ 169101 h 1287049"/>
              <a:gd name="connsiteX171" fmla="*/ 1267812 w 1822089"/>
              <a:gd name="connsiteY171" fmla="*/ 162838 h 1287049"/>
              <a:gd name="connsiteX172" fmla="*/ 1258418 w 1822089"/>
              <a:gd name="connsiteY172" fmla="*/ 159706 h 1287049"/>
              <a:gd name="connsiteX173" fmla="*/ 1164472 w 1822089"/>
              <a:gd name="connsiteY173" fmla="*/ 165969 h 1287049"/>
              <a:gd name="connsiteX174" fmla="*/ 1155078 w 1822089"/>
              <a:gd name="connsiteY174" fmla="*/ 169101 h 1287049"/>
              <a:gd name="connsiteX175" fmla="*/ 1145683 w 1822089"/>
              <a:gd name="connsiteY175" fmla="*/ 175364 h 1287049"/>
              <a:gd name="connsiteX176" fmla="*/ 1070527 w 1822089"/>
              <a:gd name="connsiteY176" fmla="*/ 172232 h 1287049"/>
              <a:gd name="connsiteX177" fmla="*/ 1042344 w 1822089"/>
              <a:gd name="connsiteY177" fmla="*/ 159706 h 1287049"/>
              <a:gd name="connsiteX178" fmla="*/ 1032949 w 1822089"/>
              <a:gd name="connsiteY178" fmla="*/ 156575 h 1287049"/>
              <a:gd name="connsiteX179" fmla="*/ 1023554 w 1822089"/>
              <a:gd name="connsiteY179" fmla="*/ 137785 h 1287049"/>
              <a:gd name="connsiteX180" fmla="*/ 1026687 w 1822089"/>
              <a:gd name="connsiteY180" fmla="*/ 137785 h 1287049"/>
              <a:gd name="connsiteX181" fmla="*/ 1007898 w 1822089"/>
              <a:gd name="connsiteY181" fmla="*/ 128392 h 1287049"/>
              <a:gd name="connsiteX182" fmla="*/ 989108 w 1822089"/>
              <a:gd name="connsiteY182" fmla="*/ 93945 h 1287049"/>
              <a:gd name="connsiteX183" fmla="*/ 982845 w 1822089"/>
              <a:gd name="connsiteY183" fmla="*/ 75156 h 1287049"/>
              <a:gd name="connsiteX184" fmla="*/ 967188 w 1822089"/>
              <a:gd name="connsiteY184" fmla="*/ 53235 h 1287049"/>
              <a:gd name="connsiteX185" fmla="*/ 960925 w 1822089"/>
              <a:gd name="connsiteY185" fmla="*/ 40709 h 1287049"/>
              <a:gd name="connsiteX186" fmla="*/ 954661 w 1822089"/>
              <a:gd name="connsiteY186" fmla="*/ 31315 h 1287049"/>
              <a:gd name="connsiteX187" fmla="*/ 945267 w 1822089"/>
              <a:gd name="connsiteY187" fmla="*/ 9394 h 1287049"/>
              <a:gd name="connsiteX188" fmla="*/ 939004 w 1822089"/>
              <a:gd name="connsiteY188" fmla="*/ 0 h 1287049"/>
              <a:gd name="connsiteX0" fmla="*/ 939004 w 1822089"/>
              <a:gd name="connsiteY0" fmla="*/ 0 h 1287049"/>
              <a:gd name="connsiteX1" fmla="*/ 923346 w 1822089"/>
              <a:gd name="connsiteY1" fmla="*/ 9394 h 1287049"/>
              <a:gd name="connsiteX2" fmla="*/ 913952 w 1822089"/>
              <a:gd name="connsiteY2" fmla="*/ 12526 h 1287049"/>
              <a:gd name="connsiteX3" fmla="*/ 904557 w 1822089"/>
              <a:gd name="connsiteY3" fmla="*/ 21920 h 1287049"/>
              <a:gd name="connsiteX4" fmla="*/ 885768 w 1822089"/>
              <a:gd name="connsiteY4" fmla="*/ 28183 h 1287049"/>
              <a:gd name="connsiteX5" fmla="*/ 866979 w 1822089"/>
              <a:gd name="connsiteY5" fmla="*/ 34446 h 1287049"/>
              <a:gd name="connsiteX6" fmla="*/ 835664 w 1822089"/>
              <a:gd name="connsiteY6" fmla="*/ 40709 h 1287049"/>
              <a:gd name="connsiteX7" fmla="*/ 816875 w 1822089"/>
              <a:gd name="connsiteY7" fmla="*/ 43841 h 1287049"/>
              <a:gd name="connsiteX8" fmla="*/ 788692 w 1822089"/>
              <a:gd name="connsiteY8" fmla="*/ 50104 h 1287049"/>
              <a:gd name="connsiteX9" fmla="*/ 738588 w 1822089"/>
              <a:gd name="connsiteY9" fmla="*/ 56367 h 1287049"/>
              <a:gd name="connsiteX10" fmla="*/ 722930 w 1822089"/>
              <a:gd name="connsiteY10" fmla="*/ 59498 h 1287049"/>
              <a:gd name="connsiteX11" fmla="*/ 697878 w 1822089"/>
              <a:gd name="connsiteY11" fmla="*/ 62630 h 1287049"/>
              <a:gd name="connsiteX12" fmla="*/ 679089 w 1822089"/>
              <a:gd name="connsiteY12" fmla="*/ 65761 h 1287049"/>
              <a:gd name="connsiteX13" fmla="*/ 635248 w 1822089"/>
              <a:gd name="connsiteY13" fmla="*/ 72024 h 1287049"/>
              <a:gd name="connsiteX14" fmla="*/ 625853 w 1822089"/>
              <a:gd name="connsiteY14" fmla="*/ 75156 h 1287049"/>
              <a:gd name="connsiteX15" fmla="*/ 603933 w 1822089"/>
              <a:gd name="connsiteY15" fmla="*/ 100208 h 1287049"/>
              <a:gd name="connsiteX16" fmla="*/ 597670 w 1822089"/>
              <a:gd name="connsiteY16" fmla="*/ 109602 h 1287049"/>
              <a:gd name="connsiteX17" fmla="*/ 591407 w 1822089"/>
              <a:gd name="connsiteY17" fmla="*/ 128391 h 1287049"/>
              <a:gd name="connsiteX18" fmla="*/ 563223 w 1822089"/>
              <a:gd name="connsiteY18" fmla="*/ 150312 h 1287049"/>
              <a:gd name="connsiteX19" fmla="*/ 553829 w 1822089"/>
              <a:gd name="connsiteY19" fmla="*/ 156575 h 1287049"/>
              <a:gd name="connsiteX20" fmla="*/ 547566 w 1822089"/>
              <a:gd name="connsiteY20" fmla="*/ 165969 h 1287049"/>
              <a:gd name="connsiteX21" fmla="*/ 541303 w 1822089"/>
              <a:gd name="connsiteY21" fmla="*/ 184758 h 1287049"/>
              <a:gd name="connsiteX22" fmla="*/ 538171 w 1822089"/>
              <a:gd name="connsiteY22" fmla="*/ 194153 h 1287049"/>
              <a:gd name="connsiteX23" fmla="*/ 519382 w 1822089"/>
              <a:gd name="connsiteY23" fmla="*/ 250520 h 1287049"/>
              <a:gd name="connsiteX24" fmla="*/ 509988 w 1822089"/>
              <a:gd name="connsiteY24" fmla="*/ 278704 h 1287049"/>
              <a:gd name="connsiteX25" fmla="*/ 506856 w 1822089"/>
              <a:gd name="connsiteY25" fmla="*/ 288098 h 1287049"/>
              <a:gd name="connsiteX26" fmla="*/ 488067 w 1822089"/>
              <a:gd name="connsiteY26" fmla="*/ 316282 h 1287049"/>
              <a:gd name="connsiteX27" fmla="*/ 481804 w 1822089"/>
              <a:gd name="connsiteY27" fmla="*/ 325676 h 1287049"/>
              <a:gd name="connsiteX28" fmla="*/ 469278 w 1822089"/>
              <a:gd name="connsiteY28" fmla="*/ 363254 h 1287049"/>
              <a:gd name="connsiteX29" fmla="*/ 466146 w 1822089"/>
              <a:gd name="connsiteY29" fmla="*/ 372649 h 1287049"/>
              <a:gd name="connsiteX30" fmla="*/ 463015 w 1822089"/>
              <a:gd name="connsiteY30" fmla="*/ 382043 h 1287049"/>
              <a:gd name="connsiteX31" fmla="*/ 456752 w 1822089"/>
              <a:gd name="connsiteY31" fmla="*/ 391438 h 1287049"/>
              <a:gd name="connsiteX32" fmla="*/ 450489 w 1822089"/>
              <a:gd name="connsiteY32" fmla="*/ 410227 h 1287049"/>
              <a:gd name="connsiteX33" fmla="*/ 447357 w 1822089"/>
              <a:gd name="connsiteY33" fmla="*/ 419621 h 1287049"/>
              <a:gd name="connsiteX34" fmla="*/ 441094 w 1822089"/>
              <a:gd name="connsiteY34" fmla="*/ 429016 h 1287049"/>
              <a:gd name="connsiteX35" fmla="*/ 431700 w 1822089"/>
              <a:gd name="connsiteY35" fmla="*/ 447805 h 1287049"/>
              <a:gd name="connsiteX36" fmla="*/ 425437 w 1822089"/>
              <a:gd name="connsiteY36" fmla="*/ 466594 h 1287049"/>
              <a:gd name="connsiteX37" fmla="*/ 419174 w 1822089"/>
              <a:gd name="connsiteY37" fmla="*/ 485383 h 1287049"/>
              <a:gd name="connsiteX38" fmla="*/ 412911 w 1822089"/>
              <a:gd name="connsiteY38" fmla="*/ 494778 h 1287049"/>
              <a:gd name="connsiteX39" fmla="*/ 409779 w 1822089"/>
              <a:gd name="connsiteY39" fmla="*/ 504172 h 1287049"/>
              <a:gd name="connsiteX40" fmla="*/ 387859 w 1822089"/>
              <a:gd name="connsiteY40" fmla="*/ 532356 h 1287049"/>
              <a:gd name="connsiteX41" fmla="*/ 381596 w 1822089"/>
              <a:gd name="connsiteY41" fmla="*/ 541750 h 1287049"/>
              <a:gd name="connsiteX42" fmla="*/ 372201 w 1822089"/>
              <a:gd name="connsiteY42" fmla="*/ 544882 h 1287049"/>
              <a:gd name="connsiteX43" fmla="*/ 344018 w 1822089"/>
              <a:gd name="connsiteY43" fmla="*/ 563671 h 1287049"/>
              <a:gd name="connsiteX44" fmla="*/ 331492 w 1822089"/>
              <a:gd name="connsiteY44" fmla="*/ 569934 h 1287049"/>
              <a:gd name="connsiteX45" fmla="*/ 312703 w 1822089"/>
              <a:gd name="connsiteY45" fmla="*/ 576197 h 1287049"/>
              <a:gd name="connsiteX46" fmla="*/ 287651 w 1822089"/>
              <a:gd name="connsiteY46" fmla="*/ 582460 h 1287049"/>
              <a:gd name="connsiteX47" fmla="*/ 256335 w 1822089"/>
              <a:gd name="connsiteY47" fmla="*/ 585591 h 1287049"/>
              <a:gd name="connsiteX48" fmla="*/ 246941 w 1822089"/>
              <a:gd name="connsiteY48" fmla="*/ 591854 h 1287049"/>
              <a:gd name="connsiteX49" fmla="*/ 225020 w 1822089"/>
              <a:gd name="connsiteY49" fmla="*/ 620038 h 1287049"/>
              <a:gd name="connsiteX50" fmla="*/ 184311 w 1822089"/>
              <a:gd name="connsiteY50" fmla="*/ 629432 h 1287049"/>
              <a:gd name="connsiteX51" fmla="*/ 156127 w 1822089"/>
              <a:gd name="connsiteY51" fmla="*/ 638827 h 1287049"/>
              <a:gd name="connsiteX52" fmla="*/ 146733 w 1822089"/>
              <a:gd name="connsiteY52" fmla="*/ 645090 h 1287049"/>
              <a:gd name="connsiteX53" fmla="*/ 140470 w 1822089"/>
              <a:gd name="connsiteY53" fmla="*/ 654484 h 1287049"/>
              <a:gd name="connsiteX54" fmla="*/ 131075 w 1822089"/>
              <a:gd name="connsiteY54" fmla="*/ 685800 h 1287049"/>
              <a:gd name="connsiteX55" fmla="*/ 124812 w 1822089"/>
              <a:gd name="connsiteY55" fmla="*/ 726509 h 1287049"/>
              <a:gd name="connsiteX56" fmla="*/ 109155 w 1822089"/>
              <a:gd name="connsiteY56" fmla="*/ 745298 h 1287049"/>
              <a:gd name="connsiteX57" fmla="*/ 102892 w 1822089"/>
              <a:gd name="connsiteY57" fmla="*/ 754693 h 1287049"/>
              <a:gd name="connsiteX58" fmla="*/ 96629 w 1822089"/>
              <a:gd name="connsiteY58" fmla="*/ 779745 h 1287049"/>
              <a:gd name="connsiteX59" fmla="*/ 90366 w 1822089"/>
              <a:gd name="connsiteY59" fmla="*/ 798534 h 1287049"/>
              <a:gd name="connsiteX60" fmla="*/ 84103 w 1822089"/>
              <a:gd name="connsiteY60" fmla="*/ 807928 h 1287049"/>
              <a:gd name="connsiteX61" fmla="*/ 80971 w 1822089"/>
              <a:gd name="connsiteY61" fmla="*/ 817323 h 1287049"/>
              <a:gd name="connsiteX62" fmla="*/ 77840 w 1822089"/>
              <a:gd name="connsiteY62" fmla="*/ 836112 h 1287049"/>
              <a:gd name="connsiteX63" fmla="*/ 74708 w 1822089"/>
              <a:gd name="connsiteY63" fmla="*/ 845506 h 1287049"/>
              <a:gd name="connsiteX64" fmla="*/ 68445 w 1822089"/>
              <a:gd name="connsiteY64" fmla="*/ 873690 h 1287049"/>
              <a:gd name="connsiteX65" fmla="*/ 62182 w 1822089"/>
              <a:gd name="connsiteY65" fmla="*/ 883084 h 1287049"/>
              <a:gd name="connsiteX66" fmla="*/ 59051 w 1822089"/>
              <a:gd name="connsiteY66" fmla="*/ 892479 h 1287049"/>
              <a:gd name="connsiteX67" fmla="*/ 52788 w 1822089"/>
              <a:gd name="connsiteY67" fmla="*/ 901873 h 1287049"/>
              <a:gd name="connsiteX68" fmla="*/ 40261 w 1822089"/>
              <a:gd name="connsiteY68" fmla="*/ 930057 h 1287049"/>
              <a:gd name="connsiteX69" fmla="*/ 27735 w 1822089"/>
              <a:gd name="connsiteY69" fmla="*/ 967635 h 1287049"/>
              <a:gd name="connsiteX70" fmla="*/ 24604 w 1822089"/>
              <a:gd name="connsiteY70" fmla="*/ 977030 h 1287049"/>
              <a:gd name="connsiteX71" fmla="*/ 18341 w 1822089"/>
              <a:gd name="connsiteY71" fmla="*/ 986424 h 1287049"/>
              <a:gd name="connsiteX72" fmla="*/ 12078 w 1822089"/>
              <a:gd name="connsiteY72" fmla="*/ 1005213 h 1287049"/>
              <a:gd name="connsiteX73" fmla="*/ 8946 w 1822089"/>
              <a:gd name="connsiteY73" fmla="*/ 1099158 h 1287049"/>
              <a:gd name="connsiteX74" fmla="*/ 5815 w 1822089"/>
              <a:gd name="connsiteY74" fmla="*/ 1111684 h 1287049"/>
              <a:gd name="connsiteX75" fmla="*/ 2683 w 1822089"/>
              <a:gd name="connsiteY75" fmla="*/ 1133605 h 1287049"/>
              <a:gd name="connsiteX76" fmla="*/ 5815 w 1822089"/>
              <a:gd name="connsiteY76" fmla="*/ 1196235 h 1287049"/>
              <a:gd name="connsiteX77" fmla="*/ 46525 w 1822089"/>
              <a:gd name="connsiteY77" fmla="*/ 1199367 h 1287049"/>
              <a:gd name="connsiteX78" fmla="*/ 52788 w 1822089"/>
              <a:gd name="connsiteY78" fmla="*/ 1208761 h 1287049"/>
              <a:gd name="connsiteX79" fmla="*/ 59051 w 1822089"/>
              <a:gd name="connsiteY79" fmla="*/ 1227550 h 1287049"/>
              <a:gd name="connsiteX80" fmla="*/ 68445 w 1822089"/>
              <a:gd name="connsiteY80" fmla="*/ 1246339 h 1287049"/>
              <a:gd name="connsiteX81" fmla="*/ 77840 w 1822089"/>
              <a:gd name="connsiteY81" fmla="*/ 1252602 h 1287049"/>
              <a:gd name="connsiteX82" fmla="*/ 99760 w 1822089"/>
              <a:gd name="connsiteY82" fmla="*/ 1249471 h 1287049"/>
              <a:gd name="connsiteX83" fmla="*/ 118549 w 1822089"/>
              <a:gd name="connsiteY83" fmla="*/ 1236945 h 1287049"/>
              <a:gd name="connsiteX84" fmla="*/ 127944 w 1822089"/>
              <a:gd name="connsiteY84" fmla="*/ 1233813 h 1287049"/>
              <a:gd name="connsiteX85" fmla="*/ 143601 w 1822089"/>
              <a:gd name="connsiteY85" fmla="*/ 1236945 h 1287049"/>
              <a:gd name="connsiteX86" fmla="*/ 152996 w 1822089"/>
              <a:gd name="connsiteY86" fmla="*/ 1240076 h 1287049"/>
              <a:gd name="connsiteX87" fmla="*/ 196837 w 1822089"/>
              <a:gd name="connsiteY87" fmla="*/ 1233813 h 1287049"/>
              <a:gd name="connsiteX88" fmla="*/ 225020 w 1822089"/>
              <a:gd name="connsiteY88" fmla="*/ 1224419 h 1287049"/>
              <a:gd name="connsiteX89" fmla="*/ 250072 w 1822089"/>
              <a:gd name="connsiteY89" fmla="*/ 1227550 h 1287049"/>
              <a:gd name="connsiteX90" fmla="*/ 259467 w 1822089"/>
              <a:gd name="connsiteY90" fmla="*/ 1230682 h 1287049"/>
              <a:gd name="connsiteX91" fmla="*/ 268861 w 1822089"/>
              <a:gd name="connsiteY91" fmla="*/ 1236945 h 1287049"/>
              <a:gd name="connsiteX92" fmla="*/ 284519 w 1822089"/>
              <a:gd name="connsiteY92" fmla="*/ 1240076 h 1287049"/>
              <a:gd name="connsiteX93" fmla="*/ 293914 w 1822089"/>
              <a:gd name="connsiteY93" fmla="*/ 1243208 h 1287049"/>
              <a:gd name="connsiteX94" fmla="*/ 325229 w 1822089"/>
              <a:gd name="connsiteY94" fmla="*/ 1252602 h 1287049"/>
              <a:gd name="connsiteX95" fmla="*/ 344018 w 1822089"/>
              <a:gd name="connsiteY95" fmla="*/ 1258865 h 1287049"/>
              <a:gd name="connsiteX96" fmla="*/ 353412 w 1822089"/>
              <a:gd name="connsiteY96" fmla="*/ 1261997 h 1287049"/>
              <a:gd name="connsiteX97" fmla="*/ 384727 w 1822089"/>
              <a:gd name="connsiteY97" fmla="*/ 1258865 h 1287049"/>
              <a:gd name="connsiteX98" fmla="*/ 403516 w 1822089"/>
              <a:gd name="connsiteY98" fmla="*/ 1249471 h 1287049"/>
              <a:gd name="connsiteX99" fmla="*/ 428568 w 1822089"/>
              <a:gd name="connsiteY99" fmla="*/ 1243208 h 1287049"/>
              <a:gd name="connsiteX100" fmla="*/ 437963 w 1822089"/>
              <a:gd name="connsiteY100" fmla="*/ 1240076 h 1287049"/>
              <a:gd name="connsiteX101" fmla="*/ 484935 w 1822089"/>
              <a:gd name="connsiteY101" fmla="*/ 1243208 h 1287049"/>
              <a:gd name="connsiteX102" fmla="*/ 503725 w 1822089"/>
              <a:gd name="connsiteY102" fmla="*/ 1246339 h 1287049"/>
              <a:gd name="connsiteX103" fmla="*/ 516251 w 1822089"/>
              <a:gd name="connsiteY103" fmla="*/ 1249471 h 1287049"/>
              <a:gd name="connsiteX104" fmla="*/ 572618 w 1822089"/>
              <a:gd name="connsiteY104" fmla="*/ 1252602 h 1287049"/>
              <a:gd name="connsiteX105" fmla="*/ 594538 w 1822089"/>
              <a:gd name="connsiteY105" fmla="*/ 1261997 h 1287049"/>
              <a:gd name="connsiteX106" fmla="*/ 613327 w 1822089"/>
              <a:gd name="connsiteY106" fmla="*/ 1268260 h 1287049"/>
              <a:gd name="connsiteX107" fmla="*/ 650905 w 1822089"/>
              <a:gd name="connsiteY107" fmla="*/ 1280786 h 1287049"/>
              <a:gd name="connsiteX108" fmla="*/ 663431 w 1822089"/>
              <a:gd name="connsiteY108" fmla="*/ 1283917 h 1287049"/>
              <a:gd name="connsiteX109" fmla="*/ 672826 w 1822089"/>
              <a:gd name="connsiteY109" fmla="*/ 1287049 h 1287049"/>
              <a:gd name="connsiteX110" fmla="*/ 704141 w 1822089"/>
              <a:gd name="connsiteY110" fmla="*/ 1283917 h 1287049"/>
              <a:gd name="connsiteX111" fmla="*/ 713535 w 1822089"/>
              <a:gd name="connsiteY111" fmla="*/ 1280786 h 1287049"/>
              <a:gd name="connsiteX112" fmla="*/ 757377 w 1822089"/>
              <a:gd name="connsiteY112" fmla="*/ 1274523 h 1287049"/>
              <a:gd name="connsiteX113" fmla="*/ 826270 w 1822089"/>
              <a:gd name="connsiteY113" fmla="*/ 1271391 h 1287049"/>
              <a:gd name="connsiteX114" fmla="*/ 832533 w 1822089"/>
              <a:gd name="connsiteY114" fmla="*/ 1261997 h 1287049"/>
              <a:gd name="connsiteX115" fmla="*/ 838796 w 1822089"/>
              <a:gd name="connsiteY115" fmla="*/ 1236945 h 1287049"/>
              <a:gd name="connsiteX116" fmla="*/ 841927 w 1822089"/>
              <a:gd name="connsiteY116" fmla="*/ 1227550 h 1287049"/>
              <a:gd name="connsiteX117" fmla="*/ 845059 w 1822089"/>
              <a:gd name="connsiteY117" fmla="*/ 1208761 h 1287049"/>
              <a:gd name="connsiteX118" fmla="*/ 848190 w 1822089"/>
              <a:gd name="connsiteY118" fmla="*/ 989556 h 1287049"/>
              <a:gd name="connsiteX119" fmla="*/ 851322 w 1822089"/>
              <a:gd name="connsiteY119" fmla="*/ 980161 h 1287049"/>
              <a:gd name="connsiteX120" fmla="*/ 854453 w 1822089"/>
              <a:gd name="connsiteY120" fmla="*/ 958241 h 1287049"/>
              <a:gd name="connsiteX121" fmla="*/ 857585 w 1822089"/>
              <a:gd name="connsiteY121" fmla="*/ 886216 h 1287049"/>
              <a:gd name="connsiteX122" fmla="*/ 860716 w 1822089"/>
              <a:gd name="connsiteY122" fmla="*/ 876821 h 1287049"/>
              <a:gd name="connsiteX123" fmla="*/ 863848 w 1822089"/>
              <a:gd name="connsiteY123" fmla="*/ 848638 h 1287049"/>
              <a:gd name="connsiteX124" fmla="*/ 866979 w 1822089"/>
              <a:gd name="connsiteY124" fmla="*/ 770350 h 1287049"/>
              <a:gd name="connsiteX125" fmla="*/ 876374 w 1822089"/>
              <a:gd name="connsiteY125" fmla="*/ 767219 h 1287049"/>
              <a:gd name="connsiteX126" fmla="*/ 967188 w 1822089"/>
              <a:gd name="connsiteY126" fmla="*/ 770350 h 1287049"/>
              <a:gd name="connsiteX127" fmla="*/ 1111237 w 1822089"/>
              <a:gd name="connsiteY127" fmla="*/ 776613 h 1287049"/>
              <a:gd name="connsiteX128" fmla="*/ 1136289 w 1822089"/>
              <a:gd name="connsiteY128" fmla="*/ 779745 h 1287049"/>
              <a:gd name="connsiteX129" fmla="*/ 1330442 w 1822089"/>
              <a:gd name="connsiteY129" fmla="*/ 786008 h 1287049"/>
              <a:gd name="connsiteX130" fmla="*/ 1364889 w 1822089"/>
              <a:gd name="connsiteY130" fmla="*/ 789139 h 1287049"/>
              <a:gd name="connsiteX131" fmla="*/ 1374283 w 1822089"/>
              <a:gd name="connsiteY131" fmla="*/ 792271 h 1287049"/>
              <a:gd name="connsiteX132" fmla="*/ 1555911 w 1822089"/>
              <a:gd name="connsiteY132" fmla="*/ 798534 h 1287049"/>
              <a:gd name="connsiteX133" fmla="*/ 1602883 w 1822089"/>
              <a:gd name="connsiteY133" fmla="*/ 801665 h 1287049"/>
              <a:gd name="connsiteX134" fmla="*/ 1800168 w 1822089"/>
              <a:gd name="connsiteY134" fmla="*/ 807928 h 1287049"/>
              <a:gd name="connsiteX135" fmla="*/ 1800168 w 1822089"/>
              <a:gd name="connsiteY135" fmla="*/ 760956 h 1287049"/>
              <a:gd name="connsiteX136" fmla="*/ 1803300 w 1822089"/>
              <a:gd name="connsiteY136" fmla="*/ 645090 h 1287049"/>
              <a:gd name="connsiteX137" fmla="*/ 1806431 w 1822089"/>
              <a:gd name="connsiteY137" fmla="*/ 632564 h 1287049"/>
              <a:gd name="connsiteX138" fmla="*/ 1809563 w 1822089"/>
              <a:gd name="connsiteY138" fmla="*/ 616906 h 1287049"/>
              <a:gd name="connsiteX139" fmla="*/ 1812694 w 1822089"/>
              <a:gd name="connsiteY139" fmla="*/ 585591 h 1287049"/>
              <a:gd name="connsiteX140" fmla="*/ 1815826 w 1822089"/>
              <a:gd name="connsiteY140" fmla="*/ 576197 h 1287049"/>
              <a:gd name="connsiteX141" fmla="*/ 1822089 w 1822089"/>
              <a:gd name="connsiteY141" fmla="*/ 519830 h 1287049"/>
              <a:gd name="connsiteX142" fmla="*/ 1818957 w 1822089"/>
              <a:gd name="connsiteY142" fmla="*/ 485383 h 1287049"/>
              <a:gd name="connsiteX143" fmla="*/ 1781379 w 1822089"/>
              <a:gd name="connsiteY143" fmla="*/ 466594 h 1287049"/>
              <a:gd name="connsiteX144" fmla="*/ 1771985 w 1822089"/>
              <a:gd name="connsiteY144" fmla="*/ 463463 h 1287049"/>
              <a:gd name="connsiteX145" fmla="*/ 1762590 w 1822089"/>
              <a:gd name="connsiteY145" fmla="*/ 457200 h 1287049"/>
              <a:gd name="connsiteX146" fmla="*/ 1753196 w 1822089"/>
              <a:gd name="connsiteY146" fmla="*/ 454068 h 1287049"/>
              <a:gd name="connsiteX147" fmla="*/ 1728144 w 1822089"/>
              <a:gd name="connsiteY147" fmla="*/ 425884 h 1287049"/>
              <a:gd name="connsiteX148" fmla="*/ 1718749 w 1822089"/>
              <a:gd name="connsiteY148" fmla="*/ 416490 h 1287049"/>
              <a:gd name="connsiteX149" fmla="*/ 1706223 w 1822089"/>
              <a:gd name="connsiteY149" fmla="*/ 397701 h 1287049"/>
              <a:gd name="connsiteX150" fmla="*/ 1681171 w 1822089"/>
              <a:gd name="connsiteY150" fmla="*/ 360123 h 1287049"/>
              <a:gd name="connsiteX151" fmla="*/ 1668645 w 1822089"/>
              <a:gd name="connsiteY151" fmla="*/ 341334 h 1287049"/>
              <a:gd name="connsiteX152" fmla="*/ 1662382 w 1822089"/>
              <a:gd name="connsiteY152" fmla="*/ 331939 h 1287049"/>
              <a:gd name="connsiteX153" fmla="*/ 1652988 w 1822089"/>
              <a:gd name="connsiteY153" fmla="*/ 306887 h 1287049"/>
              <a:gd name="connsiteX154" fmla="*/ 1599752 w 1822089"/>
              <a:gd name="connsiteY154" fmla="*/ 313150 h 1287049"/>
              <a:gd name="connsiteX155" fmla="*/ 1577831 w 1822089"/>
              <a:gd name="connsiteY155" fmla="*/ 300624 h 1287049"/>
              <a:gd name="connsiteX156" fmla="*/ 1571568 w 1822089"/>
              <a:gd name="connsiteY156" fmla="*/ 291230 h 1287049"/>
              <a:gd name="connsiteX157" fmla="*/ 1562174 w 1822089"/>
              <a:gd name="connsiteY157" fmla="*/ 284967 h 1287049"/>
              <a:gd name="connsiteX158" fmla="*/ 1552779 w 1822089"/>
              <a:gd name="connsiteY158" fmla="*/ 275572 h 1287049"/>
              <a:gd name="connsiteX159" fmla="*/ 1524596 w 1822089"/>
              <a:gd name="connsiteY159" fmla="*/ 259915 h 1287049"/>
              <a:gd name="connsiteX160" fmla="*/ 1515201 w 1822089"/>
              <a:gd name="connsiteY160" fmla="*/ 250520 h 1287049"/>
              <a:gd name="connsiteX161" fmla="*/ 1505807 w 1822089"/>
              <a:gd name="connsiteY161" fmla="*/ 244257 h 1287049"/>
              <a:gd name="connsiteX162" fmla="*/ 1493281 w 1822089"/>
              <a:gd name="connsiteY162" fmla="*/ 234863 h 1287049"/>
              <a:gd name="connsiteX163" fmla="*/ 1474492 w 1822089"/>
              <a:gd name="connsiteY163" fmla="*/ 225468 h 1287049"/>
              <a:gd name="connsiteX164" fmla="*/ 1424388 w 1822089"/>
              <a:gd name="connsiteY164" fmla="*/ 222336 h 1287049"/>
              <a:gd name="connsiteX165" fmla="*/ 1405598 w 1822089"/>
              <a:gd name="connsiteY165" fmla="*/ 212942 h 1287049"/>
              <a:gd name="connsiteX166" fmla="*/ 1396204 w 1822089"/>
              <a:gd name="connsiteY166" fmla="*/ 203547 h 1287049"/>
              <a:gd name="connsiteX167" fmla="*/ 1383678 w 1822089"/>
              <a:gd name="connsiteY167" fmla="*/ 197284 h 1287049"/>
              <a:gd name="connsiteX168" fmla="*/ 1377415 w 1822089"/>
              <a:gd name="connsiteY168" fmla="*/ 187890 h 1287049"/>
              <a:gd name="connsiteX169" fmla="*/ 1349231 w 1822089"/>
              <a:gd name="connsiteY169" fmla="*/ 172232 h 1287049"/>
              <a:gd name="connsiteX170" fmla="*/ 1295996 w 1822089"/>
              <a:gd name="connsiteY170" fmla="*/ 169101 h 1287049"/>
              <a:gd name="connsiteX171" fmla="*/ 1267812 w 1822089"/>
              <a:gd name="connsiteY171" fmla="*/ 162838 h 1287049"/>
              <a:gd name="connsiteX172" fmla="*/ 1258418 w 1822089"/>
              <a:gd name="connsiteY172" fmla="*/ 159706 h 1287049"/>
              <a:gd name="connsiteX173" fmla="*/ 1164472 w 1822089"/>
              <a:gd name="connsiteY173" fmla="*/ 165969 h 1287049"/>
              <a:gd name="connsiteX174" fmla="*/ 1155078 w 1822089"/>
              <a:gd name="connsiteY174" fmla="*/ 169101 h 1287049"/>
              <a:gd name="connsiteX175" fmla="*/ 1145683 w 1822089"/>
              <a:gd name="connsiteY175" fmla="*/ 175364 h 1287049"/>
              <a:gd name="connsiteX176" fmla="*/ 1070527 w 1822089"/>
              <a:gd name="connsiteY176" fmla="*/ 172232 h 1287049"/>
              <a:gd name="connsiteX177" fmla="*/ 1042344 w 1822089"/>
              <a:gd name="connsiteY177" fmla="*/ 159706 h 1287049"/>
              <a:gd name="connsiteX178" fmla="*/ 1042343 w 1822089"/>
              <a:gd name="connsiteY178" fmla="*/ 153444 h 1287049"/>
              <a:gd name="connsiteX179" fmla="*/ 1023554 w 1822089"/>
              <a:gd name="connsiteY179" fmla="*/ 137785 h 1287049"/>
              <a:gd name="connsiteX180" fmla="*/ 1026687 w 1822089"/>
              <a:gd name="connsiteY180" fmla="*/ 137785 h 1287049"/>
              <a:gd name="connsiteX181" fmla="*/ 1007898 w 1822089"/>
              <a:gd name="connsiteY181" fmla="*/ 128392 h 1287049"/>
              <a:gd name="connsiteX182" fmla="*/ 989108 w 1822089"/>
              <a:gd name="connsiteY182" fmla="*/ 93945 h 1287049"/>
              <a:gd name="connsiteX183" fmla="*/ 982845 w 1822089"/>
              <a:gd name="connsiteY183" fmla="*/ 75156 h 1287049"/>
              <a:gd name="connsiteX184" fmla="*/ 967188 w 1822089"/>
              <a:gd name="connsiteY184" fmla="*/ 53235 h 1287049"/>
              <a:gd name="connsiteX185" fmla="*/ 960925 w 1822089"/>
              <a:gd name="connsiteY185" fmla="*/ 40709 h 1287049"/>
              <a:gd name="connsiteX186" fmla="*/ 954661 w 1822089"/>
              <a:gd name="connsiteY186" fmla="*/ 31315 h 1287049"/>
              <a:gd name="connsiteX187" fmla="*/ 945267 w 1822089"/>
              <a:gd name="connsiteY187" fmla="*/ 9394 h 1287049"/>
              <a:gd name="connsiteX188" fmla="*/ 939004 w 1822089"/>
              <a:gd name="connsiteY188" fmla="*/ 0 h 1287049"/>
              <a:gd name="connsiteX0" fmla="*/ 939004 w 1822089"/>
              <a:gd name="connsiteY0" fmla="*/ 0 h 1287049"/>
              <a:gd name="connsiteX1" fmla="*/ 923346 w 1822089"/>
              <a:gd name="connsiteY1" fmla="*/ 9394 h 1287049"/>
              <a:gd name="connsiteX2" fmla="*/ 913952 w 1822089"/>
              <a:gd name="connsiteY2" fmla="*/ 12526 h 1287049"/>
              <a:gd name="connsiteX3" fmla="*/ 904557 w 1822089"/>
              <a:gd name="connsiteY3" fmla="*/ 21920 h 1287049"/>
              <a:gd name="connsiteX4" fmla="*/ 885768 w 1822089"/>
              <a:gd name="connsiteY4" fmla="*/ 28183 h 1287049"/>
              <a:gd name="connsiteX5" fmla="*/ 866979 w 1822089"/>
              <a:gd name="connsiteY5" fmla="*/ 34446 h 1287049"/>
              <a:gd name="connsiteX6" fmla="*/ 835664 w 1822089"/>
              <a:gd name="connsiteY6" fmla="*/ 40709 h 1287049"/>
              <a:gd name="connsiteX7" fmla="*/ 816875 w 1822089"/>
              <a:gd name="connsiteY7" fmla="*/ 43841 h 1287049"/>
              <a:gd name="connsiteX8" fmla="*/ 788692 w 1822089"/>
              <a:gd name="connsiteY8" fmla="*/ 50104 h 1287049"/>
              <a:gd name="connsiteX9" fmla="*/ 738588 w 1822089"/>
              <a:gd name="connsiteY9" fmla="*/ 56367 h 1287049"/>
              <a:gd name="connsiteX10" fmla="*/ 722930 w 1822089"/>
              <a:gd name="connsiteY10" fmla="*/ 59498 h 1287049"/>
              <a:gd name="connsiteX11" fmla="*/ 697878 w 1822089"/>
              <a:gd name="connsiteY11" fmla="*/ 62630 h 1287049"/>
              <a:gd name="connsiteX12" fmla="*/ 679089 w 1822089"/>
              <a:gd name="connsiteY12" fmla="*/ 65761 h 1287049"/>
              <a:gd name="connsiteX13" fmla="*/ 635248 w 1822089"/>
              <a:gd name="connsiteY13" fmla="*/ 72024 h 1287049"/>
              <a:gd name="connsiteX14" fmla="*/ 625853 w 1822089"/>
              <a:gd name="connsiteY14" fmla="*/ 75156 h 1287049"/>
              <a:gd name="connsiteX15" fmla="*/ 603933 w 1822089"/>
              <a:gd name="connsiteY15" fmla="*/ 100208 h 1287049"/>
              <a:gd name="connsiteX16" fmla="*/ 597670 w 1822089"/>
              <a:gd name="connsiteY16" fmla="*/ 109602 h 1287049"/>
              <a:gd name="connsiteX17" fmla="*/ 591407 w 1822089"/>
              <a:gd name="connsiteY17" fmla="*/ 128391 h 1287049"/>
              <a:gd name="connsiteX18" fmla="*/ 563223 w 1822089"/>
              <a:gd name="connsiteY18" fmla="*/ 150312 h 1287049"/>
              <a:gd name="connsiteX19" fmla="*/ 553829 w 1822089"/>
              <a:gd name="connsiteY19" fmla="*/ 156575 h 1287049"/>
              <a:gd name="connsiteX20" fmla="*/ 547566 w 1822089"/>
              <a:gd name="connsiteY20" fmla="*/ 165969 h 1287049"/>
              <a:gd name="connsiteX21" fmla="*/ 541303 w 1822089"/>
              <a:gd name="connsiteY21" fmla="*/ 184758 h 1287049"/>
              <a:gd name="connsiteX22" fmla="*/ 538171 w 1822089"/>
              <a:gd name="connsiteY22" fmla="*/ 194153 h 1287049"/>
              <a:gd name="connsiteX23" fmla="*/ 519382 w 1822089"/>
              <a:gd name="connsiteY23" fmla="*/ 250520 h 1287049"/>
              <a:gd name="connsiteX24" fmla="*/ 509988 w 1822089"/>
              <a:gd name="connsiteY24" fmla="*/ 278704 h 1287049"/>
              <a:gd name="connsiteX25" fmla="*/ 506856 w 1822089"/>
              <a:gd name="connsiteY25" fmla="*/ 288098 h 1287049"/>
              <a:gd name="connsiteX26" fmla="*/ 488067 w 1822089"/>
              <a:gd name="connsiteY26" fmla="*/ 316282 h 1287049"/>
              <a:gd name="connsiteX27" fmla="*/ 481804 w 1822089"/>
              <a:gd name="connsiteY27" fmla="*/ 325676 h 1287049"/>
              <a:gd name="connsiteX28" fmla="*/ 469278 w 1822089"/>
              <a:gd name="connsiteY28" fmla="*/ 363254 h 1287049"/>
              <a:gd name="connsiteX29" fmla="*/ 466146 w 1822089"/>
              <a:gd name="connsiteY29" fmla="*/ 372649 h 1287049"/>
              <a:gd name="connsiteX30" fmla="*/ 463015 w 1822089"/>
              <a:gd name="connsiteY30" fmla="*/ 382043 h 1287049"/>
              <a:gd name="connsiteX31" fmla="*/ 456752 w 1822089"/>
              <a:gd name="connsiteY31" fmla="*/ 391438 h 1287049"/>
              <a:gd name="connsiteX32" fmla="*/ 450489 w 1822089"/>
              <a:gd name="connsiteY32" fmla="*/ 410227 h 1287049"/>
              <a:gd name="connsiteX33" fmla="*/ 447357 w 1822089"/>
              <a:gd name="connsiteY33" fmla="*/ 419621 h 1287049"/>
              <a:gd name="connsiteX34" fmla="*/ 441094 w 1822089"/>
              <a:gd name="connsiteY34" fmla="*/ 429016 h 1287049"/>
              <a:gd name="connsiteX35" fmla="*/ 431700 w 1822089"/>
              <a:gd name="connsiteY35" fmla="*/ 447805 h 1287049"/>
              <a:gd name="connsiteX36" fmla="*/ 425437 w 1822089"/>
              <a:gd name="connsiteY36" fmla="*/ 466594 h 1287049"/>
              <a:gd name="connsiteX37" fmla="*/ 419174 w 1822089"/>
              <a:gd name="connsiteY37" fmla="*/ 485383 h 1287049"/>
              <a:gd name="connsiteX38" fmla="*/ 412911 w 1822089"/>
              <a:gd name="connsiteY38" fmla="*/ 494778 h 1287049"/>
              <a:gd name="connsiteX39" fmla="*/ 409779 w 1822089"/>
              <a:gd name="connsiteY39" fmla="*/ 504172 h 1287049"/>
              <a:gd name="connsiteX40" fmla="*/ 387859 w 1822089"/>
              <a:gd name="connsiteY40" fmla="*/ 532356 h 1287049"/>
              <a:gd name="connsiteX41" fmla="*/ 381596 w 1822089"/>
              <a:gd name="connsiteY41" fmla="*/ 541750 h 1287049"/>
              <a:gd name="connsiteX42" fmla="*/ 372201 w 1822089"/>
              <a:gd name="connsiteY42" fmla="*/ 544882 h 1287049"/>
              <a:gd name="connsiteX43" fmla="*/ 344018 w 1822089"/>
              <a:gd name="connsiteY43" fmla="*/ 563671 h 1287049"/>
              <a:gd name="connsiteX44" fmla="*/ 331492 w 1822089"/>
              <a:gd name="connsiteY44" fmla="*/ 569934 h 1287049"/>
              <a:gd name="connsiteX45" fmla="*/ 312703 w 1822089"/>
              <a:gd name="connsiteY45" fmla="*/ 576197 h 1287049"/>
              <a:gd name="connsiteX46" fmla="*/ 287651 w 1822089"/>
              <a:gd name="connsiteY46" fmla="*/ 582460 h 1287049"/>
              <a:gd name="connsiteX47" fmla="*/ 256335 w 1822089"/>
              <a:gd name="connsiteY47" fmla="*/ 585591 h 1287049"/>
              <a:gd name="connsiteX48" fmla="*/ 246941 w 1822089"/>
              <a:gd name="connsiteY48" fmla="*/ 591854 h 1287049"/>
              <a:gd name="connsiteX49" fmla="*/ 225020 w 1822089"/>
              <a:gd name="connsiteY49" fmla="*/ 620038 h 1287049"/>
              <a:gd name="connsiteX50" fmla="*/ 184311 w 1822089"/>
              <a:gd name="connsiteY50" fmla="*/ 629432 h 1287049"/>
              <a:gd name="connsiteX51" fmla="*/ 156127 w 1822089"/>
              <a:gd name="connsiteY51" fmla="*/ 638827 h 1287049"/>
              <a:gd name="connsiteX52" fmla="*/ 146733 w 1822089"/>
              <a:gd name="connsiteY52" fmla="*/ 645090 h 1287049"/>
              <a:gd name="connsiteX53" fmla="*/ 140470 w 1822089"/>
              <a:gd name="connsiteY53" fmla="*/ 654484 h 1287049"/>
              <a:gd name="connsiteX54" fmla="*/ 131075 w 1822089"/>
              <a:gd name="connsiteY54" fmla="*/ 685800 h 1287049"/>
              <a:gd name="connsiteX55" fmla="*/ 124812 w 1822089"/>
              <a:gd name="connsiteY55" fmla="*/ 726509 h 1287049"/>
              <a:gd name="connsiteX56" fmla="*/ 109155 w 1822089"/>
              <a:gd name="connsiteY56" fmla="*/ 745298 h 1287049"/>
              <a:gd name="connsiteX57" fmla="*/ 102892 w 1822089"/>
              <a:gd name="connsiteY57" fmla="*/ 754693 h 1287049"/>
              <a:gd name="connsiteX58" fmla="*/ 96629 w 1822089"/>
              <a:gd name="connsiteY58" fmla="*/ 779745 h 1287049"/>
              <a:gd name="connsiteX59" fmla="*/ 90366 w 1822089"/>
              <a:gd name="connsiteY59" fmla="*/ 798534 h 1287049"/>
              <a:gd name="connsiteX60" fmla="*/ 84103 w 1822089"/>
              <a:gd name="connsiteY60" fmla="*/ 807928 h 1287049"/>
              <a:gd name="connsiteX61" fmla="*/ 80971 w 1822089"/>
              <a:gd name="connsiteY61" fmla="*/ 817323 h 1287049"/>
              <a:gd name="connsiteX62" fmla="*/ 77840 w 1822089"/>
              <a:gd name="connsiteY62" fmla="*/ 836112 h 1287049"/>
              <a:gd name="connsiteX63" fmla="*/ 74708 w 1822089"/>
              <a:gd name="connsiteY63" fmla="*/ 845506 h 1287049"/>
              <a:gd name="connsiteX64" fmla="*/ 68445 w 1822089"/>
              <a:gd name="connsiteY64" fmla="*/ 873690 h 1287049"/>
              <a:gd name="connsiteX65" fmla="*/ 62182 w 1822089"/>
              <a:gd name="connsiteY65" fmla="*/ 883084 h 1287049"/>
              <a:gd name="connsiteX66" fmla="*/ 59051 w 1822089"/>
              <a:gd name="connsiteY66" fmla="*/ 892479 h 1287049"/>
              <a:gd name="connsiteX67" fmla="*/ 52788 w 1822089"/>
              <a:gd name="connsiteY67" fmla="*/ 901873 h 1287049"/>
              <a:gd name="connsiteX68" fmla="*/ 40261 w 1822089"/>
              <a:gd name="connsiteY68" fmla="*/ 930057 h 1287049"/>
              <a:gd name="connsiteX69" fmla="*/ 27735 w 1822089"/>
              <a:gd name="connsiteY69" fmla="*/ 967635 h 1287049"/>
              <a:gd name="connsiteX70" fmla="*/ 24604 w 1822089"/>
              <a:gd name="connsiteY70" fmla="*/ 977030 h 1287049"/>
              <a:gd name="connsiteX71" fmla="*/ 18341 w 1822089"/>
              <a:gd name="connsiteY71" fmla="*/ 986424 h 1287049"/>
              <a:gd name="connsiteX72" fmla="*/ 12078 w 1822089"/>
              <a:gd name="connsiteY72" fmla="*/ 1005213 h 1287049"/>
              <a:gd name="connsiteX73" fmla="*/ 8946 w 1822089"/>
              <a:gd name="connsiteY73" fmla="*/ 1099158 h 1287049"/>
              <a:gd name="connsiteX74" fmla="*/ 5815 w 1822089"/>
              <a:gd name="connsiteY74" fmla="*/ 1111684 h 1287049"/>
              <a:gd name="connsiteX75" fmla="*/ 2683 w 1822089"/>
              <a:gd name="connsiteY75" fmla="*/ 1133605 h 1287049"/>
              <a:gd name="connsiteX76" fmla="*/ 5815 w 1822089"/>
              <a:gd name="connsiteY76" fmla="*/ 1196235 h 1287049"/>
              <a:gd name="connsiteX77" fmla="*/ 46525 w 1822089"/>
              <a:gd name="connsiteY77" fmla="*/ 1199367 h 1287049"/>
              <a:gd name="connsiteX78" fmla="*/ 52788 w 1822089"/>
              <a:gd name="connsiteY78" fmla="*/ 1208761 h 1287049"/>
              <a:gd name="connsiteX79" fmla="*/ 59051 w 1822089"/>
              <a:gd name="connsiteY79" fmla="*/ 1227550 h 1287049"/>
              <a:gd name="connsiteX80" fmla="*/ 68445 w 1822089"/>
              <a:gd name="connsiteY80" fmla="*/ 1246339 h 1287049"/>
              <a:gd name="connsiteX81" fmla="*/ 77840 w 1822089"/>
              <a:gd name="connsiteY81" fmla="*/ 1252602 h 1287049"/>
              <a:gd name="connsiteX82" fmla="*/ 99760 w 1822089"/>
              <a:gd name="connsiteY82" fmla="*/ 1249471 h 1287049"/>
              <a:gd name="connsiteX83" fmla="*/ 118549 w 1822089"/>
              <a:gd name="connsiteY83" fmla="*/ 1236945 h 1287049"/>
              <a:gd name="connsiteX84" fmla="*/ 127944 w 1822089"/>
              <a:gd name="connsiteY84" fmla="*/ 1233813 h 1287049"/>
              <a:gd name="connsiteX85" fmla="*/ 143601 w 1822089"/>
              <a:gd name="connsiteY85" fmla="*/ 1236945 h 1287049"/>
              <a:gd name="connsiteX86" fmla="*/ 152996 w 1822089"/>
              <a:gd name="connsiteY86" fmla="*/ 1240076 h 1287049"/>
              <a:gd name="connsiteX87" fmla="*/ 196837 w 1822089"/>
              <a:gd name="connsiteY87" fmla="*/ 1233813 h 1287049"/>
              <a:gd name="connsiteX88" fmla="*/ 225020 w 1822089"/>
              <a:gd name="connsiteY88" fmla="*/ 1224419 h 1287049"/>
              <a:gd name="connsiteX89" fmla="*/ 250072 w 1822089"/>
              <a:gd name="connsiteY89" fmla="*/ 1227550 h 1287049"/>
              <a:gd name="connsiteX90" fmla="*/ 259467 w 1822089"/>
              <a:gd name="connsiteY90" fmla="*/ 1230682 h 1287049"/>
              <a:gd name="connsiteX91" fmla="*/ 268861 w 1822089"/>
              <a:gd name="connsiteY91" fmla="*/ 1236945 h 1287049"/>
              <a:gd name="connsiteX92" fmla="*/ 284519 w 1822089"/>
              <a:gd name="connsiteY92" fmla="*/ 1240076 h 1287049"/>
              <a:gd name="connsiteX93" fmla="*/ 293914 w 1822089"/>
              <a:gd name="connsiteY93" fmla="*/ 1243208 h 1287049"/>
              <a:gd name="connsiteX94" fmla="*/ 325229 w 1822089"/>
              <a:gd name="connsiteY94" fmla="*/ 1252602 h 1287049"/>
              <a:gd name="connsiteX95" fmla="*/ 344018 w 1822089"/>
              <a:gd name="connsiteY95" fmla="*/ 1258865 h 1287049"/>
              <a:gd name="connsiteX96" fmla="*/ 353412 w 1822089"/>
              <a:gd name="connsiteY96" fmla="*/ 1261997 h 1287049"/>
              <a:gd name="connsiteX97" fmla="*/ 384727 w 1822089"/>
              <a:gd name="connsiteY97" fmla="*/ 1258865 h 1287049"/>
              <a:gd name="connsiteX98" fmla="*/ 403516 w 1822089"/>
              <a:gd name="connsiteY98" fmla="*/ 1249471 h 1287049"/>
              <a:gd name="connsiteX99" fmla="*/ 428568 w 1822089"/>
              <a:gd name="connsiteY99" fmla="*/ 1243208 h 1287049"/>
              <a:gd name="connsiteX100" fmla="*/ 437963 w 1822089"/>
              <a:gd name="connsiteY100" fmla="*/ 1240076 h 1287049"/>
              <a:gd name="connsiteX101" fmla="*/ 484935 w 1822089"/>
              <a:gd name="connsiteY101" fmla="*/ 1243208 h 1287049"/>
              <a:gd name="connsiteX102" fmla="*/ 503725 w 1822089"/>
              <a:gd name="connsiteY102" fmla="*/ 1246339 h 1287049"/>
              <a:gd name="connsiteX103" fmla="*/ 516251 w 1822089"/>
              <a:gd name="connsiteY103" fmla="*/ 1249471 h 1287049"/>
              <a:gd name="connsiteX104" fmla="*/ 572618 w 1822089"/>
              <a:gd name="connsiteY104" fmla="*/ 1252602 h 1287049"/>
              <a:gd name="connsiteX105" fmla="*/ 594538 w 1822089"/>
              <a:gd name="connsiteY105" fmla="*/ 1261997 h 1287049"/>
              <a:gd name="connsiteX106" fmla="*/ 613327 w 1822089"/>
              <a:gd name="connsiteY106" fmla="*/ 1268260 h 1287049"/>
              <a:gd name="connsiteX107" fmla="*/ 650905 w 1822089"/>
              <a:gd name="connsiteY107" fmla="*/ 1280786 h 1287049"/>
              <a:gd name="connsiteX108" fmla="*/ 663431 w 1822089"/>
              <a:gd name="connsiteY108" fmla="*/ 1283917 h 1287049"/>
              <a:gd name="connsiteX109" fmla="*/ 672826 w 1822089"/>
              <a:gd name="connsiteY109" fmla="*/ 1287049 h 1287049"/>
              <a:gd name="connsiteX110" fmla="*/ 704141 w 1822089"/>
              <a:gd name="connsiteY110" fmla="*/ 1283917 h 1287049"/>
              <a:gd name="connsiteX111" fmla="*/ 713535 w 1822089"/>
              <a:gd name="connsiteY111" fmla="*/ 1280786 h 1287049"/>
              <a:gd name="connsiteX112" fmla="*/ 757377 w 1822089"/>
              <a:gd name="connsiteY112" fmla="*/ 1274523 h 1287049"/>
              <a:gd name="connsiteX113" fmla="*/ 826270 w 1822089"/>
              <a:gd name="connsiteY113" fmla="*/ 1271391 h 1287049"/>
              <a:gd name="connsiteX114" fmla="*/ 832533 w 1822089"/>
              <a:gd name="connsiteY114" fmla="*/ 1261997 h 1287049"/>
              <a:gd name="connsiteX115" fmla="*/ 838796 w 1822089"/>
              <a:gd name="connsiteY115" fmla="*/ 1236945 h 1287049"/>
              <a:gd name="connsiteX116" fmla="*/ 841927 w 1822089"/>
              <a:gd name="connsiteY116" fmla="*/ 1227550 h 1287049"/>
              <a:gd name="connsiteX117" fmla="*/ 845059 w 1822089"/>
              <a:gd name="connsiteY117" fmla="*/ 1208761 h 1287049"/>
              <a:gd name="connsiteX118" fmla="*/ 848190 w 1822089"/>
              <a:gd name="connsiteY118" fmla="*/ 989556 h 1287049"/>
              <a:gd name="connsiteX119" fmla="*/ 851322 w 1822089"/>
              <a:gd name="connsiteY119" fmla="*/ 980161 h 1287049"/>
              <a:gd name="connsiteX120" fmla="*/ 854453 w 1822089"/>
              <a:gd name="connsiteY120" fmla="*/ 958241 h 1287049"/>
              <a:gd name="connsiteX121" fmla="*/ 857585 w 1822089"/>
              <a:gd name="connsiteY121" fmla="*/ 886216 h 1287049"/>
              <a:gd name="connsiteX122" fmla="*/ 860716 w 1822089"/>
              <a:gd name="connsiteY122" fmla="*/ 876821 h 1287049"/>
              <a:gd name="connsiteX123" fmla="*/ 863848 w 1822089"/>
              <a:gd name="connsiteY123" fmla="*/ 848638 h 1287049"/>
              <a:gd name="connsiteX124" fmla="*/ 866979 w 1822089"/>
              <a:gd name="connsiteY124" fmla="*/ 770350 h 1287049"/>
              <a:gd name="connsiteX125" fmla="*/ 876374 w 1822089"/>
              <a:gd name="connsiteY125" fmla="*/ 767219 h 1287049"/>
              <a:gd name="connsiteX126" fmla="*/ 967188 w 1822089"/>
              <a:gd name="connsiteY126" fmla="*/ 770350 h 1287049"/>
              <a:gd name="connsiteX127" fmla="*/ 1111237 w 1822089"/>
              <a:gd name="connsiteY127" fmla="*/ 776613 h 1287049"/>
              <a:gd name="connsiteX128" fmla="*/ 1136289 w 1822089"/>
              <a:gd name="connsiteY128" fmla="*/ 779745 h 1287049"/>
              <a:gd name="connsiteX129" fmla="*/ 1330442 w 1822089"/>
              <a:gd name="connsiteY129" fmla="*/ 786008 h 1287049"/>
              <a:gd name="connsiteX130" fmla="*/ 1364889 w 1822089"/>
              <a:gd name="connsiteY130" fmla="*/ 789139 h 1287049"/>
              <a:gd name="connsiteX131" fmla="*/ 1374283 w 1822089"/>
              <a:gd name="connsiteY131" fmla="*/ 792271 h 1287049"/>
              <a:gd name="connsiteX132" fmla="*/ 1555911 w 1822089"/>
              <a:gd name="connsiteY132" fmla="*/ 798534 h 1287049"/>
              <a:gd name="connsiteX133" fmla="*/ 1602883 w 1822089"/>
              <a:gd name="connsiteY133" fmla="*/ 801665 h 1287049"/>
              <a:gd name="connsiteX134" fmla="*/ 1800168 w 1822089"/>
              <a:gd name="connsiteY134" fmla="*/ 807928 h 1287049"/>
              <a:gd name="connsiteX135" fmla="*/ 1800168 w 1822089"/>
              <a:gd name="connsiteY135" fmla="*/ 760956 h 1287049"/>
              <a:gd name="connsiteX136" fmla="*/ 1803300 w 1822089"/>
              <a:gd name="connsiteY136" fmla="*/ 645090 h 1287049"/>
              <a:gd name="connsiteX137" fmla="*/ 1806431 w 1822089"/>
              <a:gd name="connsiteY137" fmla="*/ 632564 h 1287049"/>
              <a:gd name="connsiteX138" fmla="*/ 1809563 w 1822089"/>
              <a:gd name="connsiteY138" fmla="*/ 616906 h 1287049"/>
              <a:gd name="connsiteX139" fmla="*/ 1812694 w 1822089"/>
              <a:gd name="connsiteY139" fmla="*/ 585591 h 1287049"/>
              <a:gd name="connsiteX140" fmla="*/ 1815826 w 1822089"/>
              <a:gd name="connsiteY140" fmla="*/ 576197 h 1287049"/>
              <a:gd name="connsiteX141" fmla="*/ 1822089 w 1822089"/>
              <a:gd name="connsiteY141" fmla="*/ 519830 h 1287049"/>
              <a:gd name="connsiteX142" fmla="*/ 1818957 w 1822089"/>
              <a:gd name="connsiteY142" fmla="*/ 485383 h 1287049"/>
              <a:gd name="connsiteX143" fmla="*/ 1781379 w 1822089"/>
              <a:gd name="connsiteY143" fmla="*/ 466594 h 1287049"/>
              <a:gd name="connsiteX144" fmla="*/ 1771985 w 1822089"/>
              <a:gd name="connsiteY144" fmla="*/ 463463 h 1287049"/>
              <a:gd name="connsiteX145" fmla="*/ 1762590 w 1822089"/>
              <a:gd name="connsiteY145" fmla="*/ 457200 h 1287049"/>
              <a:gd name="connsiteX146" fmla="*/ 1753196 w 1822089"/>
              <a:gd name="connsiteY146" fmla="*/ 454068 h 1287049"/>
              <a:gd name="connsiteX147" fmla="*/ 1728144 w 1822089"/>
              <a:gd name="connsiteY147" fmla="*/ 425884 h 1287049"/>
              <a:gd name="connsiteX148" fmla="*/ 1718749 w 1822089"/>
              <a:gd name="connsiteY148" fmla="*/ 416490 h 1287049"/>
              <a:gd name="connsiteX149" fmla="*/ 1706223 w 1822089"/>
              <a:gd name="connsiteY149" fmla="*/ 397701 h 1287049"/>
              <a:gd name="connsiteX150" fmla="*/ 1681171 w 1822089"/>
              <a:gd name="connsiteY150" fmla="*/ 360123 h 1287049"/>
              <a:gd name="connsiteX151" fmla="*/ 1668645 w 1822089"/>
              <a:gd name="connsiteY151" fmla="*/ 341334 h 1287049"/>
              <a:gd name="connsiteX152" fmla="*/ 1662382 w 1822089"/>
              <a:gd name="connsiteY152" fmla="*/ 331939 h 1287049"/>
              <a:gd name="connsiteX153" fmla="*/ 1652988 w 1822089"/>
              <a:gd name="connsiteY153" fmla="*/ 306887 h 1287049"/>
              <a:gd name="connsiteX154" fmla="*/ 1599752 w 1822089"/>
              <a:gd name="connsiteY154" fmla="*/ 313150 h 1287049"/>
              <a:gd name="connsiteX155" fmla="*/ 1577831 w 1822089"/>
              <a:gd name="connsiteY155" fmla="*/ 300624 h 1287049"/>
              <a:gd name="connsiteX156" fmla="*/ 1571568 w 1822089"/>
              <a:gd name="connsiteY156" fmla="*/ 291230 h 1287049"/>
              <a:gd name="connsiteX157" fmla="*/ 1562174 w 1822089"/>
              <a:gd name="connsiteY157" fmla="*/ 284967 h 1287049"/>
              <a:gd name="connsiteX158" fmla="*/ 1552779 w 1822089"/>
              <a:gd name="connsiteY158" fmla="*/ 275572 h 1287049"/>
              <a:gd name="connsiteX159" fmla="*/ 1524596 w 1822089"/>
              <a:gd name="connsiteY159" fmla="*/ 259915 h 1287049"/>
              <a:gd name="connsiteX160" fmla="*/ 1515201 w 1822089"/>
              <a:gd name="connsiteY160" fmla="*/ 250520 h 1287049"/>
              <a:gd name="connsiteX161" fmla="*/ 1505807 w 1822089"/>
              <a:gd name="connsiteY161" fmla="*/ 244257 h 1287049"/>
              <a:gd name="connsiteX162" fmla="*/ 1493281 w 1822089"/>
              <a:gd name="connsiteY162" fmla="*/ 234863 h 1287049"/>
              <a:gd name="connsiteX163" fmla="*/ 1474492 w 1822089"/>
              <a:gd name="connsiteY163" fmla="*/ 225468 h 1287049"/>
              <a:gd name="connsiteX164" fmla="*/ 1424388 w 1822089"/>
              <a:gd name="connsiteY164" fmla="*/ 222336 h 1287049"/>
              <a:gd name="connsiteX165" fmla="*/ 1405598 w 1822089"/>
              <a:gd name="connsiteY165" fmla="*/ 212942 h 1287049"/>
              <a:gd name="connsiteX166" fmla="*/ 1396204 w 1822089"/>
              <a:gd name="connsiteY166" fmla="*/ 203547 h 1287049"/>
              <a:gd name="connsiteX167" fmla="*/ 1383678 w 1822089"/>
              <a:gd name="connsiteY167" fmla="*/ 197284 h 1287049"/>
              <a:gd name="connsiteX168" fmla="*/ 1377415 w 1822089"/>
              <a:gd name="connsiteY168" fmla="*/ 187890 h 1287049"/>
              <a:gd name="connsiteX169" fmla="*/ 1349231 w 1822089"/>
              <a:gd name="connsiteY169" fmla="*/ 172232 h 1287049"/>
              <a:gd name="connsiteX170" fmla="*/ 1295996 w 1822089"/>
              <a:gd name="connsiteY170" fmla="*/ 169101 h 1287049"/>
              <a:gd name="connsiteX171" fmla="*/ 1267812 w 1822089"/>
              <a:gd name="connsiteY171" fmla="*/ 162838 h 1287049"/>
              <a:gd name="connsiteX172" fmla="*/ 1258418 w 1822089"/>
              <a:gd name="connsiteY172" fmla="*/ 159706 h 1287049"/>
              <a:gd name="connsiteX173" fmla="*/ 1164472 w 1822089"/>
              <a:gd name="connsiteY173" fmla="*/ 165969 h 1287049"/>
              <a:gd name="connsiteX174" fmla="*/ 1155078 w 1822089"/>
              <a:gd name="connsiteY174" fmla="*/ 169101 h 1287049"/>
              <a:gd name="connsiteX175" fmla="*/ 1145683 w 1822089"/>
              <a:gd name="connsiteY175" fmla="*/ 175364 h 1287049"/>
              <a:gd name="connsiteX176" fmla="*/ 1070527 w 1822089"/>
              <a:gd name="connsiteY176" fmla="*/ 172232 h 1287049"/>
              <a:gd name="connsiteX177" fmla="*/ 1042344 w 1822089"/>
              <a:gd name="connsiteY177" fmla="*/ 159706 h 1287049"/>
              <a:gd name="connsiteX178" fmla="*/ 1048606 w 1822089"/>
              <a:gd name="connsiteY178" fmla="*/ 144050 h 1287049"/>
              <a:gd name="connsiteX179" fmla="*/ 1023554 w 1822089"/>
              <a:gd name="connsiteY179" fmla="*/ 137785 h 1287049"/>
              <a:gd name="connsiteX180" fmla="*/ 1026687 w 1822089"/>
              <a:gd name="connsiteY180" fmla="*/ 137785 h 1287049"/>
              <a:gd name="connsiteX181" fmla="*/ 1007898 w 1822089"/>
              <a:gd name="connsiteY181" fmla="*/ 128392 h 1287049"/>
              <a:gd name="connsiteX182" fmla="*/ 989108 w 1822089"/>
              <a:gd name="connsiteY182" fmla="*/ 93945 h 1287049"/>
              <a:gd name="connsiteX183" fmla="*/ 982845 w 1822089"/>
              <a:gd name="connsiteY183" fmla="*/ 75156 h 1287049"/>
              <a:gd name="connsiteX184" fmla="*/ 967188 w 1822089"/>
              <a:gd name="connsiteY184" fmla="*/ 53235 h 1287049"/>
              <a:gd name="connsiteX185" fmla="*/ 960925 w 1822089"/>
              <a:gd name="connsiteY185" fmla="*/ 40709 h 1287049"/>
              <a:gd name="connsiteX186" fmla="*/ 954661 w 1822089"/>
              <a:gd name="connsiteY186" fmla="*/ 31315 h 1287049"/>
              <a:gd name="connsiteX187" fmla="*/ 945267 w 1822089"/>
              <a:gd name="connsiteY187" fmla="*/ 9394 h 1287049"/>
              <a:gd name="connsiteX188" fmla="*/ 939004 w 1822089"/>
              <a:gd name="connsiteY188" fmla="*/ 0 h 1287049"/>
              <a:gd name="connsiteX0" fmla="*/ 939004 w 1822089"/>
              <a:gd name="connsiteY0" fmla="*/ 0 h 1287049"/>
              <a:gd name="connsiteX1" fmla="*/ 923346 w 1822089"/>
              <a:gd name="connsiteY1" fmla="*/ 9394 h 1287049"/>
              <a:gd name="connsiteX2" fmla="*/ 913952 w 1822089"/>
              <a:gd name="connsiteY2" fmla="*/ 12526 h 1287049"/>
              <a:gd name="connsiteX3" fmla="*/ 904557 w 1822089"/>
              <a:gd name="connsiteY3" fmla="*/ 21920 h 1287049"/>
              <a:gd name="connsiteX4" fmla="*/ 885768 w 1822089"/>
              <a:gd name="connsiteY4" fmla="*/ 28183 h 1287049"/>
              <a:gd name="connsiteX5" fmla="*/ 866979 w 1822089"/>
              <a:gd name="connsiteY5" fmla="*/ 34446 h 1287049"/>
              <a:gd name="connsiteX6" fmla="*/ 835664 w 1822089"/>
              <a:gd name="connsiteY6" fmla="*/ 40709 h 1287049"/>
              <a:gd name="connsiteX7" fmla="*/ 816875 w 1822089"/>
              <a:gd name="connsiteY7" fmla="*/ 43841 h 1287049"/>
              <a:gd name="connsiteX8" fmla="*/ 788692 w 1822089"/>
              <a:gd name="connsiteY8" fmla="*/ 50104 h 1287049"/>
              <a:gd name="connsiteX9" fmla="*/ 738588 w 1822089"/>
              <a:gd name="connsiteY9" fmla="*/ 56367 h 1287049"/>
              <a:gd name="connsiteX10" fmla="*/ 722930 w 1822089"/>
              <a:gd name="connsiteY10" fmla="*/ 59498 h 1287049"/>
              <a:gd name="connsiteX11" fmla="*/ 697878 w 1822089"/>
              <a:gd name="connsiteY11" fmla="*/ 62630 h 1287049"/>
              <a:gd name="connsiteX12" fmla="*/ 679089 w 1822089"/>
              <a:gd name="connsiteY12" fmla="*/ 65761 h 1287049"/>
              <a:gd name="connsiteX13" fmla="*/ 635248 w 1822089"/>
              <a:gd name="connsiteY13" fmla="*/ 72024 h 1287049"/>
              <a:gd name="connsiteX14" fmla="*/ 625853 w 1822089"/>
              <a:gd name="connsiteY14" fmla="*/ 75156 h 1287049"/>
              <a:gd name="connsiteX15" fmla="*/ 603933 w 1822089"/>
              <a:gd name="connsiteY15" fmla="*/ 100208 h 1287049"/>
              <a:gd name="connsiteX16" fmla="*/ 597670 w 1822089"/>
              <a:gd name="connsiteY16" fmla="*/ 109602 h 1287049"/>
              <a:gd name="connsiteX17" fmla="*/ 591407 w 1822089"/>
              <a:gd name="connsiteY17" fmla="*/ 128391 h 1287049"/>
              <a:gd name="connsiteX18" fmla="*/ 563223 w 1822089"/>
              <a:gd name="connsiteY18" fmla="*/ 150312 h 1287049"/>
              <a:gd name="connsiteX19" fmla="*/ 553829 w 1822089"/>
              <a:gd name="connsiteY19" fmla="*/ 156575 h 1287049"/>
              <a:gd name="connsiteX20" fmla="*/ 547566 w 1822089"/>
              <a:gd name="connsiteY20" fmla="*/ 165969 h 1287049"/>
              <a:gd name="connsiteX21" fmla="*/ 541303 w 1822089"/>
              <a:gd name="connsiteY21" fmla="*/ 184758 h 1287049"/>
              <a:gd name="connsiteX22" fmla="*/ 538171 w 1822089"/>
              <a:gd name="connsiteY22" fmla="*/ 194153 h 1287049"/>
              <a:gd name="connsiteX23" fmla="*/ 519382 w 1822089"/>
              <a:gd name="connsiteY23" fmla="*/ 250520 h 1287049"/>
              <a:gd name="connsiteX24" fmla="*/ 509988 w 1822089"/>
              <a:gd name="connsiteY24" fmla="*/ 278704 h 1287049"/>
              <a:gd name="connsiteX25" fmla="*/ 506856 w 1822089"/>
              <a:gd name="connsiteY25" fmla="*/ 288098 h 1287049"/>
              <a:gd name="connsiteX26" fmla="*/ 488067 w 1822089"/>
              <a:gd name="connsiteY26" fmla="*/ 316282 h 1287049"/>
              <a:gd name="connsiteX27" fmla="*/ 481804 w 1822089"/>
              <a:gd name="connsiteY27" fmla="*/ 325676 h 1287049"/>
              <a:gd name="connsiteX28" fmla="*/ 469278 w 1822089"/>
              <a:gd name="connsiteY28" fmla="*/ 363254 h 1287049"/>
              <a:gd name="connsiteX29" fmla="*/ 466146 w 1822089"/>
              <a:gd name="connsiteY29" fmla="*/ 372649 h 1287049"/>
              <a:gd name="connsiteX30" fmla="*/ 463015 w 1822089"/>
              <a:gd name="connsiteY30" fmla="*/ 382043 h 1287049"/>
              <a:gd name="connsiteX31" fmla="*/ 456752 w 1822089"/>
              <a:gd name="connsiteY31" fmla="*/ 391438 h 1287049"/>
              <a:gd name="connsiteX32" fmla="*/ 450489 w 1822089"/>
              <a:gd name="connsiteY32" fmla="*/ 410227 h 1287049"/>
              <a:gd name="connsiteX33" fmla="*/ 447357 w 1822089"/>
              <a:gd name="connsiteY33" fmla="*/ 419621 h 1287049"/>
              <a:gd name="connsiteX34" fmla="*/ 441094 w 1822089"/>
              <a:gd name="connsiteY34" fmla="*/ 429016 h 1287049"/>
              <a:gd name="connsiteX35" fmla="*/ 431700 w 1822089"/>
              <a:gd name="connsiteY35" fmla="*/ 447805 h 1287049"/>
              <a:gd name="connsiteX36" fmla="*/ 425437 w 1822089"/>
              <a:gd name="connsiteY36" fmla="*/ 466594 h 1287049"/>
              <a:gd name="connsiteX37" fmla="*/ 419174 w 1822089"/>
              <a:gd name="connsiteY37" fmla="*/ 485383 h 1287049"/>
              <a:gd name="connsiteX38" fmla="*/ 412911 w 1822089"/>
              <a:gd name="connsiteY38" fmla="*/ 494778 h 1287049"/>
              <a:gd name="connsiteX39" fmla="*/ 409779 w 1822089"/>
              <a:gd name="connsiteY39" fmla="*/ 504172 h 1287049"/>
              <a:gd name="connsiteX40" fmla="*/ 387859 w 1822089"/>
              <a:gd name="connsiteY40" fmla="*/ 532356 h 1287049"/>
              <a:gd name="connsiteX41" fmla="*/ 381596 w 1822089"/>
              <a:gd name="connsiteY41" fmla="*/ 541750 h 1287049"/>
              <a:gd name="connsiteX42" fmla="*/ 372201 w 1822089"/>
              <a:gd name="connsiteY42" fmla="*/ 544882 h 1287049"/>
              <a:gd name="connsiteX43" fmla="*/ 344018 w 1822089"/>
              <a:gd name="connsiteY43" fmla="*/ 563671 h 1287049"/>
              <a:gd name="connsiteX44" fmla="*/ 331492 w 1822089"/>
              <a:gd name="connsiteY44" fmla="*/ 569934 h 1287049"/>
              <a:gd name="connsiteX45" fmla="*/ 312703 w 1822089"/>
              <a:gd name="connsiteY45" fmla="*/ 576197 h 1287049"/>
              <a:gd name="connsiteX46" fmla="*/ 287651 w 1822089"/>
              <a:gd name="connsiteY46" fmla="*/ 582460 h 1287049"/>
              <a:gd name="connsiteX47" fmla="*/ 256335 w 1822089"/>
              <a:gd name="connsiteY47" fmla="*/ 585591 h 1287049"/>
              <a:gd name="connsiteX48" fmla="*/ 246941 w 1822089"/>
              <a:gd name="connsiteY48" fmla="*/ 591854 h 1287049"/>
              <a:gd name="connsiteX49" fmla="*/ 225020 w 1822089"/>
              <a:gd name="connsiteY49" fmla="*/ 620038 h 1287049"/>
              <a:gd name="connsiteX50" fmla="*/ 184311 w 1822089"/>
              <a:gd name="connsiteY50" fmla="*/ 629432 h 1287049"/>
              <a:gd name="connsiteX51" fmla="*/ 156127 w 1822089"/>
              <a:gd name="connsiteY51" fmla="*/ 638827 h 1287049"/>
              <a:gd name="connsiteX52" fmla="*/ 146733 w 1822089"/>
              <a:gd name="connsiteY52" fmla="*/ 645090 h 1287049"/>
              <a:gd name="connsiteX53" fmla="*/ 140470 w 1822089"/>
              <a:gd name="connsiteY53" fmla="*/ 654484 h 1287049"/>
              <a:gd name="connsiteX54" fmla="*/ 131075 w 1822089"/>
              <a:gd name="connsiteY54" fmla="*/ 685800 h 1287049"/>
              <a:gd name="connsiteX55" fmla="*/ 124812 w 1822089"/>
              <a:gd name="connsiteY55" fmla="*/ 726509 h 1287049"/>
              <a:gd name="connsiteX56" fmla="*/ 109155 w 1822089"/>
              <a:gd name="connsiteY56" fmla="*/ 745298 h 1287049"/>
              <a:gd name="connsiteX57" fmla="*/ 102892 w 1822089"/>
              <a:gd name="connsiteY57" fmla="*/ 754693 h 1287049"/>
              <a:gd name="connsiteX58" fmla="*/ 96629 w 1822089"/>
              <a:gd name="connsiteY58" fmla="*/ 779745 h 1287049"/>
              <a:gd name="connsiteX59" fmla="*/ 90366 w 1822089"/>
              <a:gd name="connsiteY59" fmla="*/ 798534 h 1287049"/>
              <a:gd name="connsiteX60" fmla="*/ 84103 w 1822089"/>
              <a:gd name="connsiteY60" fmla="*/ 807928 h 1287049"/>
              <a:gd name="connsiteX61" fmla="*/ 80971 w 1822089"/>
              <a:gd name="connsiteY61" fmla="*/ 817323 h 1287049"/>
              <a:gd name="connsiteX62" fmla="*/ 77840 w 1822089"/>
              <a:gd name="connsiteY62" fmla="*/ 836112 h 1287049"/>
              <a:gd name="connsiteX63" fmla="*/ 74708 w 1822089"/>
              <a:gd name="connsiteY63" fmla="*/ 845506 h 1287049"/>
              <a:gd name="connsiteX64" fmla="*/ 68445 w 1822089"/>
              <a:gd name="connsiteY64" fmla="*/ 873690 h 1287049"/>
              <a:gd name="connsiteX65" fmla="*/ 62182 w 1822089"/>
              <a:gd name="connsiteY65" fmla="*/ 883084 h 1287049"/>
              <a:gd name="connsiteX66" fmla="*/ 59051 w 1822089"/>
              <a:gd name="connsiteY66" fmla="*/ 892479 h 1287049"/>
              <a:gd name="connsiteX67" fmla="*/ 52788 w 1822089"/>
              <a:gd name="connsiteY67" fmla="*/ 901873 h 1287049"/>
              <a:gd name="connsiteX68" fmla="*/ 40261 w 1822089"/>
              <a:gd name="connsiteY68" fmla="*/ 930057 h 1287049"/>
              <a:gd name="connsiteX69" fmla="*/ 27735 w 1822089"/>
              <a:gd name="connsiteY69" fmla="*/ 967635 h 1287049"/>
              <a:gd name="connsiteX70" fmla="*/ 24604 w 1822089"/>
              <a:gd name="connsiteY70" fmla="*/ 977030 h 1287049"/>
              <a:gd name="connsiteX71" fmla="*/ 18341 w 1822089"/>
              <a:gd name="connsiteY71" fmla="*/ 986424 h 1287049"/>
              <a:gd name="connsiteX72" fmla="*/ 12078 w 1822089"/>
              <a:gd name="connsiteY72" fmla="*/ 1005213 h 1287049"/>
              <a:gd name="connsiteX73" fmla="*/ 8946 w 1822089"/>
              <a:gd name="connsiteY73" fmla="*/ 1099158 h 1287049"/>
              <a:gd name="connsiteX74" fmla="*/ 5815 w 1822089"/>
              <a:gd name="connsiteY74" fmla="*/ 1111684 h 1287049"/>
              <a:gd name="connsiteX75" fmla="*/ 2683 w 1822089"/>
              <a:gd name="connsiteY75" fmla="*/ 1133605 h 1287049"/>
              <a:gd name="connsiteX76" fmla="*/ 5815 w 1822089"/>
              <a:gd name="connsiteY76" fmla="*/ 1196235 h 1287049"/>
              <a:gd name="connsiteX77" fmla="*/ 46525 w 1822089"/>
              <a:gd name="connsiteY77" fmla="*/ 1199367 h 1287049"/>
              <a:gd name="connsiteX78" fmla="*/ 52788 w 1822089"/>
              <a:gd name="connsiteY78" fmla="*/ 1208761 h 1287049"/>
              <a:gd name="connsiteX79" fmla="*/ 59051 w 1822089"/>
              <a:gd name="connsiteY79" fmla="*/ 1227550 h 1287049"/>
              <a:gd name="connsiteX80" fmla="*/ 68445 w 1822089"/>
              <a:gd name="connsiteY80" fmla="*/ 1246339 h 1287049"/>
              <a:gd name="connsiteX81" fmla="*/ 77840 w 1822089"/>
              <a:gd name="connsiteY81" fmla="*/ 1252602 h 1287049"/>
              <a:gd name="connsiteX82" fmla="*/ 99760 w 1822089"/>
              <a:gd name="connsiteY82" fmla="*/ 1249471 h 1287049"/>
              <a:gd name="connsiteX83" fmla="*/ 118549 w 1822089"/>
              <a:gd name="connsiteY83" fmla="*/ 1236945 h 1287049"/>
              <a:gd name="connsiteX84" fmla="*/ 127944 w 1822089"/>
              <a:gd name="connsiteY84" fmla="*/ 1233813 h 1287049"/>
              <a:gd name="connsiteX85" fmla="*/ 143601 w 1822089"/>
              <a:gd name="connsiteY85" fmla="*/ 1236945 h 1287049"/>
              <a:gd name="connsiteX86" fmla="*/ 152996 w 1822089"/>
              <a:gd name="connsiteY86" fmla="*/ 1240076 h 1287049"/>
              <a:gd name="connsiteX87" fmla="*/ 196837 w 1822089"/>
              <a:gd name="connsiteY87" fmla="*/ 1233813 h 1287049"/>
              <a:gd name="connsiteX88" fmla="*/ 225020 w 1822089"/>
              <a:gd name="connsiteY88" fmla="*/ 1224419 h 1287049"/>
              <a:gd name="connsiteX89" fmla="*/ 250072 w 1822089"/>
              <a:gd name="connsiteY89" fmla="*/ 1227550 h 1287049"/>
              <a:gd name="connsiteX90" fmla="*/ 259467 w 1822089"/>
              <a:gd name="connsiteY90" fmla="*/ 1230682 h 1287049"/>
              <a:gd name="connsiteX91" fmla="*/ 268861 w 1822089"/>
              <a:gd name="connsiteY91" fmla="*/ 1236945 h 1287049"/>
              <a:gd name="connsiteX92" fmla="*/ 284519 w 1822089"/>
              <a:gd name="connsiteY92" fmla="*/ 1240076 h 1287049"/>
              <a:gd name="connsiteX93" fmla="*/ 293914 w 1822089"/>
              <a:gd name="connsiteY93" fmla="*/ 1243208 h 1287049"/>
              <a:gd name="connsiteX94" fmla="*/ 325229 w 1822089"/>
              <a:gd name="connsiteY94" fmla="*/ 1252602 h 1287049"/>
              <a:gd name="connsiteX95" fmla="*/ 344018 w 1822089"/>
              <a:gd name="connsiteY95" fmla="*/ 1258865 h 1287049"/>
              <a:gd name="connsiteX96" fmla="*/ 353412 w 1822089"/>
              <a:gd name="connsiteY96" fmla="*/ 1261997 h 1287049"/>
              <a:gd name="connsiteX97" fmla="*/ 384727 w 1822089"/>
              <a:gd name="connsiteY97" fmla="*/ 1258865 h 1287049"/>
              <a:gd name="connsiteX98" fmla="*/ 403516 w 1822089"/>
              <a:gd name="connsiteY98" fmla="*/ 1249471 h 1287049"/>
              <a:gd name="connsiteX99" fmla="*/ 428568 w 1822089"/>
              <a:gd name="connsiteY99" fmla="*/ 1243208 h 1287049"/>
              <a:gd name="connsiteX100" fmla="*/ 437963 w 1822089"/>
              <a:gd name="connsiteY100" fmla="*/ 1240076 h 1287049"/>
              <a:gd name="connsiteX101" fmla="*/ 484935 w 1822089"/>
              <a:gd name="connsiteY101" fmla="*/ 1243208 h 1287049"/>
              <a:gd name="connsiteX102" fmla="*/ 503725 w 1822089"/>
              <a:gd name="connsiteY102" fmla="*/ 1246339 h 1287049"/>
              <a:gd name="connsiteX103" fmla="*/ 516251 w 1822089"/>
              <a:gd name="connsiteY103" fmla="*/ 1249471 h 1287049"/>
              <a:gd name="connsiteX104" fmla="*/ 572618 w 1822089"/>
              <a:gd name="connsiteY104" fmla="*/ 1252602 h 1287049"/>
              <a:gd name="connsiteX105" fmla="*/ 594538 w 1822089"/>
              <a:gd name="connsiteY105" fmla="*/ 1261997 h 1287049"/>
              <a:gd name="connsiteX106" fmla="*/ 613327 w 1822089"/>
              <a:gd name="connsiteY106" fmla="*/ 1268260 h 1287049"/>
              <a:gd name="connsiteX107" fmla="*/ 650905 w 1822089"/>
              <a:gd name="connsiteY107" fmla="*/ 1280786 h 1287049"/>
              <a:gd name="connsiteX108" fmla="*/ 663431 w 1822089"/>
              <a:gd name="connsiteY108" fmla="*/ 1283917 h 1287049"/>
              <a:gd name="connsiteX109" fmla="*/ 672826 w 1822089"/>
              <a:gd name="connsiteY109" fmla="*/ 1287049 h 1287049"/>
              <a:gd name="connsiteX110" fmla="*/ 704141 w 1822089"/>
              <a:gd name="connsiteY110" fmla="*/ 1283917 h 1287049"/>
              <a:gd name="connsiteX111" fmla="*/ 713535 w 1822089"/>
              <a:gd name="connsiteY111" fmla="*/ 1280786 h 1287049"/>
              <a:gd name="connsiteX112" fmla="*/ 757377 w 1822089"/>
              <a:gd name="connsiteY112" fmla="*/ 1274523 h 1287049"/>
              <a:gd name="connsiteX113" fmla="*/ 826270 w 1822089"/>
              <a:gd name="connsiteY113" fmla="*/ 1271391 h 1287049"/>
              <a:gd name="connsiteX114" fmla="*/ 832533 w 1822089"/>
              <a:gd name="connsiteY114" fmla="*/ 1261997 h 1287049"/>
              <a:gd name="connsiteX115" fmla="*/ 838796 w 1822089"/>
              <a:gd name="connsiteY115" fmla="*/ 1236945 h 1287049"/>
              <a:gd name="connsiteX116" fmla="*/ 841927 w 1822089"/>
              <a:gd name="connsiteY116" fmla="*/ 1227550 h 1287049"/>
              <a:gd name="connsiteX117" fmla="*/ 845059 w 1822089"/>
              <a:gd name="connsiteY117" fmla="*/ 1208761 h 1287049"/>
              <a:gd name="connsiteX118" fmla="*/ 848190 w 1822089"/>
              <a:gd name="connsiteY118" fmla="*/ 989556 h 1287049"/>
              <a:gd name="connsiteX119" fmla="*/ 851322 w 1822089"/>
              <a:gd name="connsiteY119" fmla="*/ 980161 h 1287049"/>
              <a:gd name="connsiteX120" fmla="*/ 854453 w 1822089"/>
              <a:gd name="connsiteY120" fmla="*/ 958241 h 1287049"/>
              <a:gd name="connsiteX121" fmla="*/ 857585 w 1822089"/>
              <a:gd name="connsiteY121" fmla="*/ 886216 h 1287049"/>
              <a:gd name="connsiteX122" fmla="*/ 860716 w 1822089"/>
              <a:gd name="connsiteY122" fmla="*/ 876821 h 1287049"/>
              <a:gd name="connsiteX123" fmla="*/ 863848 w 1822089"/>
              <a:gd name="connsiteY123" fmla="*/ 848638 h 1287049"/>
              <a:gd name="connsiteX124" fmla="*/ 866979 w 1822089"/>
              <a:gd name="connsiteY124" fmla="*/ 770350 h 1287049"/>
              <a:gd name="connsiteX125" fmla="*/ 876374 w 1822089"/>
              <a:gd name="connsiteY125" fmla="*/ 767219 h 1287049"/>
              <a:gd name="connsiteX126" fmla="*/ 967188 w 1822089"/>
              <a:gd name="connsiteY126" fmla="*/ 770350 h 1287049"/>
              <a:gd name="connsiteX127" fmla="*/ 1111237 w 1822089"/>
              <a:gd name="connsiteY127" fmla="*/ 776613 h 1287049"/>
              <a:gd name="connsiteX128" fmla="*/ 1136289 w 1822089"/>
              <a:gd name="connsiteY128" fmla="*/ 779745 h 1287049"/>
              <a:gd name="connsiteX129" fmla="*/ 1330442 w 1822089"/>
              <a:gd name="connsiteY129" fmla="*/ 786008 h 1287049"/>
              <a:gd name="connsiteX130" fmla="*/ 1364889 w 1822089"/>
              <a:gd name="connsiteY130" fmla="*/ 789139 h 1287049"/>
              <a:gd name="connsiteX131" fmla="*/ 1374283 w 1822089"/>
              <a:gd name="connsiteY131" fmla="*/ 792271 h 1287049"/>
              <a:gd name="connsiteX132" fmla="*/ 1555911 w 1822089"/>
              <a:gd name="connsiteY132" fmla="*/ 798534 h 1287049"/>
              <a:gd name="connsiteX133" fmla="*/ 1602883 w 1822089"/>
              <a:gd name="connsiteY133" fmla="*/ 801665 h 1287049"/>
              <a:gd name="connsiteX134" fmla="*/ 1800168 w 1822089"/>
              <a:gd name="connsiteY134" fmla="*/ 807928 h 1287049"/>
              <a:gd name="connsiteX135" fmla="*/ 1800168 w 1822089"/>
              <a:gd name="connsiteY135" fmla="*/ 760956 h 1287049"/>
              <a:gd name="connsiteX136" fmla="*/ 1803300 w 1822089"/>
              <a:gd name="connsiteY136" fmla="*/ 645090 h 1287049"/>
              <a:gd name="connsiteX137" fmla="*/ 1806431 w 1822089"/>
              <a:gd name="connsiteY137" fmla="*/ 632564 h 1287049"/>
              <a:gd name="connsiteX138" fmla="*/ 1809563 w 1822089"/>
              <a:gd name="connsiteY138" fmla="*/ 616906 h 1287049"/>
              <a:gd name="connsiteX139" fmla="*/ 1812694 w 1822089"/>
              <a:gd name="connsiteY139" fmla="*/ 585591 h 1287049"/>
              <a:gd name="connsiteX140" fmla="*/ 1815826 w 1822089"/>
              <a:gd name="connsiteY140" fmla="*/ 576197 h 1287049"/>
              <a:gd name="connsiteX141" fmla="*/ 1822089 w 1822089"/>
              <a:gd name="connsiteY141" fmla="*/ 519830 h 1287049"/>
              <a:gd name="connsiteX142" fmla="*/ 1818957 w 1822089"/>
              <a:gd name="connsiteY142" fmla="*/ 485383 h 1287049"/>
              <a:gd name="connsiteX143" fmla="*/ 1781379 w 1822089"/>
              <a:gd name="connsiteY143" fmla="*/ 466594 h 1287049"/>
              <a:gd name="connsiteX144" fmla="*/ 1771985 w 1822089"/>
              <a:gd name="connsiteY144" fmla="*/ 463463 h 1287049"/>
              <a:gd name="connsiteX145" fmla="*/ 1762590 w 1822089"/>
              <a:gd name="connsiteY145" fmla="*/ 457200 h 1287049"/>
              <a:gd name="connsiteX146" fmla="*/ 1753196 w 1822089"/>
              <a:gd name="connsiteY146" fmla="*/ 454068 h 1287049"/>
              <a:gd name="connsiteX147" fmla="*/ 1728144 w 1822089"/>
              <a:gd name="connsiteY147" fmla="*/ 425884 h 1287049"/>
              <a:gd name="connsiteX148" fmla="*/ 1718749 w 1822089"/>
              <a:gd name="connsiteY148" fmla="*/ 416490 h 1287049"/>
              <a:gd name="connsiteX149" fmla="*/ 1706223 w 1822089"/>
              <a:gd name="connsiteY149" fmla="*/ 397701 h 1287049"/>
              <a:gd name="connsiteX150" fmla="*/ 1681171 w 1822089"/>
              <a:gd name="connsiteY150" fmla="*/ 360123 h 1287049"/>
              <a:gd name="connsiteX151" fmla="*/ 1668645 w 1822089"/>
              <a:gd name="connsiteY151" fmla="*/ 341334 h 1287049"/>
              <a:gd name="connsiteX152" fmla="*/ 1662382 w 1822089"/>
              <a:gd name="connsiteY152" fmla="*/ 331939 h 1287049"/>
              <a:gd name="connsiteX153" fmla="*/ 1652988 w 1822089"/>
              <a:gd name="connsiteY153" fmla="*/ 306887 h 1287049"/>
              <a:gd name="connsiteX154" fmla="*/ 1599752 w 1822089"/>
              <a:gd name="connsiteY154" fmla="*/ 313150 h 1287049"/>
              <a:gd name="connsiteX155" fmla="*/ 1577831 w 1822089"/>
              <a:gd name="connsiteY155" fmla="*/ 300624 h 1287049"/>
              <a:gd name="connsiteX156" fmla="*/ 1571568 w 1822089"/>
              <a:gd name="connsiteY156" fmla="*/ 291230 h 1287049"/>
              <a:gd name="connsiteX157" fmla="*/ 1562174 w 1822089"/>
              <a:gd name="connsiteY157" fmla="*/ 284967 h 1287049"/>
              <a:gd name="connsiteX158" fmla="*/ 1552779 w 1822089"/>
              <a:gd name="connsiteY158" fmla="*/ 275572 h 1287049"/>
              <a:gd name="connsiteX159" fmla="*/ 1524596 w 1822089"/>
              <a:gd name="connsiteY159" fmla="*/ 259915 h 1287049"/>
              <a:gd name="connsiteX160" fmla="*/ 1515201 w 1822089"/>
              <a:gd name="connsiteY160" fmla="*/ 250520 h 1287049"/>
              <a:gd name="connsiteX161" fmla="*/ 1505807 w 1822089"/>
              <a:gd name="connsiteY161" fmla="*/ 244257 h 1287049"/>
              <a:gd name="connsiteX162" fmla="*/ 1493281 w 1822089"/>
              <a:gd name="connsiteY162" fmla="*/ 234863 h 1287049"/>
              <a:gd name="connsiteX163" fmla="*/ 1474492 w 1822089"/>
              <a:gd name="connsiteY163" fmla="*/ 225468 h 1287049"/>
              <a:gd name="connsiteX164" fmla="*/ 1424388 w 1822089"/>
              <a:gd name="connsiteY164" fmla="*/ 222336 h 1287049"/>
              <a:gd name="connsiteX165" fmla="*/ 1405598 w 1822089"/>
              <a:gd name="connsiteY165" fmla="*/ 212942 h 1287049"/>
              <a:gd name="connsiteX166" fmla="*/ 1396204 w 1822089"/>
              <a:gd name="connsiteY166" fmla="*/ 203547 h 1287049"/>
              <a:gd name="connsiteX167" fmla="*/ 1383678 w 1822089"/>
              <a:gd name="connsiteY167" fmla="*/ 197284 h 1287049"/>
              <a:gd name="connsiteX168" fmla="*/ 1377415 w 1822089"/>
              <a:gd name="connsiteY168" fmla="*/ 187890 h 1287049"/>
              <a:gd name="connsiteX169" fmla="*/ 1349231 w 1822089"/>
              <a:gd name="connsiteY169" fmla="*/ 172232 h 1287049"/>
              <a:gd name="connsiteX170" fmla="*/ 1295996 w 1822089"/>
              <a:gd name="connsiteY170" fmla="*/ 169101 h 1287049"/>
              <a:gd name="connsiteX171" fmla="*/ 1267812 w 1822089"/>
              <a:gd name="connsiteY171" fmla="*/ 162838 h 1287049"/>
              <a:gd name="connsiteX172" fmla="*/ 1258418 w 1822089"/>
              <a:gd name="connsiteY172" fmla="*/ 159706 h 1287049"/>
              <a:gd name="connsiteX173" fmla="*/ 1164472 w 1822089"/>
              <a:gd name="connsiteY173" fmla="*/ 165969 h 1287049"/>
              <a:gd name="connsiteX174" fmla="*/ 1155078 w 1822089"/>
              <a:gd name="connsiteY174" fmla="*/ 169101 h 1287049"/>
              <a:gd name="connsiteX175" fmla="*/ 1145683 w 1822089"/>
              <a:gd name="connsiteY175" fmla="*/ 175364 h 1287049"/>
              <a:gd name="connsiteX176" fmla="*/ 1070527 w 1822089"/>
              <a:gd name="connsiteY176" fmla="*/ 172232 h 1287049"/>
              <a:gd name="connsiteX177" fmla="*/ 1054870 w 1822089"/>
              <a:gd name="connsiteY177" fmla="*/ 153443 h 1287049"/>
              <a:gd name="connsiteX178" fmla="*/ 1048606 w 1822089"/>
              <a:gd name="connsiteY178" fmla="*/ 144050 h 1287049"/>
              <a:gd name="connsiteX179" fmla="*/ 1023554 w 1822089"/>
              <a:gd name="connsiteY179" fmla="*/ 137785 h 1287049"/>
              <a:gd name="connsiteX180" fmla="*/ 1026687 w 1822089"/>
              <a:gd name="connsiteY180" fmla="*/ 137785 h 1287049"/>
              <a:gd name="connsiteX181" fmla="*/ 1007898 w 1822089"/>
              <a:gd name="connsiteY181" fmla="*/ 128392 h 1287049"/>
              <a:gd name="connsiteX182" fmla="*/ 989108 w 1822089"/>
              <a:gd name="connsiteY182" fmla="*/ 93945 h 1287049"/>
              <a:gd name="connsiteX183" fmla="*/ 982845 w 1822089"/>
              <a:gd name="connsiteY183" fmla="*/ 75156 h 1287049"/>
              <a:gd name="connsiteX184" fmla="*/ 967188 w 1822089"/>
              <a:gd name="connsiteY184" fmla="*/ 53235 h 1287049"/>
              <a:gd name="connsiteX185" fmla="*/ 960925 w 1822089"/>
              <a:gd name="connsiteY185" fmla="*/ 40709 h 1287049"/>
              <a:gd name="connsiteX186" fmla="*/ 954661 w 1822089"/>
              <a:gd name="connsiteY186" fmla="*/ 31315 h 1287049"/>
              <a:gd name="connsiteX187" fmla="*/ 945267 w 1822089"/>
              <a:gd name="connsiteY187" fmla="*/ 9394 h 1287049"/>
              <a:gd name="connsiteX188" fmla="*/ 939004 w 1822089"/>
              <a:gd name="connsiteY188" fmla="*/ 0 h 1287049"/>
              <a:gd name="connsiteX0" fmla="*/ 939004 w 1822089"/>
              <a:gd name="connsiteY0" fmla="*/ 0 h 1287049"/>
              <a:gd name="connsiteX1" fmla="*/ 923346 w 1822089"/>
              <a:gd name="connsiteY1" fmla="*/ 9394 h 1287049"/>
              <a:gd name="connsiteX2" fmla="*/ 913952 w 1822089"/>
              <a:gd name="connsiteY2" fmla="*/ 12526 h 1287049"/>
              <a:gd name="connsiteX3" fmla="*/ 904557 w 1822089"/>
              <a:gd name="connsiteY3" fmla="*/ 21920 h 1287049"/>
              <a:gd name="connsiteX4" fmla="*/ 885768 w 1822089"/>
              <a:gd name="connsiteY4" fmla="*/ 28183 h 1287049"/>
              <a:gd name="connsiteX5" fmla="*/ 866979 w 1822089"/>
              <a:gd name="connsiteY5" fmla="*/ 34446 h 1287049"/>
              <a:gd name="connsiteX6" fmla="*/ 835664 w 1822089"/>
              <a:gd name="connsiteY6" fmla="*/ 40709 h 1287049"/>
              <a:gd name="connsiteX7" fmla="*/ 816875 w 1822089"/>
              <a:gd name="connsiteY7" fmla="*/ 43841 h 1287049"/>
              <a:gd name="connsiteX8" fmla="*/ 788692 w 1822089"/>
              <a:gd name="connsiteY8" fmla="*/ 50104 h 1287049"/>
              <a:gd name="connsiteX9" fmla="*/ 738588 w 1822089"/>
              <a:gd name="connsiteY9" fmla="*/ 56367 h 1287049"/>
              <a:gd name="connsiteX10" fmla="*/ 722930 w 1822089"/>
              <a:gd name="connsiteY10" fmla="*/ 59498 h 1287049"/>
              <a:gd name="connsiteX11" fmla="*/ 697878 w 1822089"/>
              <a:gd name="connsiteY11" fmla="*/ 62630 h 1287049"/>
              <a:gd name="connsiteX12" fmla="*/ 679089 w 1822089"/>
              <a:gd name="connsiteY12" fmla="*/ 65761 h 1287049"/>
              <a:gd name="connsiteX13" fmla="*/ 635248 w 1822089"/>
              <a:gd name="connsiteY13" fmla="*/ 72024 h 1287049"/>
              <a:gd name="connsiteX14" fmla="*/ 625853 w 1822089"/>
              <a:gd name="connsiteY14" fmla="*/ 75156 h 1287049"/>
              <a:gd name="connsiteX15" fmla="*/ 603933 w 1822089"/>
              <a:gd name="connsiteY15" fmla="*/ 100208 h 1287049"/>
              <a:gd name="connsiteX16" fmla="*/ 597670 w 1822089"/>
              <a:gd name="connsiteY16" fmla="*/ 109602 h 1287049"/>
              <a:gd name="connsiteX17" fmla="*/ 591407 w 1822089"/>
              <a:gd name="connsiteY17" fmla="*/ 128391 h 1287049"/>
              <a:gd name="connsiteX18" fmla="*/ 563223 w 1822089"/>
              <a:gd name="connsiteY18" fmla="*/ 150312 h 1287049"/>
              <a:gd name="connsiteX19" fmla="*/ 553829 w 1822089"/>
              <a:gd name="connsiteY19" fmla="*/ 156575 h 1287049"/>
              <a:gd name="connsiteX20" fmla="*/ 547566 w 1822089"/>
              <a:gd name="connsiteY20" fmla="*/ 165969 h 1287049"/>
              <a:gd name="connsiteX21" fmla="*/ 541303 w 1822089"/>
              <a:gd name="connsiteY21" fmla="*/ 184758 h 1287049"/>
              <a:gd name="connsiteX22" fmla="*/ 538171 w 1822089"/>
              <a:gd name="connsiteY22" fmla="*/ 194153 h 1287049"/>
              <a:gd name="connsiteX23" fmla="*/ 519382 w 1822089"/>
              <a:gd name="connsiteY23" fmla="*/ 250520 h 1287049"/>
              <a:gd name="connsiteX24" fmla="*/ 509988 w 1822089"/>
              <a:gd name="connsiteY24" fmla="*/ 278704 h 1287049"/>
              <a:gd name="connsiteX25" fmla="*/ 506856 w 1822089"/>
              <a:gd name="connsiteY25" fmla="*/ 288098 h 1287049"/>
              <a:gd name="connsiteX26" fmla="*/ 488067 w 1822089"/>
              <a:gd name="connsiteY26" fmla="*/ 316282 h 1287049"/>
              <a:gd name="connsiteX27" fmla="*/ 481804 w 1822089"/>
              <a:gd name="connsiteY27" fmla="*/ 325676 h 1287049"/>
              <a:gd name="connsiteX28" fmla="*/ 469278 w 1822089"/>
              <a:gd name="connsiteY28" fmla="*/ 363254 h 1287049"/>
              <a:gd name="connsiteX29" fmla="*/ 466146 w 1822089"/>
              <a:gd name="connsiteY29" fmla="*/ 372649 h 1287049"/>
              <a:gd name="connsiteX30" fmla="*/ 463015 w 1822089"/>
              <a:gd name="connsiteY30" fmla="*/ 382043 h 1287049"/>
              <a:gd name="connsiteX31" fmla="*/ 456752 w 1822089"/>
              <a:gd name="connsiteY31" fmla="*/ 391438 h 1287049"/>
              <a:gd name="connsiteX32" fmla="*/ 450489 w 1822089"/>
              <a:gd name="connsiteY32" fmla="*/ 410227 h 1287049"/>
              <a:gd name="connsiteX33" fmla="*/ 447357 w 1822089"/>
              <a:gd name="connsiteY33" fmla="*/ 419621 h 1287049"/>
              <a:gd name="connsiteX34" fmla="*/ 441094 w 1822089"/>
              <a:gd name="connsiteY34" fmla="*/ 429016 h 1287049"/>
              <a:gd name="connsiteX35" fmla="*/ 431700 w 1822089"/>
              <a:gd name="connsiteY35" fmla="*/ 447805 h 1287049"/>
              <a:gd name="connsiteX36" fmla="*/ 425437 w 1822089"/>
              <a:gd name="connsiteY36" fmla="*/ 466594 h 1287049"/>
              <a:gd name="connsiteX37" fmla="*/ 419174 w 1822089"/>
              <a:gd name="connsiteY37" fmla="*/ 485383 h 1287049"/>
              <a:gd name="connsiteX38" fmla="*/ 412911 w 1822089"/>
              <a:gd name="connsiteY38" fmla="*/ 494778 h 1287049"/>
              <a:gd name="connsiteX39" fmla="*/ 409779 w 1822089"/>
              <a:gd name="connsiteY39" fmla="*/ 504172 h 1287049"/>
              <a:gd name="connsiteX40" fmla="*/ 387859 w 1822089"/>
              <a:gd name="connsiteY40" fmla="*/ 532356 h 1287049"/>
              <a:gd name="connsiteX41" fmla="*/ 381596 w 1822089"/>
              <a:gd name="connsiteY41" fmla="*/ 541750 h 1287049"/>
              <a:gd name="connsiteX42" fmla="*/ 372201 w 1822089"/>
              <a:gd name="connsiteY42" fmla="*/ 544882 h 1287049"/>
              <a:gd name="connsiteX43" fmla="*/ 344018 w 1822089"/>
              <a:gd name="connsiteY43" fmla="*/ 563671 h 1287049"/>
              <a:gd name="connsiteX44" fmla="*/ 331492 w 1822089"/>
              <a:gd name="connsiteY44" fmla="*/ 569934 h 1287049"/>
              <a:gd name="connsiteX45" fmla="*/ 312703 w 1822089"/>
              <a:gd name="connsiteY45" fmla="*/ 576197 h 1287049"/>
              <a:gd name="connsiteX46" fmla="*/ 287651 w 1822089"/>
              <a:gd name="connsiteY46" fmla="*/ 582460 h 1287049"/>
              <a:gd name="connsiteX47" fmla="*/ 256335 w 1822089"/>
              <a:gd name="connsiteY47" fmla="*/ 585591 h 1287049"/>
              <a:gd name="connsiteX48" fmla="*/ 246941 w 1822089"/>
              <a:gd name="connsiteY48" fmla="*/ 591854 h 1287049"/>
              <a:gd name="connsiteX49" fmla="*/ 225020 w 1822089"/>
              <a:gd name="connsiteY49" fmla="*/ 620038 h 1287049"/>
              <a:gd name="connsiteX50" fmla="*/ 184311 w 1822089"/>
              <a:gd name="connsiteY50" fmla="*/ 629432 h 1287049"/>
              <a:gd name="connsiteX51" fmla="*/ 156127 w 1822089"/>
              <a:gd name="connsiteY51" fmla="*/ 638827 h 1287049"/>
              <a:gd name="connsiteX52" fmla="*/ 146733 w 1822089"/>
              <a:gd name="connsiteY52" fmla="*/ 645090 h 1287049"/>
              <a:gd name="connsiteX53" fmla="*/ 140470 w 1822089"/>
              <a:gd name="connsiteY53" fmla="*/ 654484 h 1287049"/>
              <a:gd name="connsiteX54" fmla="*/ 131075 w 1822089"/>
              <a:gd name="connsiteY54" fmla="*/ 685800 h 1287049"/>
              <a:gd name="connsiteX55" fmla="*/ 124812 w 1822089"/>
              <a:gd name="connsiteY55" fmla="*/ 726509 h 1287049"/>
              <a:gd name="connsiteX56" fmla="*/ 109155 w 1822089"/>
              <a:gd name="connsiteY56" fmla="*/ 745298 h 1287049"/>
              <a:gd name="connsiteX57" fmla="*/ 102892 w 1822089"/>
              <a:gd name="connsiteY57" fmla="*/ 754693 h 1287049"/>
              <a:gd name="connsiteX58" fmla="*/ 96629 w 1822089"/>
              <a:gd name="connsiteY58" fmla="*/ 779745 h 1287049"/>
              <a:gd name="connsiteX59" fmla="*/ 90366 w 1822089"/>
              <a:gd name="connsiteY59" fmla="*/ 798534 h 1287049"/>
              <a:gd name="connsiteX60" fmla="*/ 84103 w 1822089"/>
              <a:gd name="connsiteY60" fmla="*/ 807928 h 1287049"/>
              <a:gd name="connsiteX61" fmla="*/ 80971 w 1822089"/>
              <a:gd name="connsiteY61" fmla="*/ 817323 h 1287049"/>
              <a:gd name="connsiteX62" fmla="*/ 77840 w 1822089"/>
              <a:gd name="connsiteY62" fmla="*/ 836112 h 1287049"/>
              <a:gd name="connsiteX63" fmla="*/ 74708 w 1822089"/>
              <a:gd name="connsiteY63" fmla="*/ 845506 h 1287049"/>
              <a:gd name="connsiteX64" fmla="*/ 68445 w 1822089"/>
              <a:gd name="connsiteY64" fmla="*/ 873690 h 1287049"/>
              <a:gd name="connsiteX65" fmla="*/ 62182 w 1822089"/>
              <a:gd name="connsiteY65" fmla="*/ 883084 h 1287049"/>
              <a:gd name="connsiteX66" fmla="*/ 59051 w 1822089"/>
              <a:gd name="connsiteY66" fmla="*/ 892479 h 1287049"/>
              <a:gd name="connsiteX67" fmla="*/ 52788 w 1822089"/>
              <a:gd name="connsiteY67" fmla="*/ 901873 h 1287049"/>
              <a:gd name="connsiteX68" fmla="*/ 40261 w 1822089"/>
              <a:gd name="connsiteY68" fmla="*/ 930057 h 1287049"/>
              <a:gd name="connsiteX69" fmla="*/ 27735 w 1822089"/>
              <a:gd name="connsiteY69" fmla="*/ 967635 h 1287049"/>
              <a:gd name="connsiteX70" fmla="*/ 24604 w 1822089"/>
              <a:gd name="connsiteY70" fmla="*/ 977030 h 1287049"/>
              <a:gd name="connsiteX71" fmla="*/ 18341 w 1822089"/>
              <a:gd name="connsiteY71" fmla="*/ 986424 h 1287049"/>
              <a:gd name="connsiteX72" fmla="*/ 12078 w 1822089"/>
              <a:gd name="connsiteY72" fmla="*/ 1005213 h 1287049"/>
              <a:gd name="connsiteX73" fmla="*/ 8946 w 1822089"/>
              <a:gd name="connsiteY73" fmla="*/ 1099158 h 1287049"/>
              <a:gd name="connsiteX74" fmla="*/ 5815 w 1822089"/>
              <a:gd name="connsiteY74" fmla="*/ 1111684 h 1287049"/>
              <a:gd name="connsiteX75" fmla="*/ 2683 w 1822089"/>
              <a:gd name="connsiteY75" fmla="*/ 1133605 h 1287049"/>
              <a:gd name="connsiteX76" fmla="*/ 5815 w 1822089"/>
              <a:gd name="connsiteY76" fmla="*/ 1196235 h 1287049"/>
              <a:gd name="connsiteX77" fmla="*/ 46525 w 1822089"/>
              <a:gd name="connsiteY77" fmla="*/ 1199367 h 1287049"/>
              <a:gd name="connsiteX78" fmla="*/ 52788 w 1822089"/>
              <a:gd name="connsiteY78" fmla="*/ 1208761 h 1287049"/>
              <a:gd name="connsiteX79" fmla="*/ 59051 w 1822089"/>
              <a:gd name="connsiteY79" fmla="*/ 1227550 h 1287049"/>
              <a:gd name="connsiteX80" fmla="*/ 68445 w 1822089"/>
              <a:gd name="connsiteY80" fmla="*/ 1246339 h 1287049"/>
              <a:gd name="connsiteX81" fmla="*/ 77840 w 1822089"/>
              <a:gd name="connsiteY81" fmla="*/ 1252602 h 1287049"/>
              <a:gd name="connsiteX82" fmla="*/ 99760 w 1822089"/>
              <a:gd name="connsiteY82" fmla="*/ 1249471 h 1287049"/>
              <a:gd name="connsiteX83" fmla="*/ 118549 w 1822089"/>
              <a:gd name="connsiteY83" fmla="*/ 1236945 h 1287049"/>
              <a:gd name="connsiteX84" fmla="*/ 127944 w 1822089"/>
              <a:gd name="connsiteY84" fmla="*/ 1233813 h 1287049"/>
              <a:gd name="connsiteX85" fmla="*/ 143601 w 1822089"/>
              <a:gd name="connsiteY85" fmla="*/ 1236945 h 1287049"/>
              <a:gd name="connsiteX86" fmla="*/ 152996 w 1822089"/>
              <a:gd name="connsiteY86" fmla="*/ 1240076 h 1287049"/>
              <a:gd name="connsiteX87" fmla="*/ 196837 w 1822089"/>
              <a:gd name="connsiteY87" fmla="*/ 1233813 h 1287049"/>
              <a:gd name="connsiteX88" fmla="*/ 225020 w 1822089"/>
              <a:gd name="connsiteY88" fmla="*/ 1224419 h 1287049"/>
              <a:gd name="connsiteX89" fmla="*/ 250072 w 1822089"/>
              <a:gd name="connsiteY89" fmla="*/ 1227550 h 1287049"/>
              <a:gd name="connsiteX90" fmla="*/ 259467 w 1822089"/>
              <a:gd name="connsiteY90" fmla="*/ 1230682 h 1287049"/>
              <a:gd name="connsiteX91" fmla="*/ 268861 w 1822089"/>
              <a:gd name="connsiteY91" fmla="*/ 1236945 h 1287049"/>
              <a:gd name="connsiteX92" fmla="*/ 284519 w 1822089"/>
              <a:gd name="connsiteY92" fmla="*/ 1240076 h 1287049"/>
              <a:gd name="connsiteX93" fmla="*/ 293914 w 1822089"/>
              <a:gd name="connsiteY93" fmla="*/ 1243208 h 1287049"/>
              <a:gd name="connsiteX94" fmla="*/ 325229 w 1822089"/>
              <a:gd name="connsiteY94" fmla="*/ 1252602 h 1287049"/>
              <a:gd name="connsiteX95" fmla="*/ 344018 w 1822089"/>
              <a:gd name="connsiteY95" fmla="*/ 1258865 h 1287049"/>
              <a:gd name="connsiteX96" fmla="*/ 353412 w 1822089"/>
              <a:gd name="connsiteY96" fmla="*/ 1261997 h 1287049"/>
              <a:gd name="connsiteX97" fmla="*/ 384727 w 1822089"/>
              <a:gd name="connsiteY97" fmla="*/ 1258865 h 1287049"/>
              <a:gd name="connsiteX98" fmla="*/ 403516 w 1822089"/>
              <a:gd name="connsiteY98" fmla="*/ 1249471 h 1287049"/>
              <a:gd name="connsiteX99" fmla="*/ 428568 w 1822089"/>
              <a:gd name="connsiteY99" fmla="*/ 1243208 h 1287049"/>
              <a:gd name="connsiteX100" fmla="*/ 437963 w 1822089"/>
              <a:gd name="connsiteY100" fmla="*/ 1240076 h 1287049"/>
              <a:gd name="connsiteX101" fmla="*/ 484935 w 1822089"/>
              <a:gd name="connsiteY101" fmla="*/ 1243208 h 1287049"/>
              <a:gd name="connsiteX102" fmla="*/ 503725 w 1822089"/>
              <a:gd name="connsiteY102" fmla="*/ 1246339 h 1287049"/>
              <a:gd name="connsiteX103" fmla="*/ 516251 w 1822089"/>
              <a:gd name="connsiteY103" fmla="*/ 1249471 h 1287049"/>
              <a:gd name="connsiteX104" fmla="*/ 572618 w 1822089"/>
              <a:gd name="connsiteY104" fmla="*/ 1252602 h 1287049"/>
              <a:gd name="connsiteX105" fmla="*/ 594538 w 1822089"/>
              <a:gd name="connsiteY105" fmla="*/ 1261997 h 1287049"/>
              <a:gd name="connsiteX106" fmla="*/ 613327 w 1822089"/>
              <a:gd name="connsiteY106" fmla="*/ 1268260 h 1287049"/>
              <a:gd name="connsiteX107" fmla="*/ 650905 w 1822089"/>
              <a:gd name="connsiteY107" fmla="*/ 1280786 h 1287049"/>
              <a:gd name="connsiteX108" fmla="*/ 663431 w 1822089"/>
              <a:gd name="connsiteY108" fmla="*/ 1283917 h 1287049"/>
              <a:gd name="connsiteX109" fmla="*/ 672826 w 1822089"/>
              <a:gd name="connsiteY109" fmla="*/ 1287049 h 1287049"/>
              <a:gd name="connsiteX110" fmla="*/ 704141 w 1822089"/>
              <a:gd name="connsiteY110" fmla="*/ 1283917 h 1287049"/>
              <a:gd name="connsiteX111" fmla="*/ 713535 w 1822089"/>
              <a:gd name="connsiteY111" fmla="*/ 1280786 h 1287049"/>
              <a:gd name="connsiteX112" fmla="*/ 757377 w 1822089"/>
              <a:gd name="connsiteY112" fmla="*/ 1274523 h 1287049"/>
              <a:gd name="connsiteX113" fmla="*/ 826270 w 1822089"/>
              <a:gd name="connsiteY113" fmla="*/ 1271391 h 1287049"/>
              <a:gd name="connsiteX114" fmla="*/ 832533 w 1822089"/>
              <a:gd name="connsiteY114" fmla="*/ 1261997 h 1287049"/>
              <a:gd name="connsiteX115" fmla="*/ 838796 w 1822089"/>
              <a:gd name="connsiteY115" fmla="*/ 1236945 h 1287049"/>
              <a:gd name="connsiteX116" fmla="*/ 841927 w 1822089"/>
              <a:gd name="connsiteY116" fmla="*/ 1227550 h 1287049"/>
              <a:gd name="connsiteX117" fmla="*/ 845059 w 1822089"/>
              <a:gd name="connsiteY117" fmla="*/ 1208761 h 1287049"/>
              <a:gd name="connsiteX118" fmla="*/ 848190 w 1822089"/>
              <a:gd name="connsiteY118" fmla="*/ 989556 h 1287049"/>
              <a:gd name="connsiteX119" fmla="*/ 851322 w 1822089"/>
              <a:gd name="connsiteY119" fmla="*/ 980161 h 1287049"/>
              <a:gd name="connsiteX120" fmla="*/ 854453 w 1822089"/>
              <a:gd name="connsiteY120" fmla="*/ 958241 h 1287049"/>
              <a:gd name="connsiteX121" fmla="*/ 857585 w 1822089"/>
              <a:gd name="connsiteY121" fmla="*/ 886216 h 1287049"/>
              <a:gd name="connsiteX122" fmla="*/ 860716 w 1822089"/>
              <a:gd name="connsiteY122" fmla="*/ 876821 h 1287049"/>
              <a:gd name="connsiteX123" fmla="*/ 863848 w 1822089"/>
              <a:gd name="connsiteY123" fmla="*/ 848638 h 1287049"/>
              <a:gd name="connsiteX124" fmla="*/ 866979 w 1822089"/>
              <a:gd name="connsiteY124" fmla="*/ 770350 h 1287049"/>
              <a:gd name="connsiteX125" fmla="*/ 876374 w 1822089"/>
              <a:gd name="connsiteY125" fmla="*/ 767219 h 1287049"/>
              <a:gd name="connsiteX126" fmla="*/ 967188 w 1822089"/>
              <a:gd name="connsiteY126" fmla="*/ 770350 h 1287049"/>
              <a:gd name="connsiteX127" fmla="*/ 1111237 w 1822089"/>
              <a:gd name="connsiteY127" fmla="*/ 776613 h 1287049"/>
              <a:gd name="connsiteX128" fmla="*/ 1136289 w 1822089"/>
              <a:gd name="connsiteY128" fmla="*/ 779745 h 1287049"/>
              <a:gd name="connsiteX129" fmla="*/ 1330442 w 1822089"/>
              <a:gd name="connsiteY129" fmla="*/ 786008 h 1287049"/>
              <a:gd name="connsiteX130" fmla="*/ 1364889 w 1822089"/>
              <a:gd name="connsiteY130" fmla="*/ 789139 h 1287049"/>
              <a:gd name="connsiteX131" fmla="*/ 1374283 w 1822089"/>
              <a:gd name="connsiteY131" fmla="*/ 792271 h 1287049"/>
              <a:gd name="connsiteX132" fmla="*/ 1555911 w 1822089"/>
              <a:gd name="connsiteY132" fmla="*/ 798534 h 1287049"/>
              <a:gd name="connsiteX133" fmla="*/ 1602883 w 1822089"/>
              <a:gd name="connsiteY133" fmla="*/ 801665 h 1287049"/>
              <a:gd name="connsiteX134" fmla="*/ 1800168 w 1822089"/>
              <a:gd name="connsiteY134" fmla="*/ 807928 h 1287049"/>
              <a:gd name="connsiteX135" fmla="*/ 1800168 w 1822089"/>
              <a:gd name="connsiteY135" fmla="*/ 760956 h 1287049"/>
              <a:gd name="connsiteX136" fmla="*/ 1803300 w 1822089"/>
              <a:gd name="connsiteY136" fmla="*/ 645090 h 1287049"/>
              <a:gd name="connsiteX137" fmla="*/ 1806431 w 1822089"/>
              <a:gd name="connsiteY137" fmla="*/ 632564 h 1287049"/>
              <a:gd name="connsiteX138" fmla="*/ 1809563 w 1822089"/>
              <a:gd name="connsiteY138" fmla="*/ 616906 h 1287049"/>
              <a:gd name="connsiteX139" fmla="*/ 1812694 w 1822089"/>
              <a:gd name="connsiteY139" fmla="*/ 585591 h 1287049"/>
              <a:gd name="connsiteX140" fmla="*/ 1815826 w 1822089"/>
              <a:gd name="connsiteY140" fmla="*/ 576197 h 1287049"/>
              <a:gd name="connsiteX141" fmla="*/ 1822089 w 1822089"/>
              <a:gd name="connsiteY141" fmla="*/ 519830 h 1287049"/>
              <a:gd name="connsiteX142" fmla="*/ 1818957 w 1822089"/>
              <a:gd name="connsiteY142" fmla="*/ 485383 h 1287049"/>
              <a:gd name="connsiteX143" fmla="*/ 1781379 w 1822089"/>
              <a:gd name="connsiteY143" fmla="*/ 466594 h 1287049"/>
              <a:gd name="connsiteX144" fmla="*/ 1771985 w 1822089"/>
              <a:gd name="connsiteY144" fmla="*/ 463463 h 1287049"/>
              <a:gd name="connsiteX145" fmla="*/ 1762590 w 1822089"/>
              <a:gd name="connsiteY145" fmla="*/ 457200 h 1287049"/>
              <a:gd name="connsiteX146" fmla="*/ 1753196 w 1822089"/>
              <a:gd name="connsiteY146" fmla="*/ 454068 h 1287049"/>
              <a:gd name="connsiteX147" fmla="*/ 1728144 w 1822089"/>
              <a:gd name="connsiteY147" fmla="*/ 425884 h 1287049"/>
              <a:gd name="connsiteX148" fmla="*/ 1718749 w 1822089"/>
              <a:gd name="connsiteY148" fmla="*/ 416490 h 1287049"/>
              <a:gd name="connsiteX149" fmla="*/ 1706223 w 1822089"/>
              <a:gd name="connsiteY149" fmla="*/ 397701 h 1287049"/>
              <a:gd name="connsiteX150" fmla="*/ 1681171 w 1822089"/>
              <a:gd name="connsiteY150" fmla="*/ 360123 h 1287049"/>
              <a:gd name="connsiteX151" fmla="*/ 1668645 w 1822089"/>
              <a:gd name="connsiteY151" fmla="*/ 341334 h 1287049"/>
              <a:gd name="connsiteX152" fmla="*/ 1662382 w 1822089"/>
              <a:gd name="connsiteY152" fmla="*/ 331939 h 1287049"/>
              <a:gd name="connsiteX153" fmla="*/ 1652988 w 1822089"/>
              <a:gd name="connsiteY153" fmla="*/ 306887 h 1287049"/>
              <a:gd name="connsiteX154" fmla="*/ 1599752 w 1822089"/>
              <a:gd name="connsiteY154" fmla="*/ 313150 h 1287049"/>
              <a:gd name="connsiteX155" fmla="*/ 1577831 w 1822089"/>
              <a:gd name="connsiteY155" fmla="*/ 300624 h 1287049"/>
              <a:gd name="connsiteX156" fmla="*/ 1571568 w 1822089"/>
              <a:gd name="connsiteY156" fmla="*/ 291230 h 1287049"/>
              <a:gd name="connsiteX157" fmla="*/ 1562174 w 1822089"/>
              <a:gd name="connsiteY157" fmla="*/ 284967 h 1287049"/>
              <a:gd name="connsiteX158" fmla="*/ 1552779 w 1822089"/>
              <a:gd name="connsiteY158" fmla="*/ 275572 h 1287049"/>
              <a:gd name="connsiteX159" fmla="*/ 1524596 w 1822089"/>
              <a:gd name="connsiteY159" fmla="*/ 259915 h 1287049"/>
              <a:gd name="connsiteX160" fmla="*/ 1515201 w 1822089"/>
              <a:gd name="connsiteY160" fmla="*/ 250520 h 1287049"/>
              <a:gd name="connsiteX161" fmla="*/ 1505807 w 1822089"/>
              <a:gd name="connsiteY161" fmla="*/ 244257 h 1287049"/>
              <a:gd name="connsiteX162" fmla="*/ 1493281 w 1822089"/>
              <a:gd name="connsiteY162" fmla="*/ 234863 h 1287049"/>
              <a:gd name="connsiteX163" fmla="*/ 1474492 w 1822089"/>
              <a:gd name="connsiteY163" fmla="*/ 225468 h 1287049"/>
              <a:gd name="connsiteX164" fmla="*/ 1424388 w 1822089"/>
              <a:gd name="connsiteY164" fmla="*/ 222336 h 1287049"/>
              <a:gd name="connsiteX165" fmla="*/ 1405598 w 1822089"/>
              <a:gd name="connsiteY165" fmla="*/ 212942 h 1287049"/>
              <a:gd name="connsiteX166" fmla="*/ 1396204 w 1822089"/>
              <a:gd name="connsiteY166" fmla="*/ 203547 h 1287049"/>
              <a:gd name="connsiteX167" fmla="*/ 1383678 w 1822089"/>
              <a:gd name="connsiteY167" fmla="*/ 197284 h 1287049"/>
              <a:gd name="connsiteX168" fmla="*/ 1377415 w 1822089"/>
              <a:gd name="connsiteY168" fmla="*/ 187890 h 1287049"/>
              <a:gd name="connsiteX169" fmla="*/ 1349231 w 1822089"/>
              <a:gd name="connsiteY169" fmla="*/ 172232 h 1287049"/>
              <a:gd name="connsiteX170" fmla="*/ 1295996 w 1822089"/>
              <a:gd name="connsiteY170" fmla="*/ 169101 h 1287049"/>
              <a:gd name="connsiteX171" fmla="*/ 1267812 w 1822089"/>
              <a:gd name="connsiteY171" fmla="*/ 162838 h 1287049"/>
              <a:gd name="connsiteX172" fmla="*/ 1258418 w 1822089"/>
              <a:gd name="connsiteY172" fmla="*/ 159706 h 1287049"/>
              <a:gd name="connsiteX173" fmla="*/ 1164472 w 1822089"/>
              <a:gd name="connsiteY173" fmla="*/ 165969 h 1287049"/>
              <a:gd name="connsiteX174" fmla="*/ 1155078 w 1822089"/>
              <a:gd name="connsiteY174" fmla="*/ 169101 h 1287049"/>
              <a:gd name="connsiteX175" fmla="*/ 1145683 w 1822089"/>
              <a:gd name="connsiteY175" fmla="*/ 175364 h 1287049"/>
              <a:gd name="connsiteX176" fmla="*/ 1070527 w 1822089"/>
              <a:gd name="connsiteY176" fmla="*/ 172232 h 1287049"/>
              <a:gd name="connsiteX177" fmla="*/ 1054870 w 1822089"/>
              <a:gd name="connsiteY177" fmla="*/ 153443 h 1287049"/>
              <a:gd name="connsiteX178" fmla="*/ 1048606 w 1822089"/>
              <a:gd name="connsiteY178" fmla="*/ 144050 h 1287049"/>
              <a:gd name="connsiteX179" fmla="*/ 1023554 w 1822089"/>
              <a:gd name="connsiteY179" fmla="*/ 137785 h 1287049"/>
              <a:gd name="connsiteX180" fmla="*/ 1026687 w 1822089"/>
              <a:gd name="connsiteY180" fmla="*/ 137785 h 1287049"/>
              <a:gd name="connsiteX181" fmla="*/ 1017293 w 1822089"/>
              <a:gd name="connsiteY181" fmla="*/ 118997 h 1287049"/>
              <a:gd name="connsiteX182" fmla="*/ 989108 w 1822089"/>
              <a:gd name="connsiteY182" fmla="*/ 93945 h 1287049"/>
              <a:gd name="connsiteX183" fmla="*/ 982845 w 1822089"/>
              <a:gd name="connsiteY183" fmla="*/ 75156 h 1287049"/>
              <a:gd name="connsiteX184" fmla="*/ 967188 w 1822089"/>
              <a:gd name="connsiteY184" fmla="*/ 53235 h 1287049"/>
              <a:gd name="connsiteX185" fmla="*/ 960925 w 1822089"/>
              <a:gd name="connsiteY185" fmla="*/ 40709 h 1287049"/>
              <a:gd name="connsiteX186" fmla="*/ 954661 w 1822089"/>
              <a:gd name="connsiteY186" fmla="*/ 31315 h 1287049"/>
              <a:gd name="connsiteX187" fmla="*/ 945267 w 1822089"/>
              <a:gd name="connsiteY187" fmla="*/ 9394 h 1287049"/>
              <a:gd name="connsiteX188" fmla="*/ 939004 w 1822089"/>
              <a:gd name="connsiteY188" fmla="*/ 0 h 1287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</a:cxnLst>
            <a:rect l="l" t="t" r="r" b="b"/>
            <a:pathLst>
              <a:path w="1822089" h="1287049">
                <a:moveTo>
                  <a:pt x="939004" y="0"/>
                </a:moveTo>
                <a:cubicBezTo>
                  <a:pt x="935351" y="0"/>
                  <a:pt x="928790" y="6672"/>
                  <a:pt x="923346" y="9394"/>
                </a:cubicBezTo>
                <a:cubicBezTo>
                  <a:pt x="920394" y="10870"/>
                  <a:pt x="916698" y="10695"/>
                  <a:pt x="913952" y="12526"/>
                </a:cubicBezTo>
                <a:cubicBezTo>
                  <a:pt x="910267" y="14983"/>
                  <a:pt x="908428" y="19769"/>
                  <a:pt x="904557" y="21920"/>
                </a:cubicBezTo>
                <a:cubicBezTo>
                  <a:pt x="898786" y="25126"/>
                  <a:pt x="892031" y="26095"/>
                  <a:pt x="885768" y="28183"/>
                </a:cubicBezTo>
                <a:cubicBezTo>
                  <a:pt x="885755" y="28187"/>
                  <a:pt x="866992" y="34443"/>
                  <a:pt x="866979" y="34446"/>
                </a:cubicBezTo>
                <a:lnTo>
                  <a:pt x="835664" y="40709"/>
                </a:lnTo>
                <a:cubicBezTo>
                  <a:pt x="829438" y="41954"/>
                  <a:pt x="823101" y="42596"/>
                  <a:pt x="816875" y="43841"/>
                </a:cubicBezTo>
                <a:cubicBezTo>
                  <a:pt x="799801" y="47256"/>
                  <a:pt x="807808" y="47373"/>
                  <a:pt x="788692" y="50104"/>
                </a:cubicBezTo>
                <a:cubicBezTo>
                  <a:pt x="772030" y="52484"/>
                  <a:pt x="755289" y="54279"/>
                  <a:pt x="738588" y="56367"/>
                </a:cubicBezTo>
                <a:cubicBezTo>
                  <a:pt x="733306" y="57027"/>
                  <a:pt x="728191" y="58689"/>
                  <a:pt x="722930" y="59498"/>
                </a:cubicBezTo>
                <a:cubicBezTo>
                  <a:pt x="714612" y="60778"/>
                  <a:pt x="706209" y="61440"/>
                  <a:pt x="697878" y="62630"/>
                </a:cubicBezTo>
                <a:cubicBezTo>
                  <a:pt x="691592" y="63528"/>
                  <a:pt x="685375" y="64863"/>
                  <a:pt x="679089" y="65761"/>
                </a:cubicBezTo>
                <a:cubicBezTo>
                  <a:pt x="624222" y="73599"/>
                  <a:pt x="680079" y="64553"/>
                  <a:pt x="635248" y="72024"/>
                </a:cubicBezTo>
                <a:cubicBezTo>
                  <a:pt x="632116" y="73068"/>
                  <a:pt x="628806" y="73680"/>
                  <a:pt x="625853" y="75156"/>
                </a:cubicBezTo>
                <a:cubicBezTo>
                  <a:pt x="612806" y="81680"/>
                  <a:pt x="613327" y="86117"/>
                  <a:pt x="603933" y="100208"/>
                </a:cubicBezTo>
                <a:cubicBezTo>
                  <a:pt x="601845" y="103339"/>
                  <a:pt x="598860" y="106032"/>
                  <a:pt x="597670" y="109602"/>
                </a:cubicBezTo>
                <a:cubicBezTo>
                  <a:pt x="595582" y="115865"/>
                  <a:pt x="596075" y="123723"/>
                  <a:pt x="591407" y="128391"/>
                </a:cubicBezTo>
                <a:cubicBezTo>
                  <a:pt x="576689" y="143109"/>
                  <a:pt x="585698" y="135329"/>
                  <a:pt x="563223" y="150312"/>
                </a:cubicBezTo>
                <a:lnTo>
                  <a:pt x="553829" y="156575"/>
                </a:lnTo>
                <a:cubicBezTo>
                  <a:pt x="551741" y="159706"/>
                  <a:pt x="549095" y="162530"/>
                  <a:pt x="547566" y="165969"/>
                </a:cubicBezTo>
                <a:cubicBezTo>
                  <a:pt x="544885" y="172002"/>
                  <a:pt x="543391" y="178495"/>
                  <a:pt x="541303" y="184758"/>
                </a:cubicBezTo>
                <a:lnTo>
                  <a:pt x="538171" y="194153"/>
                </a:lnTo>
                <a:lnTo>
                  <a:pt x="519382" y="250520"/>
                </a:lnTo>
                <a:lnTo>
                  <a:pt x="509988" y="278704"/>
                </a:lnTo>
                <a:cubicBezTo>
                  <a:pt x="508944" y="281835"/>
                  <a:pt x="508687" y="285352"/>
                  <a:pt x="506856" y="288098"/>
                </a:cubicBezTo>
                <a:lnTo>
                  <a:pt x="488067" y="316282"/>
                </a:lnTo>
                <a:cubicBezTo>
                  <a:pt x="485979" y="319413"/>
                  <a:pt x="482994" y="322106"/>
                  <a:pt x="481804" y="325676"/>
                </a:cubicBezTo>
                <a:lnTo>
                  <a:pt x="469278" y="363254"/>
                </a:lnTo>
                <a:lnTo>
                  <a:pt x="466146" y="372649"/>
                </a:lnTo>
                <a:cubicBezTo>
                  <a:pt x="465102" y="375780"/>
                  <a:pt x="464846" y="379297"/>
                  <a:pt x="463015" y="382043"/>
                </a:cubicBezTo>
                <a:cubicBezTo>
                  <a:pt x="460927" y="385175"/>
                  <a:pt x="458281" y="387999"/>
                  <a:pt x="456752" y="391438"/>
                </a:cubicBezTo>
                <a:cubicBezTo>
                  <a:pt x="454071" y="397471"/>
                  <a:pt x="452577" y="403964"/>
                  <a:pt x="450489" y="410227"/>
                </a:cubicBezTo>
                <a:lnTo>
                  <a:pt x="447357" y="419621"/>
                </a:lnTo>
                <a:cubicBezTo>
                  <a:pt x="446167" y="423192"/>
                  <a:pt x="443182" y="425884"/>
                  <a:pt x="441094" y="429016"/>
                </a:cubicBezTo>
                <a:cubicBezTo>
                  <a:pt x="429678" y="463268"/>
                  <a:pt x="447884" y="411390"/>
                  <a:pt x="431700" y="447805"/>
                </a:cubicBezTo>
                <a:cubicBezTo>
                  <a:pt x="429019" y="453838"/>
                  <a:pt x="427525" y="460331"/>
                  <a:pt x="425437" y="466594"/>
                </a:cubicBezTo>
                <a:lnTo>
                  <a:pt x="419174" y="485383"/>
                </a:lnTo>
                <a:cubicBezTo>
                  <a:pt x="417984" y="488954"/>
                  <a:pt x="414594" y="491412"/>
                  <a:pt x="412911" y="494778"/>
                </a:cubicBezTo>
                <a:cubicBezTo>
                  <a:pt x="411435" y="497730"/>
                  <a:pt x="411382" y="501287"/>
                  <a:pt x="409779" y="504172"/>
                </a:cubicBezTo>
                <a:cubicBezTo>
                  <a:pt x="393951" y="532662"/>
                  <a:pt x="403073" y="514099"/>
                  <a:pt x="387859" y="532356"/>
                </a:cubicBezTo>
                <a:cubicBezTo>
                  <a:pt x="385450" y="535247"/>
                  <a:pt x="384535" y="539399"/>
                  <a:pt x="381596" y="541750"/>
                </a:cubicBezTo>
                <a:cubicBezTo>
                  <a:pt x="379018" y="543812"/>
                  <a:pt x="375087" y="543279"/>
                  <a:pt x="372201" y="544882"/>
                </a:cubicBezTo>
                <a:cubicBezTo>
                  <a:pt x="372194" y="544886"/>
                  <a:pt x="348719" y="560537"/>
                  <a:pt x="344018" y="563671"/>
                </a:cubicBezTo>
                <a:cubicBezTo>
                  <a:pt x="340134" y="566261"/>
                  <a:pt x="335826" y="568200"/>
                  <a:pt x="331492" y="569934"/>
                </a:cubicBezTo>
                <a:cubicBezTo>
                  <a:pt x="325362" y="572386"/>
                  <a:pt x="318966" y="574109"/>
                  <a:pt x="312703" y="576197"/>
                </a:cubicBezTo>
                <a:cubicBezTo>
                  <a:pt x="302171" y="579707"/>
                  <a:pt x="300237" y="580782"/>
                  <a:pt x="287651" y="582460"/>
                </a:cubicBezTo>
                <a:cubicBezTo>
                  <a:pt x="277252" y="583846"/>
                  <a:pt x="266774" y="584547"/>
                  <a:pt x="256335" y="585591"/>
                </a:cubicBezTo>
                <a:cubicBezTo>
                  <a:pt x="253204" y="587679"/>
                  <a:pt x="249832" y="589445"/>
                  <a:pt x="246941" y="591854"/>
                </a:cubicBezTo>
                <a:cubicBezTo>
                  <a:pt x="235902" y="601053"/>
                  <a:pt x="233750" y="606943"/>
                  <a:pt x="225020" y="620038"/>
                </a:cubicBezTo>
                <a:cubicBezTo>
                  <a:pt x="221400" y="625468"/>
                  <a:pt x="187979" y="628908"/>
                  <a:pt x="184311" y="629432"/>
                </a:cubicBezTo>
                <a:lnTo>
                  <a:pt x="156127" y="638827"/>
                </a:lnTo>
                <a:cubicBezTo>
                  <a:pt x="152557" y="640017"/>
                  <a:pt x="149864" y="643002"/>
                  <a:pt x="146733" y="645090"/>
                </a:cubicBezTo>
                <a:cubicBezTo>
                  <a:pt x="144645" y="648221"/>
                  <a:pt x="141999" y="651045"/>
                  <a:pt x="140470" y="654484"/>
                </a:cubicBezTo>
                <a:cubicBezTo>
                  <a:pt x="136114" y="664285"/>
                  <a:pt x="133678" y="675391"/>
                  <a:pt x="131075" y="685800"/>
                </a:cubicBezTo>
                <a:cubicBezTo>
                  <a:pt x="130176" y="694791"/>
                  <a:pt x="130456" y="715221"/>
                  <a:pt x="124812" y="726509"/>
                </a:cubicBezTo>
                <a:cubicBezTo>
                  <a:pt x="118979" y="738175"/>
                  <a:pt x="117815" y="734906"/>
                  <a:pt x="109155" y="745298"/>
                </a:cubicBezTo>
                <a:cubicBezTo>
                  <a:pt x="106746" y="748189"/>
                  <a:pt x="104575" y="751327"/>
                  <a:pt x="102892" y="754693"/>
                </a:cubicBezTo>
                <a:cubicBezTo>
                  <a:pt x="99089" y="762299"/>
                  <a:pt x="98775" y="771875"/>
                  <a:pt x="96629" y="779745"/>
                </a:cubicBezTo>
                <a:cubicBezTo>
                  <a:pt x="94892" y="786114"/>
                  <a:pt x="92454" y="792271"/>
                  <a:pt x="90366" y="798534"/>
                </a:cubicBezTo>
                <a:cubicBezTo>
                  <a:pt x="89176" y="802104"/>
                  <a:pt x="85786" y="804562"/>
                  <a:pt x="84103" y="807928"/>
                </a:cubicBezTo>
                <a:cubicBezTo>
                  <a:pt x="82627" y="810881"/>
                  <a:pt x="82015" y="814191"/>
                  <a:pt x="80971" y="817323"/>
                </a:cubicBezTo>
                <a:cubicBezTo>
                  <a:pt x="79927" y="823586"/>
                  <a:pt x="79217" y="829914"/>
                  <a:pt x="77840" y="836112"/>
                </a:cubicBezTo>
                <a:cubicBezTo>
                  <a:pt x="77124" y="839334"/>
                  <a:pt x="75509" y="842304"/>
                  <a:pt x="74708" y="845506"/>
                </a:cubicBezTo>
                <a:cubicBezTo>
                  <a:pt x="73814" y="849081"/>
                  <a:pt x="70377" y="869183"/>
                  <a:pt x="68445" y="873690"/>
                </a:cubicBezTo>
                <a:cubicBezTo>
                  <a:pt x="66962" y="877149"/>
                  <a:pt x="64270" y="879953"/>
                  <a:pt x="62182" y="883084"/>
                </a:cubicBezTo>
                <a:cubicBezTo>
                  <a:pt x="61138" y="886216"/>
                  <a:pt x="60527" y="889526"/>
                  <a:pt x="59051" y="892479"/>
                </a:cubicBezTo>
                <a:cubicBezTo>
                  <a:pt x="57368" y="895845"/>
                  <a:pt x="54316" y="898434"/>
                  <a:pt x="52788" y="901873"/>
                </a:cubicBezTo>
                <a:cubicBezTo>
                  <a:pt x="37884" y="935407"/>
                  <a:pt x="54435" y="908800"/>
                  <a:pt x="40261" y="930057"/>
                </a:cubicBezTo>
                <a:lnTo>
                  <a:pt x="27735" y="967635"/>
                </a:lnTo>
                <a:cubicBezTo>
                  <a:pt x="26691" y="970767"/>
                  <a:pt x="26435" y="974283"/>
                  <a:pt x="24604" y="977030"/>
                </a:cubicBezTo>
                <a:cubicBezTo>
                  <a:pt x="22516" y="980161"/>
                  <a:pt x="19870" y="982985"/>
                  <a:pt x="18341" y="986424"/>
                </a:cubicBezTo>
                <a:cubicBezTo>
                  <a:pt x="15660" y="992457"/>
                  <a:pt x="12078" y="1005213"/>
                  <a:pt x="12078" y="1005213"/>
                </a:cubicBezTo>
                <a:cubicBezTo>
                  <a:pt x="11034" y="1036528"/>
                  <a:pt x="10786" y="1067880"/>
                  <a:pt x="8946" y="1099158"/>
                </a:cubicBezTo>
                <a:cubicBezTo>
                  <a:pt x="8693" y="1103454"/>
                  <a:pt x="6585" y="1107450"/>
                  <a:pt x="5815" y="1111684"/>
                </a:cubicBezTo>
                <a:cubicBezTo>
                  <a:pt x="4495" y="1118946"/>
                  <a:pt x="3727" y="1126298"/>
                  <a:pt x="2683" y="1133605"/>
                </a:cubicBezTo>
                <a:cubicBezTo>
                  <a:pt x="3727" y="1154482"/>
                  <a:pt x="-5780" y="1178843"/>
                  <a:pt x="5815" y="1196235"/>
                </a:cubicBezTo>
                <a:cubicBezTo>
                  <a:pt x="13365" y="1207559"/>
                  <a:pt x="33374" y="1195860"/>
                  <a:pt x="46525" y="1199367"/>
                </a:cubicBezTo>
                <a:cubicBezTo>
                  <a:pt x="50161" y="1200337"/>
                  <a:pt x="50700" y="1205630"/>
                  <a:pt x="52788" y="1208761"/>
                </a:cubicBezTo>
                <a:lnTo>
                  <a:pt x="59051" y="1227550"/>
                </a:lnTo>
                <a:cubicBezTo>
                  <a:pt x="61598" y="1235192"/>
                  <a:pt x="62373" y="1240267"/>
                  <a:pt x="68445" y="1246339"/>
                </a:cubicBezTo>
                <a:cubicBezTo>
                  <a:pt x="71106" y="1249000"/>
                  <a:pt x="74708" y="1250514"/>
                  <a:pt x="77840" y="1252602"/>
                </a:cubicBezTo>
                <a:cubicBezTo>
                  <a:pt x="85147" y="1251558"/>
                  <a:pt x="92871" y="1252121"/>
                  <a:pt x="99760" y="1249471"/>
                </a:cubicBezTo>
                <a:cubicBezTo>
                  <a:pt x="106785" y="1246769"/>
                  <a:pt x="111408" y="1239326"/>
                  <a:pt x="118549" y="1236945"/>
                </a:cubicBezTo>
                <a:lnTo>
                  <a:pt x="127944" y="1233813"/>
                </a:lnTo>
                <a:cubicBezTo>
                  <a:pt x="133163" y="1234857"/>
                  <a:pt x="138438" y="1235654"/>
                  <a:pt x="143601" y="1236945"/>
                </a:cubicBezTo>
                <a:cubicBezTo>
                  <a:pt x="146803" y="1237746"/>
                  <a:pt x="149695" y="1240076"/>
                  <a:pt x="152996" y="1240076"/>
                </a:cubicBezTo>
                <a:cubicBezTo>
                  <a:pt x="160842" y="1240076"/>
                  <a:pt x="187482" y="1235372"/>
                  <a:pt x="196837" y="1233813"/>
                </a:cubicBezTo>
                <a:cubicBezTo>
                  <a:pt x="207025" y="1228719"/>
                  <a:pt x="212878" y="1224419"/>
                  <a:pt x="225020" y="1224419"/>
                </a:cubicBezTo>
                <a:cubicBezTo>
                  <a:pt x="233436" y="1224419"/>
                  <a:pt x="241721" y="1226506"/>
                  <a:pt x="250072" y="1227550"/>
                </a:cubicBezTo>
                <a:cubicBezTo>
                  <a:pt x="253204" y="1228594"/>
                  <a:pt x="256514" y="1229206"/>
                  <a:pt x="259467" y="1230682"/>
                </a:cubicBezTo>
                <a:cubicBezTo>
                  <a:pt x="262833" y="1232365"/>
                  <a:pt x="265337" y="1235624"/>
                  <a:pt x="268861" y="1236945"/>
                </a:cubicBezTo>
                <a:cubicBezTo>
                  <a:pt x="273845" y="1238814"/>
                  <a:pt x="279355" y="1238785"/>
                  <a:pt x="284519" y="1240076"/>
                </a:cubicBezTo>
                <a:cubicBezTo>
                  <a:pt x="287722" y="1240877"/>
                  <a:pt x="290740" y="1242301"/>
                  <a:pt x="293914" y="1243208"/>
                </a:cubicBezTo>
                <a:cubicBezTo>
                  <a:pt x="327040" y="1252672"/>
                  <a:pt x="280583" y="1237719"/>
                  <a:pt x="325229" y="1252602"/>
                </a:cubicBezTo>
                <a:lnTo>
                  <a:pt x="344018" y="1258865"/>
                </a:lnTo>
                <a:lnTo>
                  <a:pt x="353412" y="1261997"/>
                </a:lnTo>
                <a:cubicBezTo>
                  <a:pt x="363850" y="1260953"/>
                  <a:pt x="374359" y="1260460"/>
                  <a:pt x="384727" y="1258865"/>
                </a:cubicBezTo>
                <a:cubicBezTo>
                  <a:pt x="396100" y="1257115"/>
                  <a:pt x="393191" y="1254634"/>
                  <a:pt x="403516" y="1249471"/>
                </a:cubicBezTo>
                <a:cubicBezTo>
                  <a:pt x="410677" y="1245890"/>
                  <a:pt x="421417" y="1244996"/>
                  <a:pt x="428568" y="1243208"/>
                </a:cubicBezTo>
                <a:cubicBezTo>
                  <a:pt x="431771" y="1242407"/>
                  <a:pt x="434831" y="1241120"/>
                  <a:pt x="437963" y="1240076"/>
                </a:cubicBezTo>
                <a:cubicBezTo>
                  <a:pt x="453620" y="1241120"/>
                  <a:pt x="469314" y="1241720"/>
                  <a:pt x="484935" y="1243208"/>
                </a:cubicBezTo>
                <a:cubicBezTo>
                  <a:pt x="491256" y="1243810"/>
                  <a:pt x="497499" y="1245094"/>
                  <a:pt x="503725" y="1246339"/>
                </a:cubicBezTo>
                <a:cubicBezTo>
                  <a:pt x="507945" y="1247183"/>
                  <a:pt x="511965" y="1249081"/>
                  <a:pt x="516251" y="1249471"/>
                </a:cubicBezTo>
                <a:cubicBezTo>
                  <a:pt x="534992" y="1251175"/>
                  <a:pt x="553829" y="1251558"/>
                  <a:pt x="572618" y="1252602"/>
                </a:cubicBezTo>
                <a:cubicBezTo>
                  <a:pt x="605758" y="1260888"/>
                  <a:pt x="566730" y="1249638"/>
                  <a:pt x="594538" y="1261997"/>
                </a:cubicBezTo>
                <a:cubicBezTo>
                  <a:pt x="600571" y="1264678"/>
                  <a:pt x="607064" y="1266172"/>
                  <a:pt x="613327" y="1268260"/>
                </a:cubicBezTo>
                <a:lnTo>
                  <a:pt x="650905" y="1280786"/>
                </a:lnTo>
                <a:cubicBezTo>
                  <a:pt x="654988" y="1282147"/>
                  <a:pt x="659293" y="1282735"/>
                  <a:pt x="663431" y="1283917"/>
                </a:cubicBezTo>
                <a:cubicBezTo>
                  <a:pt x="666605" y="1284824"/>
                  <a:pt x="669694" y="1286005"/>
                  <a:pt x="672826" y="1287049"/>
                </a:cubicBezTo>
                <a:cubicBezTo>
                  <a:pt x="683264" y="1286005"/>
                  <a:pt x="693773" y="1285512"/>
                  <a:pt x="704141" y="1283917"/>
                </a:cubicBezTo>
                <a:cubicBezTo>
                  <a:pt x="707403" y="1283415"/>
                  <a:pt x="710313" y="1281502"/>
                  <a:pt x="713535" y="1280786"/>
                </a:cubicBezTo>
                <a:cubicBezTo>
                  <a:pt x="722086" y="1278886"/>
                  <a:pt x="750596" y="1274975"/>
                  <a:pt x="757377" y="1274523"/>
                </a:cubicBezTo>
                <a:cubicBezTo>
                  <a:pt x="780314" y="1272994"/>
                  <a:pt x="803306" y="1272435"/>
                  <a:pt x="826270" y="1271391"/>
                </a:cubicBezTo>
                <a:cubicBezTo>
                  <a:pt x="828358" y="1268260"/>
                  <a:pt x="830850" y="1265363"/>
                  <a:pt x="832533" y="1261997"/>
                </a:cubicBezTo>
                <a:cubicBezTo>
                  <a:pt x="836109" y="1254844"/>
                  <a:pt x="837011" y="1244083"/>
                  <a:pt x="838796" y="1236945"/>
                </a:cubicBezTo>
                <a:cubicBezTo>
                  <a:pt x="839597" y="1233743"/>
                  <a:pt x="841211" y="1230772"/>
                  <a:pt x="841927" y="1227550"/>
                </a:cubicBezTo>
                <a:cubicBezTo>
                  <a:pt x="843304" y="1221352"/>
                  <a:pt x="844015" y="1215024"/>
                  <a:pt x="845059" y="1208761"/>
                </a:cubicBezTo>
                <a:cubicBezTo>
                  <a:pt x="846103" y="1135693"/>
                  <a:pt x="846189" y="1062604"/>
                  <a:pt x="848190" y="989556"/>
                </a:cubicBezTo>
                <a:cubicBezTo>
                  <a:pt x="848280" y="986256"/>
                  <a:pt x="850675" y="983398"/>
                  <a:pt x="851322" y="980161"/>
                </a:cubicBezTo>
                <a:cubicBezTo>
                  <a:pt x="852769" y="972924"/>
                  <a:pt x="853409" y="965548"/>
                  <a:pt x="854453" y="958241"/>
                </a:cubicBezTo>
                <a:cubicBezTo>
                  <a:pt x="855497" y="934233"/>
                  <a:pt x="855742" y="910176"/>
                  <a:pt x="857585" y="886216"/>
                </a:cubicBezTo>
                <a:cubicBezTo>
                  <a:pt x="857838" y="882925"/>
                  <a:pt x="860173" y="880077"/>
                  <a:pt x="860716" y="876821"/>
                </a:cubicBezTo>
                <a:cubicBezTo>
                  <a:pt x="862270" y="867497"/>
                  <a:pt x="862804" y="858032"/>
                  <a:pt x="863848" y="848638"/>
                </a:cubicBezTo>
                <a:cubicBezTo>
                  <a:pt x="864892" y="822542"/>
                  <a:pt x="863008" y="796163"/>
                  <a:pt x="866979" y="770350"/>
                </a:cubicBezTo>
                <a:cubicBezTo>
                  <a:pt x="867481" y="767087"/>
                  <a:pt x="873073" y="767219"/>
                  <a:pt x="876374" y="767219"/>
                </a:cubicBezTo>
                <a:cubicBezTo>
                  <a:pt x="906663" y="767219"/>
                  <a:pt x="936917" y="769306"/>
                  <a:pt x="967188" y="770350"/>
                </a:cubicBezTo>
                <a:cubicBezTo>
                  <a:pt x="1019725" y="787866"/>
                  <a:pt x="965796" y="770909"/>
                  <a:pt x="1111237" y="776613"/>
                </a:cubicBezTo>
                <a:cubicBezTo>
                  <a:pt x="1119646" y="776943"/>
                  <a:pt x="1127938" y="778701"/>
                  <a:pt x="1136289" y="779745"/>
                </a:cubicBezTo>
                <a:cubicBezTo>
                  <a:pt x="1204502" y="802480"/>
                  <a:pt x="1135212" y="780430"/>
                  <a:pt x="1330442" y="786008"/>
                </a:cubicBezTo>
                <a:cubicBezTo>
                  <a:pt x="1341967" y="786337"/>
                  <a:pt x="1353407" y="788095"/>
                  <a:pt x="1364889" y="789139"/>
                </a:cubicBezTo>
                <a:cubicBezTo>
                  <a:pt x="1368020" y="790183"/>
                  <a:pt x="1371015" y="791804"/>
                  <a:pt x="1374283" y="792271"/>
                </a:cubicBezTo>
                <a:cubicBezTo>
                  <a:pt x="1421989" y="799086"/>
                  <a:pt x="1548767" y="798382"/>
                  <a:pt x="1555911" y="798534"/>
                </a:cubicBezTo>
                <a:cubicBezTo>
                  <a:pt x="1571568" y="799578"/>
                  <a:pt x="1587198" y="801197"/>
                  <a:pt x="1602883" y="801665"/>
                </a:cubicBezTo>
                <a:lnTo>
                  <a:pt x="1800168" y="807928"/>
                </a:lnTo>
                <a:cubicBezTo>
                  <a:pt x="1808170" y="783927"/>
                  <a:pt x="1800168" y="812040"/>
                  <a:pt x="1800168" y="760956"/>
                </a:cubicBezTo>
                <a:cubicBezTo>
                  <a:pt x="1800168" y="722320"/>
                  <a:pt x="1801418" y="683680"/>
                  <a:pt x="1803300" y="645090"/>
                </a:cubicBezTo>
                <a:cubicBezTo>
                  <a:pt x="1803510" y="640791"/>
                  <a:pt x="1805497" y="636765"/>
                  <a:pt x="1806431" y="632564"/>
                </a:cubicBezTo>
                <a:cubicBezTo>
                  <a:pt x="1807586" y="627368"/>
                  <a:pt x="1808519" y="622125"/>
                  <a:pt x="1809563" y="616906"/>
                </a:cubicBezTo>
                <a:cubicBezTo>
                  <a:pt x="1810607" y="606468"/>
                  <a:pt x="1811099" y="595959"/>
                  <a:pt x="1812694" y="585591"/>
                </a:cubicBezTo>
                <a:cubicBezTo>
                  <a:pt x="1813196" y="582329"/>
                  <a:pt x="1815179" y="579434"/>
                  <a:pt x="1815826" y="576197"/>
                </a:cubicBezTo>
                <a:cubicBezTo>
                  <a:pt x="1818999" y="560334"/>
                  <a:pt x="1820770" y="534336"/>
                  <a:pt x="1822089" y="519830"/>
                </a:cubicBezTo>
                <a:cubicBezTo>
                  <a:pt x="1821045" y="508348"/>
                  <a:pt x="1823833" y="495831"/>
                  <a:pt x="1818957" y="485383"/>
                </a:cubicBezTo>
                <a:cubicBezTo>
                  <a:pt x="1814484" y="475798"/>
                  <a:pt x="1789935" y="469446"/>
                  <a:pt x="1781379" y="466594"/>
                </a:cubicBezTo>
                <a:lnTo>
                  <a:pt x="1771985" y="463463"/>
                </a:lnTo>
                <a:cubicBezTo>
                  <a:pt x="1768853" y="461375"/>
                  <a:pt x="1765956" y="458883"/>
                  <a:pt x="1762590" y="457200"/>
                </a:cubicBezTo>
                <a:cubicBezTo>
                  <a:pt x="1759638" y="455724"/>
                  <a:pt x="1755801" y="456095"/>
                  <a:pt x="1753196" y="454068"/>
                </a:cubicBezTo>
                <a:cubicBezTo>
                  <a:pt x="1724338" y="431622"/>
                  <a:pt x="1742468" y="443072"/>
                  <a:pt x="1728144" y="425884"/>
                </a:cubicBezTo>
                <a:cubicBezTo>
                  <a:pt x="1725309" y="422482"/>
                  <a:pt x="1721468" y="419986"/>
                  <a:pt x="1718749" y="416490"/>
                </a:cubicBezTo>
                <a:cubicBezTo>
                  <a:pt x="1714128" y="410548"/>
                  <a:pt x="1710398" y="403964"/>
                  <a:pt x="1706223" y="397701"/>
                </a:cubicBezTo>
                <a:lnTo>
                  <a:pt x="1681171" y="360123"/>
                </a:lnTo>
                <a:lnTo>
                  <a:pt x="1668645" y="341334"/>
                </a:lnTo>
                <a:cubicBezTo>
                  <a:pt x="1666557" y="338202"/>
                  <a:pt x="1664991" y="337680"/>
                  <a:pt x="1662382" y="331939"/>
                </a:cubicBezTo>
                <a:cubicBezTo>
                  <a:pt x="1659773" y="326198"/>
                  <a:pt x="1656119" y="315238"/>
                  <a:pt x="1652988" y="306887"/>
                </a:cubicBezTo>
                <a:cubicBezTo>
                  <a:pt x="1640705" y="298698"/>
                  <a:pt x="1614366" y="315238"/>
                  <a:pt x="1599752" y="313150"/>
                </a:cubicBezTo>
                <a:cubicBezTo>
                  <a:pt x="1594840" y="310694"/>
                  <a:pt x="1582257" y="305050"/>
                  <a:pt x="1577831" y="300624"/>
                </a:cubicBezTo>
                <a:cubicBezTo>
                  <a:pt x="1575170" y="297963"/>
                  <a:pt x="1574229" y="293891"/>
                  <a:pt x="1571568" y="291230"/>
                </a:cubicBezTo>
                <a:cubicBezTo>
                  <a:pt x="1568907" y="288569"/>
                  <a:pt x="1565065" y="287376"/>
                  <a:pt x="1562174" y="284967"/>
                </a:cubicBezTo>
                <a:cubicBezTo>
                  <a:pt x="1558772" y="282132"/>
                  <a:pt x="1556275" y="278291"/>
                  <a:pt x="1552779" y="275572"/>
                </a:cubicBezTo>
                <a:cubicBezTo>
                  <a:pt x="1536627" y="263009"/>
                  <a:pt x="1538770" y="264639"/>
                  <a:pt x="1524596" y="259915"/>
                </a:cubicBezTo>
                <a:cubicBezTo>
                  <a:pt x="1521464" y="256783"/>
                  <a:pt x="1518603" y="253355"/>
                  <a:pt x="1515201" y="250520"/>
                </a:cubicBezTo>
                <a:cubicBezTo>
                  <a:pt x="1512310" y="248111"/>
                  <a:pt x="1508869" y="246444"/>
                  <a:pt x="1505807" y="244257"/>
                </a:cubicBezTo>
                <a:cubicBezTo>
                  <a:pt x="1501560" y="241223"/>
                  <a:pt x="1497528" y="237896"/>
                  <a:pt x="1493281" y="234863"/>
                </a:cubicBezTo>
                <a:cubicBezTo>
                  <a:pt x="1487627" y="230824"/>
                  <a:pt x="1481767" y="226234"/>
                  <a:pt x="1474492" y="225468"/>
                </a:cubicBezTo>
                <a:cubicBezTo>
                  <a:pt x="1457850" y="223716"/>
                  <a:pt x="1441089" y="223380"/>
                  <a:pt x="1424388" y="222336"/>
                </a:cubicBezTo>
                <a:cubicBezTo>
                  <a:pt x="1414973" y="219198"/>
                  <a:pt x="1413692" y="219687"/>
                  <a:pt x="1405598" y="212942"/>
                </a:cubicBezTo>
                <a:cubicBezTo>
                  <a:pt x="1402196" y="210107"/>
                  <a:pt x="1399808" y="206121"/>
                  <a:pt x="1396204" y="203547"/>
                </a:cubicBezTo>
                <a:cubicBezTo>
                  <a:pt x="1392405" y="200834"/>
                  <a:pt x="1387853" y="199372"/>
                  <a:pt x="1383678" y="197284"/>
                </a:cubicBezTo>
                <a:cubicBezTo>
                  <a:pt x="1381590" y="194153"/>
                  <a:pt x="1380247" y="190368"/>
                  <a:pt x="1377415" y="187890"/>
                </a:cubicBezTo>
                <a:cubicBezTo>
                  <a:pt x="1373022" y="184046"/>
                  <a:pt x="1358249" y="173134"/>
                  <a:pt x="1349231" y="172232"/>
                </a:cubicBezTo>
                <a:cubicBezTo>
                  <a:pt x="1331544" y="170463"/>
                  <a:pt x="1313741" y="170145"/>
                  <a:pt x="1295996" y="169101"/>
                </a:cubicBezTo>
                <a:cubicBezTo>
                  <a:pt x="1285247" y="166951"/>
                  <a:pt x="1278120" y="165783"/>
                  <a:pt x="1267812" y="162838"/>
                </a:cubicBezTo>
                <a:cubicBezTo>
                  <a:pt x="1264638" y="161931"/>
                  <a:pt x="1261549" y="160750"/>
                  <a:pt x="1258418" y="159706"/>
                </a:cubicBezTo>
                <a:cubicBezTo>
                  <a:pt x="1208180" y="161639"/>
                  <a:pt x="1197725" y="156468"/>
                  <a:pt x="1164472" y="165969"/>
                </a:cubicBezTo>
                <a:cubicBezTo>
                  <a:pt x="1161298" y="166876"/>
                  <a:pt x="1158030" y="167625"/>
                  <a:pt x="1155078" y="169101"/>
                </a:cubicBezTo>
                <a:cubicBezTo>
                  <a:pt x="1151712" y="170784"/>
                  <a:pt x="1148815" y="173276"/>
                  <a:pt x="1145683" y="175364"/>
                </a:cubicBezTo>
                <a:cubicBezTo>
                  <a:pt x="1120631" y="174320"/>
                  <a:pt x="1085663" y="175886"/>
                  <a:pt x="1070527" y="172232"/>
                </a:cubicBezTo>
                <a:cubicBezTo>
                  <a:pt x="1055391" y="168578"/>
                  <a:pt x="1058523" y="158140"/>
                  <a:pt x="1054870" y="153443"/>
                </a:cubicBezTo>
                <a:cubicBezTo>
                  <a:pt x="1051217" y="148746"/>
                  <a:pt x="1051738" y="145094"/>
                  <a:pt x="1048606" y="144050"/>
                </a:cubicBezTo>
                <a:cubicBezTo>
                  <a:pt x="1021686" y="126102"/>
                  <a:pt x="1027207" y="138829"/>
                  <a:pt x="1023554" y="137785"/>
                </a:cubicBezTo>
                <a:cubicBezTo>
                  <a:pt x="1019901" y="136741"/>
                  <a:pt x="1029818" y="139873"/>
                  <a:pt x="1026687" y="137785"/>
                </a:cubicBezTo>
                <a:cubicBezTo>
                  <a:pt x="1024599" y="134654"/>
                  <a:pt x="1023556" y="126304"/>
                  <a:pt x="1017293" y="118997"/>
                </a:cubicBezTo>
                <a:cubicBezTo>
                  <a:pt x="1011030" y="111690"/>
                  <a:pt x="994849" y="101252"/>
                  <a:pt x="989108" y="93945"/>
                </a:cubicBezTo>
                <a:cubicBezTo>
                  <a:pt x="983367" y="86638"/>
                  <a:pt x="984933" y="81419"/>
                  <a:pt x="982845" y="75156"/>
                </a:cubicBezTo>
                <a:cubicBezTo>
                  <a:pt x="981898" y="72316"/>
                  <a:pt x="967454" y="53660"/>
                  <a:pt x="967188" y="53235"/>
                </a:cubicBezTo>
                <a:cubicBezTo>
                  <a:pt x="964714" y="49276"/>
                  <a:pt x="963241" y="44762"/>
                  <a:pt x="960925" y="40709"/>
                </a:cubicBezTo>
                <a:cubicBezTo>
                  <a:pt x="959058" y="37441"/>
                  <a:pt x="956749" y="34446"/>
                  <a:pt x="954661" y="31315"/>
                </a:cubicBezTo>
                <a:cubicBezTo>
                  <a:pt x="948146" y="5252"/>
                  <a:pt x="956078" y="31015"/>
                  <a:pt x="945267" y="9394"/>
                </a:cubicBezTo>
                <a:cubicBezTo>
                  <a:pt x="943791" y="6442"/>
                  <a:pt x="942657" y="0"/>
                  <a:pt x="939004" y="0"/>
                </a:cubicBezTo>
                <a:close/>
              </a:path>
            </a:pathLst>
          </a:custGeom>
          <a:solidFill>
            <a:srgbClr val="F8C7A3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 dirty="0">
              <a:solidFill>
                <a:srgbClr val="182F41"/>
              </a:solidFill>
            </a:endParaRPr>
          </a:p>
        </p:txBody>
      </p:sp>
      <p:sp>
        <p:nvSpPr>
          <p:cNvPr id="17" name="Forme libre 122">
            <a:extLst>
              <a:ext uri="{FF2B5EF4-FFF2-40B4-BE49-F238E27FC236}">
                <a16:creationId xmlns:a16="http://schemas.microsoft.com/office/drawing/2014/main" id="{40BF0937-B696-4BF1-A1D9-03801213ABDE}"/>
              </a:ext>
            </a:extLst>
          </p:cNvPr>
          <p:cNvSpPr/>
          <p:nvPr/>
        </p:nvSpPr>
        <p:spPr>
          <a:xfrm>
            <a:off x="211138" y="5264438"/>
            <a:ext cx="1570038" cy="1358698"/>
          </a:xfrm>
          <a:custGeom>
            <a:avLst/>
            <a:gdLst>
              <a:gd name="connsiteX0" fmla="*/ 1584573 w 1590358"/>
              <a:gd name="connsiteY0" fmla="*/ 93945 h 1295065"/>
              <a:gd name="connsiteX1" fmla="*/ 1509417 w 1590358"/>
              <a:gd name="connsiteY1" fmla="*/ 90813 h 1295065"/>
              <a:gd name="connsiteX2" fmla="*/ 1500023 w 1590358"/>
              <a:gd name="connsiteY2" fmla="*/ 87682 h 1295065"/>
              <a:gd name="connsiteX3" fmla="*/ 1449918 w 1590358"/>
              <a:gd name="connsiteY3" fmla="*/ 90813 h 1295065"/>
              <a:gd name="connsiteX4" fmla="*/ 1355973 w 1590358"/>
              <a:gd name="connsiteY4" fmla="*/ 87682 h 1295065"/>
              <a:gd name="connsiteX5" fmla="*/ 1321527 w 1590358"/>
              <a:gd name="connsiteY5" fmla="*/ 78287 h 1295065"/>
              <a:gd name="connsiteX6" fmla="*/ 1299606 w 1590358"/>
              <a:gd name="connsiteY6" fmla="*/ 72024 h 1295065"/>
              <a:gd name="connsiteX7" fmla="*/ 1290212 w 1590358"/>
              <a:gd name="connsiteY7" fmla="*/ 68893 h 1295065"/>
              <a:gd name="connsiteX8" fmla="*/ 1218187 w 1590358"/>
              <a:gd name="connsiteY8" fmla="*/ 65761 h 1295065"/>
              <a:gd name="connsiteX9" fmla="*/ 1158688 w 1590358"/>
              <a:gd name="connsiteY9" fmla="*/ 68893 h 1295065"/>
              <a:gd name="connsiteX10" fmla="*/ 1139899 w 1590358"/>
              <a:gd name="connsiteY10" fmla="*/ 81419 h 1295065"/>
              <a:gd name="connsiteX11" fmla="*/ 1130505 w 1590358"/>
              <a:gd name="connsiteY11" fmla="*/ 84550 h 1295065"/>
              <a:gd name="connsiteX12" fmla="*/ 1077269 w 1590358"/>
              <a:gd name="connsiteY12" fmla="*/ 81419 h 1295065"/>
              <a:gd name="connsiteX13" fmla="*/ 1058480 w 1590358"/>
              <a:gd name="connsiteY13" fmla="*/ 72024 h 1295065"/>
              <a:gd name="connsiteX14" fmla="*/ 1039691 w 1590358"/>
              <a:gd name="connsiteY14" fmla="*/ 65761 h 1295065"/>
              <a:gd name="connsiteX15" fmla="*/ 1020902 w 1590358"/>
              <a:gd name="connsiteY15" fmla="*/ 53235 h 1295065"/>
              <a:gd name="connsiteX16" fmla="*/ 986455 w 1590358"/>
              <a:gd name="connsiteY16" fmla="*/ 46972 h 1295065"/>
              <a:gd name="connsiteX17" fmla="*/ 970798 w 1590358"/>
              <a:gd name="connsiteY17" fmla="*/ 43841 h 1295065"/>
              <a:gd name="connsiteX18" fmla="*/ 942614 w 1590358"/>
              <a:gd name="connsiteY18" fmla="*/ 46972 h 1295065"/>
              <a:gd name="connsiteX19" fmla="*/ 933220 w 1590358"/>
              <a:gd name="connsiteY19" fmla="*/ 50104 h 1295065"/>
              <a:gd name="connsiteX20" fmla="*/ 920694 w 1590358"/>
              <a:gd name="connsiteY20" fmla="*/ 53235 h 1295065"/>
              <a:gd name="connsiteX21" fmla="*/ 911299 w 1590358"/>
              <a:gd name="connsiteY21" fmla="*/ 56367 h 1295065"/>
              <a:gd name="connsiteX22" fmla="*/ 867458 w 1590358"/>
              <a:gd name="connsiteY22" fmla="*/ 59498 h 1295065"/>
              <a:gd name="connsiteX23" fmla="*/ 858064 w 1590358"/>
              <a:gd name="connsiteY23" fmla="*/ 65761 h 1295065"/>
              <a:gd name="connsiteX24" fmla="*/ 814223 w 1590358"/>
              <a:gd name="connsiteY24" fmla="*/ 65761 h 1295065"/>
              <a:gd name="connsiteX25" fmla="*/ 795434 w 1590358"/>
              <a:gd name="connsiteY25" fmla="*/ 50104 h 1295065"/>
              <a:gd name="connsiteX26" fmla="*/ 789171 w 1590358"/>
              <a:gd name="connsiteY26" fmla="*/ 40709 h 1295065"/>
              <a:gd name="connsiteX27" fmla="*/ 782907 w 1590358"/>
              <a:gd name="connsiteY27" fmla="*/ 34446 h 1295065"/>
              <a:gd name="connsiteX28" fmla="*/ 776644 w 1590358"/>
              <a:gd name="connsiteY28" fmla="*/ 25052 h 1295065"/>
              <a:gd name="connsiteX29" fmla="*/ 757855 w 1590358"/>
              <a:gd name="connsiteY29" fmla="*/ 18789 h 1295065"/>
              <a:gd name="connsiteX30" fmla="*/ 748461 w 1590358"/>
              <a:gd name="connsiteY30" fmla="*/ 12526 h 1295065"/>
              <a:gd name="connsiteX31" fmla="*/ 739066 w 1590358"/>
              <a:gd name="connsiteY31" fmla="*/ 3131 h 1295065"/>
              <a:gd name="connsiteX32" fmla="*/ 729672 w 1590358"/>
              <a:gd name="connsiteY32" fmla="*/ 0 h 1295065"/>
              <a:gd name="connsiteX33" fmla="*/ 720277 w 1590358"/>
              <a:gd name="connsiteY33" fmla="*/ 3131 h 1295065"/>
              <a:gd name="connsiteX34" fmla="*/ 707751 w 1590358"/>
              <a:gd name="connsiteY34" fmla="*/ 21920 h 1295065"/>
              <a:gd name="connsiteX35" fmla="*/ 695225 w 1590358"/>
              <a:gd name="connsiteY35" fmla="*/ 37578 h 1295065"/>
              <a:gd name="connsiteX36" fmla="*/ 676436 w 1590358"/>
              <a:gd name="connsiteY36" fmla="*/ 53235 h 1295065"/>
              <a:gd name="connsiteX37" fmla="*/ 657647 w 1590358"/>
              <a:gd name="connsiteY37" fmla="*/ 59498 h 1295065"/>
              <a:gd name="connsiteX38" fmla="*/ 648253 w 1590358"/>
              <a:gd name="connsiteY38" fmla="*/ 65761 h 1295065"/>
              <a:gd name="connsiteX39" fmla="*/ 638858 w 1590358"/>
              <a:gd name="connsiteY39" fmla="*/ 68893 h 1295065"/>
              <a:gd name="connsiteX40" fmla="*/ 635727 w 1590358"/>
              <a:gd name="connsiteY40" fmla="*/ 78287 h 1295065"/>
              <a:gd name="connsiteX41" fmla="*/ 626332 w 1590358"/>
              <a:gd name="connsiteY41" fmla="*/ 87682 h 1295065"/>
              <a:gd name="connsiteX42" fmla="*/ 613806 w 1590358"/>
              <a:gd name="connsiteY42" fmla="*/ 106471 h 1295065"/>
              <a:gd name="connsiteX43" fmla="*/ 604412 w 1590358"/>
              <a:gd name="connsiteY43" fmla="*/ 109602 h 1295065"/>
              <a:gd name="connsiteX44" fmla="*/ 595017 w 1590358"/>
              <a:gd name="connsiteY44" fmla="*/ 115865 h 1295065"/>
              <a:gd name="connsiteX45" fmla="*/ 585623 w 1590358"/>
              <a:gd name="connsiteY45" fmla="*/ 118997 h 1295065"/>
              <a:gd name="connsiteX46" fmla="*/ 566834 w 1590358"/>
              <a:gd name="connsiteY46" fmla="*/ 131523 h 1295065"/>
              <a:gd name="connsiteX47" fmla="*/ 557439 w 1590358"/>
              <a:gd name="connsiteY47" fmla="*/ 137786 h 1295065"/>
              <a:gd name="connsiteX48" fmla="*/ 544913 w 1590358"/>
              <a:gd name="connsiteY48" fmla="*/ 156575 h 1295065"/>
              <a:gd name="connsiteX49" fmla="*/ 532387 w 1590358"/>
              <a:gd name="connsiteY49" fmla="*/ 184759 h 1295065"/>
              <a:gd name="connsiteX50" fmla="*/ 522992 w 1590358"/>
              <a:gd name="connsiteY50" fmla="*/ 194153 h 1295065"/>
              <a:gd name="connsiteX51" fmla="*/ 513598 w 1590358"/>
              <a:gd name="connsiteY51" fmla="*/ 197285 h 1295065"/>
              <a:gd name="connsiteX52" fmla="*/ 504203 w 1590358"/>
              <a:gd name="connsiteY52" fmla="*/ 203548 h 1295065"/>
              <a:gd name="connsiteX53" fmla="*/ 466625 w 1590358"/>
              <a:gd name="connsiteY53" fmla="*/ 209811 h 1295065"/>
              <a:gd name="connsiteX54" fmla="*/ 457231 w 1590358"/>
              <a:gd name="connsiteY54" fmla="*/ 216074 h 1295065"/>
              <a:gd name="connsiteX55" fmla="*/ 438442 w 1590358"/>
              <a:gd name="connsiteY55" fmla="*/ 234863 h 1295065"/>
              <a:gd name="connsiteX56" fmla="*/ 429047 w 1590358"/>
              <a:gd name="connsiteY56" fmla="*/ 241126 h 1295065"/>
              <a:gd name="connsiteX57" fmla="*/ 413390 w 1590358"/>
              <a:gd name="connsiteY57" fmla="*/ 259915 h 1295065"/>
              <a:gd name="connsiteX58" fmla="*/ 410258 w 1590358"/>
              <a:gd name="connsiteY58" fmla="*/ 269309 h 1295065"/>
              <a:gd name="connsiteX59" fmla="*/ 397732 w 1590358"/>
              <a:gd name="connsiteY59" fmla="*/ 288098 h 1295065"/>
              <a:gd name="connsiteX60" fmla="*/ 394601 w 1590358"/>
              <a:gd name="connsiteY60" fmla="*/ 316282 h 1295065"/>
              <a:gd name="connsiteX61" fmla="*/ 413390 w 1590358"/>
              <a:gd name="connsiteY61" fmla="*/ 310019 h 1295065"/>
              <a:gd name="connsiteX62" fmla="*/ 422784 w 1590358"/>
              <a:gd name="connsiteY62" fmla="*/ 288098 h 1295065"/>
              <a:gd name="connsiteX63" fmla="*/ 441573 w 1590358"/>
              <a:gd name="connsiteY63" fmla="*/ 259915 h 1295065"/>
              <a:gd name="connsiteX64" fmla="*/ 450968 w 1590358"/>
              <a:gd name="connsiteY64" fmla="*/ 253652 h 1295065"/>
              <a:gd name="connsiteX65" fmla="*/ 469757 w 1590358"/>
              <a:gd name="connsiteY65" fmla="*/ 241126 h 1295065"/>
              <a:gd name="connsiteX66" fmla="*/ 476020 w 1590358"/>
              <a:gd name="connsiteY66" fmla="*/ 250520 h 1295065"/>
              <a:gd name="connsiteX67" fmla="*/ 469757 w 1590358"/>
              <a:gd name="connsiteY67" fmla="*/ 278704 h 1295065"/>
              <a:gd name="connsiteX68" fmla="*/ 460362 w 1590358"/>
              <a:gd name="connsiteY68" fmla="*/ 284967 h 1295065"/>
              <a:gd name="connsiteX69" fmla="*/ 447836 w 1590358"/>
              <a:gd name="connsiteY69" fmla="*/ 294361 h 1295065"/>
              <a:gd name="connsiteX70" fmla="*/ 441573 w 1590358"/>
              <a:gd name="connsiteY70" fmla="*/ 303756 h 1295065"/>
              <a:gd name="connsiteX71" fmla="*/ 419653 w 1590358"/>
              <a:gd name="connsiteY71" fmla="*/ 328808 h 1295065"/>
              <a:gd name="connsiteX72" fmla="*/ 413390 w 1590358"/>
              <a:gd name="connsiteY72" fmla="*/ 347597 h 1295065"/>
              <a:gd name="connsiteX73" fmla="*/ 397732 w 1590358"/>
              <a:gd name="connsiteY73" fmla="*/ 403964 h 1295065"/>
              <a:gd name="connsiteX74" fmla="*/ 378943 w 1590358"/>
              <a:gd name="connsiteY74" fmla="*/ 422753 h 1295065"/>
              <a:gd name="connsiteX75" fmla="*/ 375812 w 1590358"/>
              <a:gd name="connsiteY75" fmla="*/ 432148 h 1295065"/>
              <a:gd name="connsiteX76" fmla="*/ 363286 w 1590358"/>
              <a:gd name="connsiteY76" fmla="*/ 450937 h 1295065"/>
              <a:gd name="connsiteX77" fmla="*/ 350760 w 1590358"/>
              <a:gd name="connsiteY77" fmla="*/ 469726 h 1295065"/>
              <a:gd name="connsiteX78" fmla="*/ 338234 w 1590358"/>
              <a:gd name="connsiteY78" fmla="*/ 488515 h 1295065"/>
              <a:gd name="connsiteX79" fmla="*/ 331971 w 1590358"/>
              <a:gd name="connsiteY79" fmla="*/ 551145 h 1295065"/>
              <a:gd name="connsiteX80" fmla="*/ 325707 w 1590358"/>
              <a:gd name="connsiteY80" fmla="*/ 557408 h 1295065"/>
              <a:gd name="connsiteX81" fmla="*/ 306918 w 1590358"/>
              <a:gd name="connsiteY81" fmla="*/ 566802 h 1295065"/>
              <a:gd name="connsiteX82" fmla="*/ 284998 w 1590358"/>
              <a:gd name="connsiteY82" fmla="*/ 591854 h 1295065"/>
              <a:gd name="connsiteX83" fmla="*/ 278735 w 1590358"/>
              <a:gd name="connsiteY83" fmla="*/ 610643 h 1295065"/>
              <a:gd name="connsiteX84" fmla="*/ 259946 w 1590358"/>
              <a:gd name="connsiteY84" fmla="*/ 626301 h 1295065"/>
              <a:gd name="connsiteX85" fmla="*/ 253683 w 1590358"/>
              <a:gd name="connsiteY85" fmla="*/ 673274 h 1295065"/>
              <a:gd name="connsiteX86" fmla="*/ 247420 w 1590358"/>
              <a:gd name="connsiteY86" fmla="*/ 692063 h 1295065"/>
              <a:gd name="connsiteX87" fmla="*/ 244288 w 1590358"/>
              <a:gd name="connsiteY87" fmla="*/ 701457 h 1295065"/>
              <a:gd name="connsiteX88" fmla="*/ 228631 w 1590358"/>
              <a:gd name="connsiteY88" fmla="*/ 720246 h 1295065"/>
              <a:gd name="connsiteX89" fmla="*/ 222368 w 1590358"/>
              <a:gd name="connsiteY89" fmla="*/ 739035 h 1295065"/>
              <a:gd name="connsiteX90" fmla="*/ 219236 w 1590358"/>
              <a:gd name="connsiteY90" fmla="*/ 748430 h 1295065"/>
              <a:gd name="connsiteX91" fmla="*/ 209842 w 1590358"/>
              <a:gd name="connsiteY91" fmla="*/ 767219 h 1295065"/>
              <a:gd name="connsiteX92" fmla="*/ 200447 w 1590358"/>
              <a:gd name="connsiteY92" fmla="*/ 770350 h 1295065"/>
              <a:gd name="connsiteX93" fmla="*/ 150343 w 1590358"/>
              <a:gd name="connsiteY93" fmla="*/ 773482 h 1295065"/>
              <a:gd name="connsiteX94" fmla="*/ 134686 w 1590358"/>
              <a:gd name="connsiteY94" fmla="*/ 795402 h 1295065"/>
              <a:gd name="connsiteX95" fmla="*/ 131554 w 1590358"/>
              <a:gd name="connsiteY95" fmla="*/ 804797 h 1295065"/>
              <a:gd name="connsiteX96" fmla="*/ 112765 w 1590358"/>
              <a:gd name="connsiteY96" fmla="*/ 820454 h 1295065"/>
              <a:gd name="connsiteX97" fmla="*/ 103371 w 1590358"/>
              <a:gd name="connsiteY97" fmla="*/ 823586 h 1295065"/>
              <a:gd name="connsiteX98" fmla="*/ 87713 w 1590358"/>
              <a:gd name="connsiteY98" fmla="*/ 839243 h 1295065"/>
              <a:gd name="connsiteX99" fmla="*/ 78318 w 1590358"/>
              <a:gd name="connsiteY99" fmla="*/ 873690 h 1295065"/>
              <a:gd name="connsiteX100" fmla="*/ 78318 w 1590358"/>
              <a:gd name="connsiteY100" fmla="*/ 873690 h 1295065"/>
              <a:gd name="connsiteX101" fmla="*/ 75187 w 1590358"/>
              <a:gd name="connsiteY101" fmla="*/ 886216 h 1295065"/>
              <a:gd name="connsiteX102" fmla="*/ 65792 w 1590358"/>
              <a:gd name="connsiteY102" fmla="*/ 914400 h 1295065"/>
              <a:gd name="connsiteX103" fmla="*/ 62661 w 1590358"/>
              <a:gd name="connsiteY103" fmla="*/ 923794 h 1295065"/>
              <a:gd name="connsiteX104" fmla="*/ 59529 w 1590358"/>
              <a:gd name="connsiteY104" fmla="*/ 933189 h 1295065"/>
              <a:gd name="connsiteX105" fmla="*/ 62661 w 1590358"/>
              <a:gd name="connsiteY105" fmla="*/ 945715 h 1295065"/>
              <a:gd name="connsiteX106" fmla="*/ 65792 w 1590358"/>
              <a:gd name="connsiteY106" fmla="*/ 955109 h 1295065"/>
              <a:gd name="connsiteX107" fmla="*/ 53266 w 1590358"/>
              <a:gd name="connsiteY107" fmla="*/ 973898 h 1295065"/>
              <a:gd name="connsiteX108" fmla="*/ 50135 w 1590358"/>
              <a:gd name="connsiteY108" fmla="*/ 983293 h 1295065"/>
              <a:gd name="connsiteX109" fmla="*/ 43872 w 1590358"/>
              <a:gd name="connsiteY109" fmla="*/ 1036528 h 1295065"/>
              <a:gd name="connsiteX110" fmla="*/ 34477 w 1590358"/>
              <a:gd name="connsiteY110" fmla="*/ 1064712 h 1295065"/>
              <a:gd name="connsiteX111" fmla="*/ 31346 w 1590358"/>
              <a:gd name="connsiteY111" fmla="*/ 1074106 h 1295065"/>
              <a:gd name="connsiteX112" fmla="*/ 21951 w 1590358"/>
              <a:gd name="connsiteY112" fmla="*/ 1136737 h 1295065"/>
              <a:gd name="connsiteX113" fmla="*/ 18820 w 1590358"/>
              <a:gd name="connsiteY113" fmla="*/ 1149263 h 1295065"/>
              <a:gd name="connsiteX114" fmla="*/ 12557 w 1590358"/>
              <a:gd name="connsiteY114" fmla="*/ 1196235 h 1295065"/>
              <a:gd name="connsiteX115" fmla="*/ 9425 w 1590358"/>
              <a:gd name="connsiteY115" fmla="*/ 1205630 h 1295065"/>
              <a:gd name="connsiteX116" fmla="*/ 6294 w 1590358"/>
              <a:gd name="connsiteY116" fmla="*/ 1221287 h 1295065"/>
              <a:gd name="connsiteX117" fmla="*/ 31 w 1590358"/>
              <a:gd name="connsiteY117" fmla="*/ 1240076 h 1295065"/>
              <a:gd name="connsiteX118" fmla="*/ 3162 w 1590358"/>
              <a:gd name="connsiteY118" fmla="*/ 1293312 h 1295065"/>
              <a:gd name="connsiteX119" fmla="*/ 15688 w 1590358"/>
              <a:gd name="connsiteY119" fmla="*/ 1290180 h 1295065"/>
              <a:gd name="connsiteX120" fmla="*/ 21951 w 1590358"/>
              <a:gd name="connsiteY120" fmla="*/ 1271391 h 1295065"/>
              <a:gd name="connsiteX121" fmla="*/ 25083 w 1590358"/>
              <a:gd name="connsiteY121" fmla="*/ 1261997 h 1295065"/>
              <a:gd name="connsiteX122" fmla="*/ 28214 w 1590358"/>
              <a:gd name="connsiteY122" fmla="*/ 1211893 h 1295065"/>
              <a:gd name="connsiteX123" fmla="*/ 37609 w 1590358"/>
              <a:gd name="connsiteY123" fmla="*/ 1183709 h 1295065"/>
              <a:gd name="connsiteX124" fmla="*/ 43872 w 1590358"/>
              <a:gd name="connsiteY124" fmla="*/ 1161789 h 1295065"/>
              <a:gd name="connsiteX125" fmla="*/ 50135 w 1590358"/>
              <a:gd name="connsiteY125" fmla="*/ 1143000 h 1295065"/>
              <a:gd name="connsiteX126" fmla="*/ 53266 w 1590358"/>
              <a:gd name="connsiteY126" fmla="*/ 1121079 h 1295065"/>
              <a:gd name="connsiteX127" fmla="*/ 56398 w 1590358"/>
              <a:gd name="connsiteY127" fmla="*/ 1111685 h 1295065"/>
              <a:gd name="connsiteX128" fmla="*/ 75187 w 1590358"/>
              <a:gd name="connsiteY128" fmla="*/ 1099159 h 1295065"/>
              <a:gd name="connsiteX129" fmla="*/ 119028 w 1590358"/>
              <a:gd name="connsiteY129" fmla="*/ 1102290 h 1295065"/>
              <a:gd name="connsiteX130" fmla="*/ 150343 w 1590358"/>
              <a:gd name="connsiteY130" fmla="*/ 1105422 h 1295065"/>
              <a:gd name="connsiteX131" fmla="*/ 222368 w 1590358"/>
              <a:gd name="connsiteY131" fmla="*/ 1108553 h 1295065"/>
              <a:gd name="connsiteX132" fmla="*/ 231762 w 1590358"/>
              <a:gd name="connsiteY132" fmla="*/ 1111685 h 1295065"/>
              <a:gd name="connsiteX133" fmla="*/ 369549 w 1590358"/>
              <a:gd name="connsiteY133" fmla="*/ 1117948 h 1295065"/>
              <a:gd name="connsiteX134" fmla="*/ 416521 w 1590358"/>
              <a:gd name="connsiteY134" fmla="*/ 1121079 h 1295065"/>
              <a:gd name="connsiteX135" fmla="*/ 447836 w 1590358"/>
              <a:gd name="connsiteY135" fmla="*/ 1127342 h 1295065"/>
              <a:gd name="connsiteX136" fmla="*/ 497940 w 1590358"/>
              <a:gd name="connsiteY136" fmla="*/ 1133605 h 1295065"/>
              <a:gd name="connsiteX137" fmla="*/ 601280 w 1590358"/>
              <a:gd name="connsiteY137" fmla="*/ 1136737 h 1295065"/>
              <a:gd name="connsiteX138" fmla="*/ 770381 w 1590358"/>
              <a:gd name="connsiteY138" fmla="*/ 1139868 h 1295065"/>
              <a:gd name="connsiteX139" fmla="*/ 786039 w 1590358"/>
              <a:gd name="connsiteY139" fmla="*/ 1143000 h 1295065"/>
              <a:gd name="connsiteX140" fmla="*/ 886247 w 1590358"/>
              <a:gd name="connsiteY140" fmla="*/ 1149263 h 1295065"/>
              <a:gd name="connsiteX141" fmla="*/ 930088 w 1590358"/>
              <a:gd name="connsiteY141" fmla="*/ 1155526 h 1295065"/>
              <a:gd name="connsiteX142" fmla="*/ 967666 w 1590358"/>
              <a:gd name="connsiteY142" fmla="*/ 1161789 h 1295065"/>
              <a:gd name="connsiteX143" fmla="*/ 992718 w 1590358"/>
              <a:gd name="connsiteY143" fmla="*/ 1164920 h 1295065"/>
              <a:gd name="connsiteX144" fmla="*/ 1036560 w 1590358"/>
              <a:gd name="connsiteY144" fmla="*/ 1171183 h 1295065"/>
              <a:gd name="connsiteX145" fmla="*/ 1058480 w 1590358"/>
              <a:gd name="connsiteY145" fmla="*/ 1174315 h 1295065"/>
              <a:gd name="connsiteX146" fmla="*/ 1067875 w 1590358"/>
              <a:gd name="connsiteY146" fmla="*/ 1177446 h 1295065"/>
              <a:gd name="connsiteX147" fmla="*/ 1099190 w 1590358"/>
              <a:gd name="connsiteY147" fmla="*/ 1183709 h 1295065"/>
              <a:gd name="connsiteX148" fmla="*/ 1236976 w 1590358"/>
              <a:gd name="connsiteY148" fmla="*/ 1149263 h 1295065"/>
              <a:gd name="connsiteX149" fmla="*/ 1233844 w 1590358"/>
              <a:gd name="connsiteY149" fmla="*/ 1136737 h 1295065"/>
              <a:gd name="connsiteX150" fmla="*/ 1230713 w 1590358"/>
              <a:gd name="connsiteY150" fmla="*/ 801665 h 1295065"/>
              <a:gd name="connsiteX151" fmla="*/ 1227581 w 1590358"/>
              <a:gd name="connsiteY151" fmla="*/ 792271 h 1295065"/>
              <a:gd name="connsiteX152" fmla="*/ 1224450 w 1590358"/>
              <a:gd name="connsiteY152" fmla="*/ 767219 h 1295065"/>
              <a:gd name="connsiteX153" fmla="*/ 1218187 w 1590358"/>
              <a:gd name="connsiteY153" fmla="*/ 729641 h 1295065"/>
              <a:gd name="connsiteX154" fmla="*/ 1221318 w 1590358"/>
              <a:gd name="connsiteY154" fmla="*/ 667011 h 1295065"/>
              <a:gd name="connsiteX155" fmla="*/ 1227581 w 1590358"/>
              <a:gd name="connsiteY155" fmla="*/ 657616 h 1295065"/>
              <a:gd name="connsiteX156" fmla="*/ 1230713 w 1590358"/>
              <a:gd name="connsiteY156" fmla="*/ 648222 h 1295065"/>
              <a:gd name="connsiteX157" fmla="*/ 1240107 w 1590358"/>
              <a:gd name="connsiteY157" fmla="*/ 635695 h 1295065"/>
              <a:gd name="connsiteX158" fmla="*/ 1246371 w 1590358"/>
              <a:gd name="connsiteY158" fmla="*/ 626301 h 1295065"/>
              <a:gd name="connsiteX159" fmla="*/ 1249502 w 1590358"/>
              <a:gd name="connsiteY159" fmla="*/ 616906 h 1295065"/>
              <a:gd name="connsiteX160" fmla="*/ 1271423 w 1590358"/>
              <a:gd name="connsiteY160" fmla="*/ 588723 h 1295065"/>
              <a:gd name="connsiteX161" fmla="*/ 1290212 w 1590358"/>
              <a:gd name="connsiteY161" fmla="*/ 576197 h 1295065"/>
              <a:gd name="connsiteX162" fmla="*/ 1299606 w 1590358"/>
              <a:gd name="connsiteY162" fmla="*/ 569934 h 1295065"/>
              <a:gd name="connsiteX163" fmla="*/ 1318395 w 1590358"/>
              <a:gd name="connsiteY163" fmla="*/ 554276 h 1295065"/>
              <a:gd name="connsiteX164" fmla="*/ 1327790 w 1590358"/>
              <a:gd name="connsiteY164" fmla="*/ 544882 h 1295065"/>
              <a:gd name="connsiteX165" fmla="*/ 1340316 w 1590358"/>
              <a:gd name="connsiteY165" fmla="*/ 538619 h 1295065"/>
              <a:gd name="connsiteX166" fmla="*/ 1362236 w 1590358"/>
              <a:gd name="connsiteY166" fmla="*/ 522961 h 1295065"/>
              <a:gd name="connsiteX167" fmla="*/ 1371631 w 1590358"/>
              <a:gd name="connsiteY167" fmla="*/ 519830 h 1295065"/>
              <a:gd name="connsiteX168" fmla="*/ 1381025 w 1590358"/>
              <a:gd name="connsiteY168" fmla="*/ 510435 h 1295065"/>
              <a:gd name="connsiteX169" fmla="*/ 1427998 w 1590358"/>
              <a:gd name="connsiteY169" fmla="*/ 501041 h 1295065"/>
              <a:gd name="connsiteX170" fmla="*/ 1459313 w 1590358"/>
              <a:gd name="connsiteY170" fmla="*/ 491646 h 1295065"/>
              <a:gd name="connsiteX171" fmla="*/ 1468707 w 1590358"/>
              <a:gd name="connsiteY171" fmla="*/ 485383 h 1295065"/>
              <a:gd name="connsiteX172" fmla="*/ 1478102 w 1590358"/>
              <a:gd name="connsiteY172" fmla="*/ 482252 h 1295065"/>
              <a:gd name="connsiteX173" fmla="*/ 1490628 w 1590358"/>
              <a:gd name="connsiteY173" fmla="*/ 472857 h 1295065"/>
              <a:gd name="connsiteX174" fmla="*/ 1521943 w 1590358"/>
              <a:gd name="connsiteY174" fmla="*/ 460331 h 1295065"/>
              <a:gd name="connsiteX175" fmla="*/ 1540732 w 1590358"/>
              <a:gd name="connsiteY175" fmla="*/ 454068 h 1295065"/>
              <a:gd name="connsiteX176" fmla="*/ 1550127 w 1590358"/>
              <a:gd name="connsiteY176" fmla="*/ 450937 h 1295065"/>
              <a:gd name="connsiteX177" fmla="*/ 1562653 w 1590358"/>
              <a:gd name="connsiteY177" fmla="*/ 435279 h 1295065"/>
              <a:gd name="connsiteX178" fmla="*/ 1565784 w 1590358"/>
              <a:gd name="connsiteY178" fmla="*/ 272441 h 1295065"/>
              <a:gd name="connsiteX179" fmla="*/ 1575179 w 1590358"/>
              <a:gd name="connsiteY179" fmla="*/ 231731 h 1295065"/>
              <a:gd name="connsiteX180" fmla="*/ 1581442 w 1590358"/>
              <a:gd name="connsiteY180" fmla="*/ 206679 h 1295065"/>
              <a:gd name="connsiteX181" fmla="*/ 1584573 w 1590358"/>
              <a:gd name="connsiteY181" fmla="*/ 197285 h 1295065"/>
              <a:gd name="connsiteX182" fmla="*/ 1584573 w 1590358"/>
              <a:gd name="connsiteY182" fmla="*/ 93945 h 1295065"/>
              <a:gd name="connsiteX0" fmla="*/ 1584573 w 1590358"/>
              <a:gd name="connsiteY0" fmla="*/ 93945 h 1295065"/>
              <a:gd name="connsiteX1" fmla="*/ 1509417 w 1590358"/>
              <a:gd name="connsiteY1" fmla="*/ 90813 h 1295065"/>
              <a:gd name="connsiteX2" fmla="*/ 1500023 w 1590358"/>
              <a:gd name="connsiteY2" fmla="*/ 87682 h 1295065"/>
              <a:gd name="connsiteX3" fmla="*/ 1449918 w 1590358"/>
              <a:gd name="connsiteY3" fmla="*/ 90813 h 1295065"/>
              <a:gd name="connsiteX4" fmla="*/ 1355973 w 1590358"/>
              <a:gd name="connsiteY4" fmla="*/ 87682 h 1295065"/>
              <a:gd name="connsiteX5" fmla="*/ 1321527 w 1590358"/>
              <a:gd name="connsiteY5" fmla="*/ 78287 h 1295065"/>
              <a:gd name="connsiteX6" fmla="*/ 1299606 w 1590358"/>
              <a:gd name="connsiteY6" fmla="*/ 72024 h 1295065"/>
              <a:gd name="connsiteX7" fmla="*/ 1290212 w 1590358"/>
              <a:gd name="connsiteY7" fmla="*/ 68893 h 1295065"/>
              <a:gd name="connsiteX8" fmla="*/ 1218187 w 1590358"/>
              <a:gd name="connsiteY8" fmla="*/ 65761 h 1295065"/>
              <a:gd name="connsiteX9" fmla="*/ 1158688 w 1590358"/>
              <a:gd name="connsiteY9" fmla="*/ 68893 h 1295065"/>
              <a:gd name="connsiteX10" fmla="*/ 1139899 w 1590358"/>
              <a:gd name="connsiteY10" fmla="*/ 81419 h 1295065"/>
              <a:gd name="connsiteX11" fmla="*/ 1130505 w 1590358"/>
              <a:gd name="connsiteY11" fmla="*/ 84550 h 1295065"/>
              <a:gd name="connsiteX12" fmla="*/ 1077269 w 1590358"/>
              <a:gd name="connsiteY12" fmla="*/ 81419 h 1295065"/>
              <a:gd name="connsiteX13" fmla="*/ 1058480 w 1590358"/>
              <a:gd name="connsiteY13" fmla="*/ 72024 h 1295065"/>
              <a:gd name="connsiteX14" fmla="*/ 1039691 w 1590358"/>
              <a:gd name="connsiteY14" fmla="*/ 65761 h 1295065"/>
              <a:gd name="connsiteX15" fmla="*/ 1020902 w 1590358"/>
              <a:gd name="connsiteY15" fmla="*/ 53235 h 1295065"/>
              <a:gd name="connsiteX16" fmla="*/ 986455 w 1590358"/>
              <a:gd name="connsiteY16" fmla="*/ 46972 h 1295065"/>
              <a:gd name="connsiteX17" fmla="*/ 970798 w 1590358"/>
              <a:gd name="connsiteY17" fmla="*/ 43841 h 1295065"/>
              <a:gd name="connsiteX18" fmla="*/ 942614 w 1590358"/>
              <a:gd name="connsiteY18" fmla="*/ 46972 h 1295065"/>
              <a:gd name="connsiteX19" fmla="*/ 933220 w 1590358"/>
              <a:gd name="connsiteY19" fmla="*/ 50104 h 1295065"/>
              <a:gd name="connsiteX20" fmla="*/ 920694 w 1590358"/>
              <a:gd name="connsiteY20" fmla="*/ 53235 h 1295065"/>
              <a:gd name="connsiteX21" fmla="*/ 911299 w 1590358"/>
              <a:gd name="connsiteY21" fmla="*/ 56367 h 1295065"/>
              <a:gd name="connsiteX22" fmla="*/ 867458 w 1590358"/>
              <a:gd name="connsiteY22" fmla="*/ 59498 h 1295065"/>
              <a:gd name="connsiteX23" fmla="*/ 858064 w 1590358"/>
              <a:gd name="connsiteY23" fmla="*/ 65761 h 1295065"/>
              <a:gd name="connsiteX24" fmla="*/ 814223 w 1590358"/>
              <a:gd name="connsiteY24" fmla="*/ 65761 h 1295065"/>
              <a:gd name="connsiteX25" fmla="*/ 795434 w 1590358"/>
              <a:gd name="connsiteY25" fmla="*/ 50104 h 1295065"/>
              <a:gd name="connsiteX26" fmla="*/ 789171 w 1590358"/>
              <a:gd name="connsiteY26" fmla="*/ 40709 h 1295065"/>
              <a:gd name="connsiteX27" fmla="*/ 782907 w 1590358"/>
              <a:gd name="connsiteY27" fmla="*/ 34446 h 1295065"/>
              <a:gd name="connsiteX28" fmla="*/ 776644 w 1590358"/>
              <a:gd name="connsiteY28" fmla="*/ 25052 h 1295065"/>
              <a:gd name="connsiteX29" fmla="*/ 757855 w 1590358"/>
              <a:gd name="connsiteY29" fmla="*/ 18789 h 1295065"/>
              <a:gd name="connsiteX30" fmla="*/ 748461 w 1590358"/>
              <a:gd name="connsiteY30" fmla="*/ 12526 h 1295065"/>
              <a:gd name="connsiteX31" fmla="*/ 739066 w 1590358"/>
              <a:gd name="connsiteY31" fmla="*/ 3131 h 1295065"/>
              <a:gd name="connsiteX32" fmla="*/ 729672 w 1590358"/>
              <a:gd name="connsiteY32" fmla="*/ 0 h 1295065"/>
              <a:gd name="connsiteX33" fmla="*/ 720277 w 1590358"/>
              <a:gd name="connsiteY33" fmla="*/ 3131 h 1295065"/>
              <a:gd name="connsiteX34" fmla="*/ 707751 w 1590358"/>
              <a:gd name="connsiteY34" fmla="*/ 21920 h 1295065"/>
              <a:gd name="connsiteX35" fmla="*/ 695225 w 1590358"/>
              <a:gd name="connsiteY35" fmla="*/ 37578 h 1295065"/>
              <a:gd name="connsiteX36" fmla="*/ 676436 w 1590358"/>
              <a:gd name="connsiteY36" fmla="*/ 53235 h 1295065"/>
              <a:gd name="connsiteX37" fmla="*/ 657647 w 1590358"/>
              <a:gd name="connsiteY37" fmla="*/ 59498 h 1295065"/>
              <a:gd name="connsiteX38" fmla="*/ 648253 w 1590358"/>
              <a:gd name="connsiteY38" fmla="*/ 65761 h 1295065"/>
              <a:gd name="connsiteX39" fmla="*/ 638858 w 1590358"/>
              <a:gd name="connsiteY39" fmla="*/ 68893 h 1295065"/>
              <a:gd name="connsiteX40" fmla="*/ 635727 w 1590358"/>
              <a:gd name="connsiteY40" fmla="*/ 78287 h 1295065"/>
              <a:gd name="connsiteX41" fmla="*/ 626332 w 1590358"/>
              <a:gd name="connsiteY41" fmla="*/ 87682 h 1295065"/>
              <a:gd name="connsiteX42" fmla="*/ 613806 w 1590358"/>
              <a:gd name="connsiteY42" fmla="*/ 106471 h 1295065"/>
              <a:gd name="connsiteX43" fmla="*/ 604412 w 1590358"/>
              <a:gd name="connsiteY43" fmla="*/ 109602 h 1295065"/>
              <a:gd name="connsiteX44" fmla="*/ 595017 w 1590358"/>
              <a:gd name="connsiteY44" fmla="*/ 115865 h 1295065"/>
              <a:gd name="connsiteX45" fmla="*/ 585623 w 1590358"/>
              <a:gd name="connsiteY45" fmla="*/ 118997 h 1295065"/>
              <a:gd name="connsiteX46" fmla="*/ 566834 w 1590358"/>
              <a:gd name="connsiteY46" fmla="*/ 131523 h 1295065"/>
              <a:gd name="connsiteX47" fmla="*/ 557439 w 1590358"/>
              <a:gd name="connsiteY47" fmla="*/ 137786 h 1295065"/>
              <a:gd name="connsiteX48" fmla="*/ 544913 w 1590358"/>
              <a:gd name="connsiteY48" fmla="*/ 156575 h 1295065"/>
              <a:gd name="connsiteX49" fmla="*/ 532387 w 1590358"/>
              <a:gd name="connsiteY49" fmla="*/ 184759 h 1295065"/>
              <a:gd name="connsiteX50" fmla="*/ 522992 w 1590358"/>
              <a:gd name="connsiteY50" fmla="*/ 194153 h 1295065"/>
              <a:gd name="connsiteX51" fmla="*/ 513598 w 1590358"/>
              <a:gd name="connsiteY51" fmla="*/ 197285 h 1295065"/>
              <a:gd name="connsiteX52" fmla="*/ 504203 w 1590358"/>
              <a:gd name="connsiteY52" fmla="*/ 203548 h 1295065"/>
              <a:gd name="connsiteX53" fmla="*/ 466625 w 1590358"/>
              <a:gd name="connsiteY53" fmla="*/ 209811 h 1295065"/>
              <a:gd name="connsiteX54" fmla="*/ 457231 w 1590358"/>
              <a:gd name="connsiteY54" fmla="*/ 216074 h 1295065"/>
              <a:gd name="connsiteX55" fmla="*/ 438442 w 1590358"/>
              <a:gd name="connsiteY55" fmla="*/ 234863 h 1295065"/>
              <a:gd name="connsiteX56" fmla="*/ 429047 w 1590358"/>
              <a:gd name="connsiteY56" fmla="*/ 241126 h 1295065"/>
              <a:gd name="connsiteX57" fmla="*/ 413390 w 1590358"/>
              <a:gd name="connsiteY57" fmla="*/ 259915 h 1295065"/>
              <a:gd name="connsiteX58" fmla="*/ 410258 w 1590358"/>
              <a:gd name="connsiteY58" fmla="*/ 269309 h 1295065"/>
              <a:gd name="connsiteX59" fmla="*/ 397732 w 1590358"/>
              <a:gd name="connsiteY59" fmla="*/ 288098 h 1295065"/>
              <a:gd name="connsiteX60" fmla="*/ 394601 w 1590358"/>
              <a:gd name="connsiteY60" fmla="*/ 316282 h 1295065"/>
              <a:gd name="connsiteX61" fmla="*/ 413390 w 1590358"/>
              <a:gd name="connsiteY61" fmla="*/ 310019 h 1295065"/>
              <a:gd name="connsiteX62" fmla="*/ 422784 w 1590358"/>
              <a:gd name="connsiteY62" fmla="*/ 288098 h 1295065"/>
              <a:gd name="connsiteX63" fmla="*/ 441573 w 1590358"/>
              <a:gd name="connsiteY63" fmla="*/ 259915 h 1295065"/>
              <a:gd name="connsiteX64" fmla="*/ 450968 w 1590358"/>
              <a:gd name="connsiteY64" fmla="*/ 253652 h 1295065"/>
              <a:gd name="connsiteX65" fmla="*/ 469757 w 1590358"/>
              <a:gd name="connsiteY65" fmla="*/ 241126 h 1295065"/>
              <a:gd name="connsiteX66" fmla="*/ 476020 w 1590358"/>
              <a:gd name="connsiteY66" fmla="*/ 250520 h 1295065"/>
              <a:gd name="connsiteX67" fmla="*/ 469757 w 1590358"/>
              <a:gd name="connsiteY67" fmla="*/ 278704 h 1295065"/>
              <a:gd name="connsiteX68" fmla="*/ 460362 w 1590358"/>
              <a:gd name="connsiteY68" fmla="*/ 284967 h 1295065"/>
              <a:gd name="connsiteX69" fmla="*/ 447836 w 1590358"/>
              <a:gd name="connsiteY69" fmla="*/ 294361 h 1295065"/>
              <a:gd name="connsiteX70" fmla="*/ 441573 w 1590358"/>
              <a:gd name="connsiteY70" fmla="*/ 303756 h 1295065"/>
              <a:gd name="connsiteX71" fmla="*/ 419653 w 1590358"/>
              <a:gd name="connsiteY71" fmla="*/ 328808 h 1295065"/>
              <a:gd name="connsiteX72" fmla="*/ 413390 w 1590358"/>
              <a:gd name="connsiteY72" fmla="*/ 347597 h 1295065"/>
              <a:gd name="connsiteX73" fmla="*/ 397732 w 1590358"/>
              <a:gd name="connsiteY73" fmla="*/ 403964 h 1295065"/>
              <a:gd name="connsiteX74" fmla="*/ 378943 w 1590358"/>
              <a:gd name="connsiteY74" fmla="*/ 422753 h 1295065"/>
              <a:gd name="connsiteX75" fmla="*/ 375812 w 1590358"/>
              <a:gd name="connsiteY75" fmla="*/ 432148 h 1295065"/>
              <a:gd name="connsiteX76" fmla="*/ 363286 w 1590358"/>
              <a:gd name="connsiteY76" fmla="*/ 450937 h 1295065"/>
              <a:gd name="connsiteX77" fmla="*/ 350760 w 1590358"/>
              <a:gd name="connsiteY77" fmla="*/ 469726 h 1295065"/>
              <a:gd name="connsiteX78" fmla="*/ 338234 w 1590358"/>
              <a:gd name="connsiteY78" fmla="*/ 488515 h 1295065"/>
              <a:gd name="connsiteX79" fmla="*/ 331971 w 1590358"/>
              <a:gd name="connsiteY79" fmla="*/ 551145 h 1295065"/>
              <a:gd name="connsiteX80" fmla="*/ 325707 w 1590358"/>
              <a:gd name="connsiteY80" fmla="*/ 557408 h 1295065"/>
              <a:gd name="connsiteX81" fmla="*/ 306918 w 1590358"/>
              <a:gd name="connsiteY81" fmla="*/ 566802 h 1295065"/>
              <a:gd name="connsiteX82" fmla="*/ 284998 w 1590358"/>
              <a:gd name="connsiteY82" fmla="*/ 591854 h 1295065"/>
              <a:gd name="connsiteX83" fmla="*/ 278735 w 1590358"/>
              <a:gd name="connsiteY83" fmla="*/ 610643 h 1295065"/>
              <a:gd name="connsiteX84" fmla="*/ 259946 w 1590358"/>
              <a:gd name="connsiteY84" fmla="*/ 626301 h 1295065"/>
              <a:gd name="connsiteX85" fmla="*/ 253683 w 1590358"/>
              <a:gd name="connsiteY85" fmla="*/ 673274 h 1295065"/>
              <a:gd name="connsiteX86" fmla="*/ 247420 w 1590358"/>
              <a:gd name="connsiteY86" fmla="*/ 692063 h 1295065"/>
              <a:gd name="connsiteX87" fmla="*/ 244288 w 1590358"/>
              <a:gd name="connsiteY87" fmla="*/ 701457 h 1295065"/>
              <a:gd name="connsiteX88" fmla="*/ 228631 w 1590358"/>
              <a:gd name="connsiteY88" fmla="*/ 720246 h 1295065"/>
              <a:gd name="connsiteX89" fmla="*/ 222368 w 1590358"/>
              <a:gd name="connsiteY89" fmla="*/ 739035 h 1295065"/>
              <a:gd name="connsiteX90" fmla="*/ 219236 w 1590358"/>
              <a:gd name="connsiteY90" fmla="*/ 748430 h 1295065"/>
              <a:gd name="connsiteX91" fmla="*/ 209842 w 1590358"/>
              <a:gd name="connsiteY91" fmla="*/ 767219 h 1295065"/>
              <a:gd name="connsiteX92" fmla="*/ 200447 w 1590358"/>
              <a:gd name="connsiteY92" fmla="*/ 770350 h 1295065"/>
              <a:gd name="connsiteX93" fmla="*/ 166001 w 1590358"/>
              <a:gd name="connsiteY93" fmla="*/ 760956 h 1295065"/>
              <a:gd name="connsiteX94" fmla="*/ 134686 w 1590358"/>
              <a:gd name="connsiteY94" fmla="*/ 795402 h 1295065"/>
              <a:gd name="connsiteX95" fmla="*/ 131554 w 1590358"/>
              <a:gd name="connsiteY95" fmla="*/ 804797 h 1295065"/>
              <a:gd name="connsiteX96" fmla="*/ 112765 w 1590358"/>
              <a:gd name="connsiteY96" fmla="*/ 820454 h 1295065"/>
              <a:gd name="connsiteX97" fmla="*/ 103371 w 1590358"/>
              <a:gd name="connsiteY97" fmla="*/ 823586 h 1295065"/>
              <a:gd name="connsiteX98" fmla="*/ 87713 w 1590358"/>
              <a:gd name="connsiteY98" fmla="*/ 839243 h 1295065"/>
              <a:gd name="connsiteX99" fmla="*/ 78318 w 1590358"/>
              <a:gd name="connsiteY99" fmla="*/ 873690 h 1295065"/>
              <a:gd name="connsiteX100" fmla="*/ 78318 w 1590358"/>
              <a:gd name="connsiteY100" fmla="*/ 873690 h 1295065"/>
              <a:gd name="connsiteX101" fmla="*/ 75187 w 1590358"/>
              <a:gd name="connsiteY101" fmla="*/ 886216 h 1295065"/>
              <a:gd name="connsiteX102" fmla="*/ 65792 w 1590358"/>
              <a:gd name="connsiteY102" fmla="*/ 914400 h 1295065"/>
              <a:gd name="connsiteX103" fmla="*/ 62661 w 1590358"/>
              <a:gd name="connsiteY103" fmla="*/ 923794 h 1295065"/>
              <a:gd name="connsiteX104" fmla="*/ 59529 w 1590358"/>
              <a:gd name="connsiteY104" fmla="*/ 933189 h 1295065"/>
              <a:gd name="connsiteX105" fmla="*/ 62661 w 1590358"/>
              <a:gd name="connsiteY105" fmla="*/ 945715 h 1295065"/>
              <a:gd name="connsiteX106" fmla="*/ 65792 w 1590358"/>
              <a:gd name="connsiteY106" fmla="*/ 955109 h 1295065"/>
              <a:gd name="connsiteX107" fmla="*/ 53266 w 1590358"/>
              <a:gd name="connsiteY107" fmla="*/ 973898 h 1295065"/>
              <a:gd name="connsiteX108" fmla="*/ 50135 w 1590358"/>
              <a:gd name="connsiteY108" fmla="*/ 983293 h 1295065"/>
              <a:gd name="connsiteX109" fmla="*/ 43872 w 1590358"/>
              <a:gd name="connsiteY109" fmla="*/ 1036528 h 1295065"/>
              <a:gd name="connsiteX110" fmla="*/ 34477 w 1590358"/>
              <a:gd name="connsiteY110" fmla="*/ 1064712 h 1295065"/>
              <a:gd name="connsiteX111" fmla="*/ 31346 w 1590358"/>
              <a:gd name="connsiteY111" fmla="*/ 1074106 h 1295065"/>
              <a:gd name="connsiteX112" fmla="*/ 21951 w 1590358"/>
              <a:gd name="connsiteY112" fmla="*/ 1136737 h 1295065"/>
              <a:gd name="connsiteX113" fmla="*/ 18820 w 1590358"/>
              <a:gd name="connsiteY113" fmla="*/ 1149263 h 1295065"/>
              <a:gd name="connsiteX114" fmla="*/ 12557 w 1590358"/>
              <a:gd name="connsiteY114" fmla="*/ 1196235 h 1295065"/>
              <a:gd name="connsiteX115" fmla="*/ 9425 w 1590358"/>
              <a:gd name="connsiteY115" fmla="*/ 1205630 h 1295065"/>
              <a:gd name="connsiteX116" fmla="*/ 6294 w 1590358"/>
              <a:gd name="connsiteY116" fmla="*/ 1221287 h 1295065"/>
              <a:gd name="connsiteX117" fmla="*/ 31 w 1590358"/>
              <a:gd name="connsiteY117" fmla="*/ 1240076 h 1295065"/>
              <a:gd name="connsiteX118" fmla="*/ 3162 w 1590358"/>
              <a:gd name="connsiteY118" fmla="*/ 1293312 h 1295065"/>
              <a:gd name="connsiteX119" fmla="*/ 15688 w 1590358"/>
              <a:gd name="connsiteY119" fmla="*/ 1290180 h 1295065"/>
              <a:gd name="connsiteX120" fmla="*/ 21951 w 1590358"/>
              <a:gd name="connsiteY120" fmla="*/ 1271391 h 1295065"/>
              <a:gd name="connsiteX121" fmla="*/ 25083 w 1590358"/>
              <a:gd name="connsiteY121" fmla="*/ 1261997 h 1295065"/>
              <a:gd name="connsiteX122" fmla="*/ 28214 w 1590358"/>
              <a:gd name="connsiteY122" fmla="*/ 1211893 h 1295065"/>
              <a:gd name="connsiteX123" fmla="*/ 37609 w 1590358"/>
              <a:gd name="connsiteY123" fmla="*/ 1183709 h 1295065"/>
              <a:gd name="connsiteX124" fmla="*/ 43872 w 1590358"/>
              <a:gd name="connsiteY124" fmla="*/ 1161789 h 1295065"/>
              <a:gd name="connsiteX125" fmla="*/ 50135 w 1590358"/>
              <a:gd name="connsiteY125" fmla="*/ 1143000 h 1295065"/>
              <a:gd name="connsiteX126" fmla="*/ 53266 w 1590358"/>
              <a:gd name="connsiteY126" fmla="*/ 1121079 h 1295065"/>
              <a:gd name="connsiteX127" fmla="*/ 56398 w 1590358"/>
              <a:gd name="connsiteY127" fmla="*/ 1111685 h 1295065"/>
              <a:gd name="connsiteX128" fmla="*/ 75187 w 1590358"/>
              <a:gd name="connsiteY128" fmla="*/ 1099159 h 1295065"/>
              <a:gd name="connsiteX129" fmla="*/ 119028 w 1590358"/>
              <a:gd name="connsiteY129" fmla="*/ 1102290 h 1295065"/>
              <a:gd name="connsiteX130" fmla="*/ 150343 w 1590358"/>
              <a:gd name="connsiteY130" fmla="*/ 1105422 h 1295065"/>
              <a:gd name="connsiteX131" fmla="*/ 222368 w 1590358"/>
              <a:gd name="connsiteY131" fmla="*/ 1108553 h 1295065"/>
              <a:gd name="connsiteX132" fmla="*/ 231762 w 1590358"/>
              <a:gd name="connsiteY132" fmla="*/ 1111685 h 1295065"/>
              <a:gd name="connsiteX133" fmla="*/ 369549 w 1590358"/>
              <a:gd name="connsiteY133" fmla="*/ 1117948 h 1295065"/>
              <a:gd name="connsiteX134" fmla="*/ 416521 w 1590358"/>
              <a:gd name="connsiteY134" fmla="*/ 1121079 h 1295065"/>
              <a:gd name="connsiteX135" fmla="*/ 447836 w 1590358"/>
              <a:gd name="connsiteY135" fmla="*/ 1127342 h 1295065"/>
              <a:gd name="connsiteX136" fmla="*/ 497940 w 1590358"/>
              <a:gd name="connsiteY136" fmla="*/ 1133605 h 1295065"/>
              <a:gd name="connsiteX137" fmla="*/ 601280 w 1590358"/>
              <a:gd name="connsiteY137" fmla="*/ 1136737 h 1295065"/>
              <a:gd name="connsiteX138" fmla="*/ 770381 w 1590358"/>
              <a:gd name="connsiteY138" fmla="*/ 1139868 h 1295065"/>
              <a:gd name="connsiteX139" fmla="*/ 786039 w 1590358"/>
              <a:gd name="connsiteY139" fmla="*/ 1143000 h 1295065"/>
              <a:gd name="connsiteX140" fmla="*/ 886247 w 1590358"/>
              <a:gd name="connsiteY140" fmla="*/ 1149263 h 1295065"/>
              <a:gd name="connsiteX141" fmla="*/ 930088 w 1590358"/>
              <a:gd name="connsiteY141" fmla="*/ 1155526 h 1295065"/>
              <a:gd name="connsiteX142" fmla="*/ 967666 w 1590358"/>
              <a:gd name="connsiteY142" fmla="*/ 1161789 h 1295065"/>
              <a:gd name="connsiteX143" fmla="*/ 992718 w 1590358"/>
              <a:gd name="connsiteY143" fmla="*/ 1164920 h 1295065"/>
              <a:gd name="connsiteX144" fmla="*/ 1036560 w 1590358"/>
              <a:gd name="connsiteY144" fmla="*/ 1171183 h 1295065"/>
              <a:gd name="connsiteX145" fmla="*/ 1058480 w 1590358"/>
              <a:gd name="connsiteY145" fmla="*/ 1174315 h 1295065"/>
              <a:gd name="connsiteX146" fmla="*/ 1067875 w 1590358"/>
              <a:gd name="connsiteY146" fmla="*/ 1177446 h 1295065"/>
              <a:gd name="connsiteX147" fmla="*/ 1099190 w 1590358"/>
              <a:gd name="connsiteY147" fmla="*/ 1183709 h 1295065"/>
              <a:gd name="connsiteX148" fmla="*/ 1236976 w 1590358"/>
              <a:gd name="connsiteY148" fmla="*/ 1149263 h 1295065"/>
              <a:gd name="connsiteX149" fmla="*/ 1233844 w 1590358"/>
              <a:gd name="connsiteY149" fmla="*/ 1136737 h 1295065"/>
              <a:gd name="connsiteX150" fmla="*/ 1230713 w 1590358"/>
              <a:gd name="connsiteY150" fmla="*/ 801665 h 1295065"/>
              <a:gd name="connsiteX151" fmla="*/ 1227581 w 1590358"/>
              <a:gd name="connsiteY151" fmla="*/ 792271 h 1295065"/>
              <a:gd name="connsiteX152" fmla="*/ 1224450 w 1590358"/>
              <a:gd name="connsiteY152" fmla="*/ 767219 h 1295065"/>
              <a:gd name="connsiteX153" fmla="*/ 1218187 w 1590358"/>
              <a:gd name="connsiteY153" fmla="*/ 729641 h 1295065"/>
              <a:gd name="connsiteX154" fmla="*/ 1221318 w 1590358"/>
              <a:gd name="connsiteY154" fmla="*/ 667011 h 1295065"/>
              <a:gd name="connsiteX155" fmla="*/ 1227581 w 1590358"/>
              <a:gd name="connsiteY155" fmla="*/ 657616 h 1295065"/>
              <a:gd name="connsiteX156" fmla="*/ 1230713 w 1590358"/>
              <a:gd name="connsiteY156" fmla="*/ 648222 h 1295065"/>
              <a:gd name="connsiteX157" fmla="*/ 1240107 w 1590358"/>
              <a:gd name="connsiteY157" fmla="*/ 635695 h 1295065"/>
              <a:gd name="connsiteX158" fmla="*/ 1246371 w 1590358"/>
              <a:gd name="connsiteY158" fmla="*/ 626301 h 1295065"/>
              <a:gd name="connsiteX159" fmla="*/ 1249502 w 1590358"/>
              <a:gd name="connsiteY159" fmla="*/ 616906 h 1295065"/>
              <a:gd name="connsiteX160" fmla="*/ 1271423 w 1590358"/>
              <a:gd name="connsiteY160" fmla="*/ 588723 h 1295065"/>
              <a:gd name="connsiteX161" fmla="*/ 1290212 w 1590358"/>
              <a:gd name="connsiteY161" fmla="*/ 576197 h 1295065"/>
              <a:gd name="connsiteX162" fmla="*/ 1299606 w 1590358"/>
              <a:gd name="connsiteY162" fmla="*/ 569934 h 1295065"/>
              <a:gd name="connsiteX163" fmla="*/ 1318395 w 1590358"/>
              <a:gd name="connsiteY163" fmla="*/ 554276 h 1295065"/>
              <a:gd name="connsiteX164" fmla="*/ 1327790 w 1590358"/>
              <a:gd name="connsiteY164" fmla="*/ 544882 h 1295065"/>
              <a:gd name="connsiteX165" fmla="*/ 1340316 w 1590358"/>
              <a:gd name="connsiteY165" fmla="*/ 538619 h 1295065"/>
              <a:gd name="connsiteX166" fmla="*/ 1362236 w 1590358"/>
              <a:gd name="connsiteY166" fmla="*/ 522961 h 1295065"/>
              <a:gd name="connsiteX167" fmla="*/ 1371631 w 1590358"/>
              <a:gd name="connsiteY167" fmla="*/ 519830 h 1295065"/>
              <a:gd name="connsiteX168" fmla="*/ 1381025 w 1590358"/>
              <a:gd name="connsiteY168" fmla="*/ 510435 h 1295065"/>
              <a:gd name="connsiteX169" fmla="*/ 1427998 w 1590358"/>
              <a:gd name="connsiteY169" fmla="*/ 501041 h 1295065"/>
              <a:gd name="connsiteX170" fmla="*/ 1459313 w 1590358"/>
              <a:gd name="connsiteY170" fmla="*/ 491646 h 1295065"/>
              <a:gd name="connsiteX171" fmla="*/ 1468707 w 1590358"/>
              <a:gd name="connsiteY171" fmla="*/ 485383 h 1295065"/>
              <a:gd name="connsiteX172" fmla="*/ 1478102 w 1590358"/>
              <a:gd name="connsiteY172" fmla="*/ 482252 h 1295065"/>
              <a:gd name="connsiteX173" fmla="*/ 1490628 w 1590358"/>
              <a:gd name="connsiteY173" fmla="*/ 472857 h 1295065"/>
              <a:gd name="connsiteX174" fmla="*/ 1521943 w 1590358"/>
              <a:gd name="connsiteY174" fmla="*/ 460331 h 1295065"/>
              <a:gd name="connsiteX175" fmla="*/ 1540732 w 1590358"/>
              <a:gd name="connsiteY175" fmla="*/ 454068 h 1295065"/>
              <a:gd name="connsiteX176" fmla="*/ 1550127 w 1590358"/>
              <a:gd name="connsiteY176" fmla="*/ 450937 h 1295065"/>
              <a:gd name="connsiteX177" fmla="*/ 1562653 w 1590358"/>
              <a:gd name="connsiteY177" fmla="*/ 435279 h 1295065"/>
              <a:gd name="connsiteX178" fmla="*/ 1565784 w 1590358"/>
              <a:gd name="connsiteY178" fmla="*/ 272441 h 1295065"/>
              <a:gd name="connsiteX179" fmla="*/ 1575179 w 1590358"/>
              <a:gd name="connsiteY179" fmla="*/ 231731 h 1295065"/>
              <a:gd name="connsiteX180" fmla="*/ 1581442 w 1590358"/>
              <a:gd name="connsiteY180" fmla="*/ 206679 h 1295065"/>
              <a:gd name="connsiteX181" fmla="*/ 1584573 w 1590358"/>
              <a:gd name="connsiteY181" fmla="*/ 197285 h 1295065"/>
              <a:gd name="connsiteX182" fmla="*/ 1584573 w 1590358"/>
              <a:gd name="connsiteY182" fmla="*/ 93945 h 1295065"/>
              <a:gd name="connsiteX0" fmla="*/ 1584573 w 1590358"/>
              <a:gd name="connsiteY0" fmla="*/ 93945 h 1295065"/>
              <a:gd name="connsiteX1" fmla="*/ 1509417 w 1590358"/>
              <a:gd name="connsiteY1" fmla="*/ 90813 h 1295065"/>
              <a:gd name="connsiteX2" fmla="*/ 1500023 w 1590358"/>
              <a:gd name="connsiteY2" fmla="*/ 87682 h 1295065"/>
              <a:gd name="connsiteX3" fmla="*/ 1449918 w 1590358"/>
              <a:gd name="connsiteY3" fmla="*/ 90813 h 1295065"/>
              <a:gd name="connsiteX4" fmla="*/ 1355973 w 1590358"/>
              <a:gd name="connsiteY4" fmla="*/ 87682 h 1295065"/>
              <a:gd name="connsiteX5" fmla="*/ 1321527 w 1590358"/>
              <a:gd name="connsiteY5" fmla="*/ 78287 h 1295065"/>
              <a:gd name="connsiteX6" fmla="*/ 1299606 w 1590358"/>
              <a:gd name="connsiteY6" fmla="*/ 72024 h 1295065"/>
              <a:gd name="connsiteX7" fmla="*/ 1290212 w 1590358"/>
              <a:gd name="connsiteY7" fmla="*/ 68893 h 1295065"/>
              <a:gd name="connsiteX8" fmla="*/ 1218187 w 1590358"/>
              <a:gd name="connsiteY8" fmla="*/ 65761 h 1295065"/>
              <a:gd name="connsiteX9" fmla="*/ 1158688 w 1590358"/>
              <a:gd name="connsiteY9" fmla="*/ 68893 h 1295065"/>
              <a:gd name="connsiteX10" fmla="*/ 1139899 w 1590358"/>
              <a:gd name="connsiteY10" fmla="*/ 81419 h 1295065"/>
              <a:gd name="connsiteX11" fmla="*/ 1130505 w 1590358"/>
              <a:gd name="connsiteY11" fmla="*/ 84550 h 1295065"/>
              <a:gd name="connsiteX12" fmla="*/ 1077269 w 1590358"/>
              <a:gd name="connsiteY12" fmla="*/ 81419 h 1295065"/>
              <a:gd name="connsiteX13" fmla="*/ 1058480 w 1590358"/>
              <a:gd name="connsiteY13" fmla="*/ 72024 h 1295065"/>
              <a:gd name="connsiteX14" fmla="*/ 1039691 w 1590358"/>
              <a:gd name="connsiteY14" fmla="*/ 65761 h 1295065"/>
              <a:gd name="connsiteX15" fmla="*/ 1020902 w 1590358"/>
              <a:gd name="connsiteY15" fmla="*/ 53235 h 1295065"/>
              <a:gd name="connsiteX16" fmla="*/ 986455 w 1590358"/>
              <a:gd name="connsiteY16" fmla="*/ 46972 h 1295065"/>
              <a:gd name="connsiteX17" fmla="*/ 970798 w 1590358"/>
              <a:gd name="connsiteY17" fmla="*/ 43841 h 1295065"/>
              <a:gd name="connsiteX18" fmla="*/ 942614 w 1590358"/>
              <a:gd name="connsiteY18" fmla="*/ 46972 h 1295065"/>
              <a:gd name="connsiteX19" fmla="*/ 933220 w 1590358"/>
              <a:gd name="connsiteY19" fmla="*/ 50104 h 1295065"/>
              <a:gd name="connsiteX20" fmla="*/ 920694 w 1590358"/>
              <a:gd name="connsiteY20" fmla="*/ 53235 h 1295065"/>
              <a:gd name="connsiteX21" fmla="*/ 911299 w 1590358"/>
              <a:gd name="connsiteY21" fmla="*/ 56367 h 1295065"/>
              <a:gd name="connsiteX22" fmla="*/ 867458 w 1590358"/>
              <a:gd name="connsiteY22" fmla="*/ 59498 h 1295065"/>
              <a:gd name="connsiteX23" fmla="*/ 858064 w 1590358"/>
              <a:gd name="connsiteY23" fmla="*/ 65761 h 1295065"/>
              <a:gd name="connsiteX24" fmla="*/ 814223 w 1590358"/>
              <a:gd name="connsiteY24" fmla="*/ 65761 h 1295065"/>
              <a:gd name="connsiteX25" fmla="*/ 795434 w 1590358"/>
              <a:gd name="connsiteY25" fmla="*/ 50104 h 1295065"/>
              <a:gd name="connsiteX26" fmla="*/ 789171 w 1590358"/>
              <a:gd name="connsiteY26" fmla="*/ 40709 h 1295065"/>
              <a:gd name="connsiteX27" fmla="*/ 782907 w 1590358"/>
              <a:gd name="connsiteY27" fmla="*/ 34446 h 1295065"/>
              <a:gd name="connsiteX28" fmla="*/ 776644 w 1590358"/>
              <a:gd name="connsiteY28" fmla="*/ 25052 h 1295065"/>
              <a:gd name="connsiteX29" fmla="*/ 757855 w 1590358"/>
              <a:gd name="connsiteY29" fmla="*/ 18789 h 1295065"/>
              <a:gd name="connsiteX30" fmla="*/ 748461 w 1590358"/>
              <a:gd name="connsiteY30" fmla="*/ 12526 h 1295065"/>
              <a:gd name="connsiteX31" fmla="*/ 739066 w 1590358"/>
              <a:gd name="connsiteY31" fmla="*/ 3131 h 1295065"/>
              <a:gd name="connsiteX32" fmla="*/ 729672 w 1590358"/>
              <a:gd name="connsiteY32" fmla="*/ 0 h 1295065"/>
              <a:gd name="connsiteX33" fmla="*/ 720277 w 1590358"/>
              <a:gd name="connsiteY33" fmla="*/ 3131 h 1295065"/>
              <a:gd name="connsiteX34" fmla="*/ 707751 w 1590358"/>
              <a:gd name="connsiteY34" fmla="*/ 21920 h 1295065"/>
              <a:gd name="connsiteX35" fmla="*/ 695225 w 1590358"/>
              <a:gd name="connsiteY35" fmla="*/ 37578 h 1295065"/>
              <a:gd name="connsiteX36" fmla="*/ 676436 w 1590358"/>
              <a:gd name="connsiteY36" fmla="*/ 53235 h 1295065"/>
              <a:gd name="connsiteX37" fmla="*/ 657647 w 1590358"/>
              <a:gd name="connsiteY37" fmla="*/ 59498 h 1295065"/>
              <a:gd name="connsiteX38" fmla="*/ 648253 w 1590358"/>
              <a:gd name="connsiteY38" fmla="*/ 65761 h 1295065"/>
              <a:gd name="connsiteX39" fmla="*/ 638858 w 1590358"/>
              <a:gd name="connsiteY39" fmla="*/ 68893 h 1295065"/>
              <a:gd name="connsiteX40" fmla="*/ 635727 w 1590358"/>
              <a:gd name="connsiteY40" fmla="*/ 78287 h 1295065"/>
              <a:gd name="connsiteX41" fmla="*/ 626332 w 1590358"/>
              <a:gd name="connsiteY41" fmla="*/ 87682 h 1295065"/>
              <a:gd name="connsiteX42" fmla="*/ 613806 w 1590358"/>
              <a:gd name="connsiteY42" fmla="*/ 106471 h 1295065"/>
              <a:gd name="connsiteX43" fmla="*/ 604412 w 1590358"/>
              <a:gd name="connsiteY43" fmla="*/ 109602 h 1295065"/>
              <a:gd name="connsiteX44" fmla="*/ 595017 w 1590358"/>
              <a:gd name="connsiteY44" fmla="*/ 115865 h 1295065"/>
              <a:gd name="connsiteX45" fmla="*/ 585623 w 1590358"/>
              <a:gd name="connsiteY45" fmla="*/ 118997 h 1295065"/>
              <a:gd name="connsiteX46" fmla="*/ 566834 w 1590358"/>
              <a:gd name="connsiteY46" fmla="*/ 131523 h 1295065"/>
              <a:gd name="connsiteX47" fmla="*/ 557439 w 1590358"/>
              <a:gd name="connsiteY47" fmla="*/ 137786 h 1295065"/>
              <a:gd name="connsiteX48" fmla="*/ 544913 w 1590358"/>
              <a:gd name="connsiteY48" fmla="*/ 156575 h 1295065"/>
              <a:gd name="connsiteX49" fmla="*/ 532387 w 1590358"/>
              <a:gd name="connsiteY49" fmla="*/ 184759 h 1295065"/>
              <a:gd name="connsiteX50" fmla="*/ 522992 w 1590358"/>
              <a:gd name="connsiteY50" fmla="*/ 194153 h 1295065"/>
              <a:gd name="connsiteX51" fmla="*/ 513598 w 1590358"/>
              <a:gd name="connsiteY51" fmla="*/ 197285 h 1295065"/>
              <a:gd name="connsiteX52" fmla="*/ 504203 w 1590358"/>
              <a:gd name="connsiteY52" fmla="*/ 203548 h 1295065"/>
              <a:gd name="connsiteX53" fmla="*/ 466625 w 1590358"/>
              <a:gd name="connsiteY53" fmla="*/ 209811 h 1295065"/>
              <a:gd name="connsiteX54" fmla="*/ 457231 w 1590358"/>
              <a:gd name="connsiteY54" fmla="*/ 216074 h 1295065"/>
              <a:gd name="connsiteX55" fmla="*/ 438442 w 1590358"/>
              <a:gd name="connsiteY55" fmla="*/ 234863 h 1295065"/>
              <a:gd name="connsiteX56" fmla="*/ 429047 w 1590358"/>
              <a:gd name="connsiteY56" fmla="*/ 241126 h 1295065"/>
              <a:gd name="connsiteX57" fmla="*/ 413390 w 1590358"/>
              <a:gd name="connsiteY57" fmla="*/ 259915 h 1295065"/>
              <a:gd name="connsiteX58" fmla="*/ 410258 w 1590358"/>
              <a:gd name="connsiteY58" fmla="*/ 269309 h 1295065"/>
              <a:gd name="connsiteX59" fmla="*/ 397732 w 1590358"/>
              <a:gd name="connsiteY59" fmla="*/ 288098 h 1295065"/>
              <a:gd name="connsiteX60" fmla="*/ 394601 w 1590358"/>
              <a:gd name="connsiteY60" fmla="*/ 316282 h 1295065"/>
              <a:gd name="connsiteX61" fmla="*/ 413390 w 1590358"/>
              <a:gd name="connsiteY61" fmla="*/ 310019 h 1295065"/>
              <a:gd name="connsiteX62" fmla="*/ 422784 w 1590358"/>
              <a:gd name="connsiteY62" fmla="*/ 288098 h 1295065"/>
              <a:gd name="connsiteX63" fmla="*/ 441573 w 1590358"/>
              <a:gd name="connsiteY63" fmla="*/ 259915 h 1295065"/>
              <a:gd name="connsiteX64" fmla="*/ 450968 w 1590358"/>
              <a:gd name="connsiteY64" fmla="*/ 253652 h 1295065"/>
              <a:gd name="connsiteX65" fmla="*/ 469757 w 1590358"/>
              <a:gd name="connsiteY65" fmla="*/ 241126 h 1295065"/>
              <a:gd name="connsiteX66" fmla="*/ 476020 w 1590358"/>
              <a:gd name="connsiteY66" fmla="*/ 250520 h 1295065"/>
              <a:gd name="connsiteX67" fmla="*/ 469757 w 1590358"/>
              <a:gd name="connsiteY67" fmla="*/ 278704 h 1295065"/>
              <a:gd name="connsiteX68" fmla="*/ 460362 w 1590358"/>
              <a:gd name="connsiteY68" fmla="*/ 284967 h 1295065"/>
              <a:gd name="connsiteX69" fmla="*/ 447836 w 1590358"/>
              <a:gd name="connsiteY69" fmla="*/ 294361 h 1295065"/>
              <a:gd name="connsiteX70" fmla="*/ 441573 w 1590358"/>
              <a:gd name="connsiteY70" fmla="*/ 303756 h 1295065"/>
              <a:gd name="connsiteX71" fmla="*/ 419653 w 1590358"/>
              <a:gd name="connsiteY71" fmla="*/ 328808 h 1295065"/>
              <a:gd name="connsiteX72" fmla="*/ 413390 w 1590358"/>
              <a:gd name="connsiteY72" fmla="*/ 347597 h 1295065"/>
              <a:gd name="connsiteX73" fmla="*/ 397732 w 1590358"/>
              <a:gd name="connsiteY73" fmla="*/ 403964 h 1295065"/>
              <a:gd name="connsiteX74" fmla="*/ 378943 w 1590358"/>
              <a:gd name="connsiteY74" fmla="*/ 422753 h 1295065"/>
              <a:gd name="connsiteX75" fmla="*/ 375812 w 1590358"/>
              <a:gd name="connsiteY75" fmla="*/ 432148 h 1295065"/>
              <a:gd name="connsiteX76" fmla="*/ 363286 w 1590358"/>
              <a:gd name="connsiteY76" fmla="*/ 450937 h 1295065"/>
              <a:gd name="connsiteX77" fmla="*/ 350760 w 1590358"/>
              <a:gd name="connsiteY77" fmla="*/ 469726 h 1295065"/>
              <a:gd name="connsiteX78" fmla="*/ 338234 w 1590358"/>
              <a:gd name="connsiteY78" fmla="*/ 488515 h 1295065"/>
              <a:gd name="connsiteX79" fmla="*/ 331971 w 1590358"/>
              <a:gd name="connsiteY79" fmla="*/ 551145 h 1295065"/>
              <a:gd name="connsiteX80" fmla="*/ 325707 w 1590358"/>
              <a:gd name="connsiteY80" fmla="*/ 557408 h 1295065"/>
              <a:gd name="connsiteX81" fmla="*/ 300655 w 1590358"/>
              <a:gd name="connsiteY81" fmla="*/ 557407 h 1295065"/>
              <a:gd name="connsiteX82" fmla="*/ 284998 w 1590358"/>
              <a:gd name="connsiteY82" fmla="*/ 591854 h 1295065"/>
              <a:gd name="connsiteX83" fmla="*/ 278735 w 1590358"/>
              <a:gd name="connsiteY83" fmla="*/ 610643 h 1295065"/>
              <a:gd name="connsiteX84" fmla="*/ 259946 w 1590358"/>
              <a:gd name="connsiteY84" fmla="*/ 626301 h 1295065"/>
              <a:gd name="connsiteX85" fmla="*/ 253683 w 1590358"/>
              <a:gd name="connsiteY85" fmla="*/ 673274 h 1295065"/>
              <a:gd name="connsiteX86" fmla="*/ 247420 w 1590358"/>
              <a:gd name="connsiteY86" fmla="*/ 692063 h 1295065"/>
              <a:gd name="connsiteX87" fmla="*/ 244288 w 1590358"/>
              <a:gd name="connsiteY87" fmla="*/ 701457 h 1295065"/>
              <a:gd name="connsiteX88" fmla="*/ 228631 w 1590358"/>
              <a:gd name="connsiteY88" fmla="*/ 720246 h 1295065"/>
              <a:gd name="connsiteX89" fmla="*/ 222368 w 1590358"/>
              <a:gd name="connsiteY89" fmla="*/ 739035 h 1295065"/>
              <a:gd name="connsiteX90" fmla="*/ 219236 w 1590358"/>
              <a:gd name="connsiteY90" fmla="*/ 748430 h 1295065"/>
              <a:gd name="connsiteX91" fmla="*/ 209842 w 1590358"/>
              <a:gd name="connsiteY91" fmla="*/ 767219 h 1295065"/>
              <a:gd name="connsiteX92" fmla="*/ 200447 w 1590358"/>
              <a:gd name="connsiteY92" fmla="*/ 770350 h 1295065"/>
              <a:gd name="connsiteX93" fmla="*/ 166001 w 1590358"/>
              <a:gd name="connsiteY93" fmla="*/ 760956 h 1295065"/>
              <a:gd name="connsiteX94" fmla="*/ 134686 w 1590358"/>
              <a:gd name="connsiteY94" fmla="*/ 795402 h 1295065"/>
              <a:gd name="connsiteX95" fmla="*/ 131554 w 1590358"/>
              <a:gd name="connsiteY95" fmla="*/ 804797 h 1295065"/>
              <a:gd name="connsiteX96" fmla="*/ 112765 w 1590358"/>
              <a:gd name="connsiteY96" fmla="*/ 820454 h 1295065"/>
              <a:gd name="connsiteX97" fmla="*/ 103371 w 1590358"/>
              <a:gd name="connsiteY97" fmla="*/ 823586 h 1295065"/>
              <a:gd name="connsiteX98" fmla="*/ 87713 w 1590358"/>
              <a:gd name="connsiteY98" fmla="*/ 839243 h 1295065"/>
              <a:gd name="connsiteX99" fmla="*/ 78318 w 1590358"/>
              <a:gd name="connsiteY99" fmla="*/ 873690 h 1295065"/>
              <a:gd name="connsiteX100" fmla="*/ 78318 w 1590358"/>
              <a:gd name="connsiteY100" fmla="*/ 873690 h 1295065"/>
              <a:gd name="connsiteX101" fmla="*/ 75187 w 1590358"/>
              <a:gd name="connsiteY101" fmla="*/ 886216 h 1295065"/>
              <a:gd name="connsiteX102" fmla="*/ 65792 w 1590358"/>
              <a:gd name="connsiteY102" fmla="*/ 914400 h 1295065"/>
              <a:gd name="connsiteX103" fmla="*/ 62661 w 1590358"/>
              <a:gd name="connsiteY103" fmla="*/ 923794 h 1295065"/>
              <a:gd name="connsiteX104" fmla="*/ 59529 w 1590358"/>
              <a:gd name="connsiteY104" fmla="*/ 933189 h 1295065"/>
              <a:gd name="connsiteX105" fmla="*/ 62661 w 1590358"/>
              <a:gd name="connsiteY105" fmla="*/ 945715 h 1295065"/>
              <a:gd name="connsiteX106" fmla="*/ 65792 w 1590358"/>
              <a:gd name="connsiteY106" fmla="*/ 955109 h 1295065"/>
              <a:gd name="connsiteX107" fmla="*/ 53266 w 1590358"/>
              <a:gd name="connsiteY107" fmla="*/ 973898 h 1295065"/>
              <a:gd name="connsiteX108" fmla="*/ 50135 w 1590358"/>
              <a:gd name="connsiteY108" fmla="*/ 983293 h 1295065"/>
              <a:gd name="connsiteX109" fmla="*/ 43872 w 1590358"/>
              <a:gd name="connsiteY109" fmla="*/ 1036528 h 1295065"/>
              <a:gd name="connsiteX110" fmla="*/ 34477 w 1590358"/>
              <a:gd name="connsiteY110" fmla="*/ 1064712 h 1295065"/>
              <a:gd name="connsiteX111" fmla="*/ 31346 w 1590358"/>
              <a:gd name="connsiteY111" fmla="*/ 1074106 h 1295065"/>
              <a:gd name="connsiteX112" fmla="*/ 21951 w 1590358"/>
              <a:gd name="connsiteY112" fmla="*/ 1136737 h 1295065"/>
              <a:gd name="connsiteX113" fmla="*/ 18820 w 1590358"/>
              <a:gd name="connsiteY113" fmla="*/ 1149263 h 1295065"/>
              <a:gd name="connsiteX114" fmla="*/ 12557 w 1590358"/>
              <a:gd name="connsiteY114" fmla="*/ 1196235 h 1295065"/>
              <a:gd name="connsiteX115" fmla="*/ 9425 w 1590358"/>
              <a:gd name="connsiteY115" fmla="*/ 1205630 h 1295065"/>
              <a:gd name="connsiteX116" fmla="*/ 6294 w 1590358"/>
              <a:gd name="connsiteY116" fmla="*/ 1221287 h 1295065"/>
              <a:gd name="connsiteX117" fmla="*/ 31 w 1590358"/>
              <a:gd name="connsiteY117" fmla="*/ 1240076 h 1295065"/>
              <a:gd name="connsiteX118" fmla="*/ 3162 w 1590358"/>
              <a:gd name="connsiteY118" fmla="*/ 1293312 h 1295065"/>
              <a:gd name="connsiteX119" fmla="*/ 15688 w 1590358"/>
              <a:gd name="connsiteY119" fmla="*/ 1290180 h 1295065"/>
              <a:gd name="connsiteX120" fmla="*/ 21951 w 1590358"/>
              <a:gd name="connsiteY120" fmla="*/ 1271391 h 1295065"/>
              <a:gd name="connsiteX121" fmla="*/ 25083 w 1590358"/>
              <a:gd name="connsiteY121" fmla="*/ 1261997 h 1295065"/>
              <a:gd name="connsiteX122" fmla="*/ 28214 w 1590358"/>
              <a:gd name="connsiteY122" fmla="*/ 1211893 h 1295065"/>
              <a:gd name="connsiteX123" fmla="*/ 37609 w 1590358"/>
              <a:gd name="connsiteY123" fmla="*/ 1183709 h 1295065"/>
              <a:gd name="connsiteX124" fmla="*/ 43872 w 1590358"/>
              <a:gd name="connsiteY124" fmla="*/ 1161789 h 1295065"/>
              <a:gd name="connsiteX125" fmla="*/ 50135 w 1590358"/>
              <a:gd name="connsiteY125" fmla="*/ 1143000 h 1295065"/>
              <a:gd name="connsiteX126" fmla="*/ 53266 w 1590358"/>
              <a:gd name="connsiteY126" fmla="*/ 1121079 h 1295065"/>
              <a:gd name="connsiteX127" fmla="*/ 56398 w 1590358"/>
              <a:gd name="connsiteY127" fmla="*/ 1111685 h 1295065"/>
              <a:gd name="connsiteX128" fmla="*/ 75187 w 1590358"/>
              <a:gd name="connsiteY128" fmla="*/ 1099159 h 1295065"/>
              <a:gd name="connsiteX129" fmla="*/ 119028 w 1590358"/>
              <a:gd name="connsiteY129" fmla="*/ 1102290 h 1295065"/>
              <a:gd name="connsiteX130" fmla="*/ 150343 w 1590358"/>
              <a:gd name="connsiteY130" fmla="*/ 1105422 h 1295065"/>
              <a:gd name="connsiteX131" fmla="*/ 222368 w 1590358"/>
              <a:gd name="connsiteY131" fmla="*/ 1108553 h 1295065"/>
              <a:gd name="connsiteX132" fmla="*/ 231762 w 1590358"/>
              <a:gd name="connsiteY132" fmla="*/ 1111685 h 1295065"/>
              <a:gd name="connsiteX133" fmla="*/ 369549 w 1590358"/>
              <a:gd name="connsiteY133" fmla="*/ 1117948 h 1295065"/>
              <a:gd name="connsiteX134" fmla="*/ 416521 w 1590358"/>
              <a:gd name="connsiteY134" fmla="*/ 1121079 h 1295065"/>
              <a:gd name="connsiteX135" fmla="*/ 447836 w 1590358"/>
              <a:gd name="connsiteY135" fmla="*/ 1127342 h 1295065"/>
              <a:gd name="connsiteX136" fmla="*/ 497940 w 1590358"/>
              <a:gd name="connsiteY136" fmla="*/ 1133605 h 1295065"/>
              <a:gd name="connsiteX137" fmla="*/ 601280 w 1590358"/>
              <a:gd name="connsiteY137" fmla="*/ 1136737 h 1295065"/>
              <a:gd name="connsiteX138" fmla="*/ 770381 w 1590358"/>
              <a:gd name="connsiteY138" fmla="*/ 1139868 h 1295065"/>
              <a:gd name="connsiteX139" fmla="*/ 786039 w 1590358"/>
              <a:gd name="connsiteY139" fmla="*/ 1143000 h 1295065"/>
              <a:gd name="connsiteX140" fmla="*/ 886247 w 1590358"/>
              <a:gd name="connsiteY140" fmla="*/ 1149263 h 1295065"/>
              <a:gd name="connsiteX141" fmla="*/ 930088 w 1590358"/>
              <a:gd name="connsiteY141" fmla="*/ 1155526 h 1295065"/>
              <a:gd name="connsiteX142" fmla="*/ 967666 w 1590358"/>
              <a:gd name="connsiteY142" fmla="*/ 1161789 h 1295065"/>
              <a:gd name="connsiteX143" fmla="*/ 992718 w 1590358"/>
              <a:gd name="connsiteY143" fmla="*/ 1164920 h 1295065"/>
              <a:gd name="connsiteX144" fmla="*/ 1036560 w 1590358"/>
              <a:gd name="connsiteY144" fmla="*/ 1171183 h 1295065"/>
              <a:gd name="connsiteX145" fmla="*/ 1058480 w 1590358"/>
              <a:gd name="connsiteY145" fmla="*/ 1174315 h 1295065"/>
              <a:gd name="connsiteX146" fmla="*/ 1067875 w 1590358"/>
              <a:gd name="connsiteY146" fmla="*/ 1177446 h 1295065"/>
              <a:gd name="connsiteX147" fmla="*/ 1099190 w 1590358"/>
              <a:gd name="connsiteY147" fmla="*/ 1183709 h 1295065"/>
              <a:gd name="connsiteX148" fmla="*/ 1236976 w 1590358"/>
              <a:gd name="connsiteY148" fmla="*/ 1149263 h 1295065"/>
              <a:gd name="connsiteX149" fmla="*/ 1233844 w 1590358"/>
              <a:gd name="connsiteY149" fmla="*/ 1136737 h 1295065"/>
              <a:gd name="connsiteX150" fmla="*/ 1230713 w 1590358"/>
              <a:gd name="connsiteY150" fmla="*/ 801665 h 1295065"/>
              <a:gd name="connsiteX151" fmla="*/ 1227581 w 1590358"/>
              <a:gd name="connsiteY151" fmla="*/ 792271 h 1295065"/>
              <a:gd name="connsiteX152" fmla="*/ 1224450 w 1590358"/>
              <a:gd name="connsiteY152" fmla="*/ 767219 h 1295065"/>
              <a:gd name="connsiteX153" fmla="*/ 1218187 w 1590358"/>
              <a:gd name="connsiteY153" fmla="*/ 729641 h 1295065"/>
              <a:gd name="connsiteX154" fmla="*/ 1221318 w 1590358"/>
              <a:gd name="connsiteY154" fmla="*/ 667011 h 1295065"/>
              <a:gd name="connsiteX155" fmla="*/ 1227581 w 1590358"/>
              <a:gd name="connsiteY155" fmla="*/ 657616 h 1295065"/>
              <a:gd name="connsiteX156" fmla="*/ 1230713 w 1590358"/>
              <a:gd name="connsiteY156" fmla="*/ 648222 h 1295065"/>
              <a:gd name="connsiteX157" fmla="*/ 1240107 w 1590358"/>
              <a:gd name="connsiteY157" fmla="*/ 635695 h 1295065"/>
              <a:gd name="connsiteX158" fmla="*/ 1246371 w 1590358"/>
              <a:gd name="connsiteY158" fmla="*/ 626301 h 1295065"/>
              <a:gd name="connsiteX159" fmla="*/ 1249502 w 1590358"/>
              <a:gd name="connsiteY159" fmla="*/ 616906 h 1295065"/>
              <a:gd name="connsiteX160" fmla="*/ 1271423 w 1590358"/>
              <a:gd name="connsiteY160" fmla="*/ 588723 h 1295065"/>
              <a:gd name="connsiteX161" fmla="*/ 1290212 w 1590358"/>
              <a:gd name="connsiteY161" fmla="*/ 576197 h 1295065"/>
              <a:gd name="connsiteX162" fmla="*/ 1299606 w 1590358"/>
              <a:gd name="connsiteY162" fmla="*/ 569934 h 1295065"/>
              <a:gd name="connsiteX163" fmla="*/ 1318395 w 1590358"/>
              <a:gd name="connsiteY163" fmla="*/ 554276 h 1295065"/>
              <a:gd name="connsiteX164" fmla="*/ 1327790 w 1590358"/>
              <a:gd name="connsiteY164" fmla="*/ 544882 h 1295065"/>
              <a:gd name="connsiteX165" fmla="*/ 1340316 w 1590358"/>
              <a:gd name="connsiteY165" fmla="*/ 538619 h 1295065"/>
              <a:gd name="connsiteX166" fmla="*/ 1362236 w 1590358"/>
              <a:gd name="connsiteY166" fmla="*/ 522961 h 1295065"/>
              <a:gd name="connsiteX167" fmla="*/ 1371631 w 1590358"/>
              <a:gd name="connsiteY167" fmla="*/ 519830 h 1295065"/>
              <a:gd name="connsiteX168" fmla="*/ 1381025 w 1590358"/>
              <a:gd name="connsiteY168" fmla="*/ 510435 h 1295065"/>
              <a:gd name="connsiteX169" fmla="*/ 1427998 w 1590358"/>
              <a:gd name="connsiteY169" fmla="*/ 501041 h 1295065"/>
              <a:gd name="connsiteX170" fmla="*/ 1459313 w 1590358"/>
              <a:gd name="connsiteY170" fmla="*/ 491646 h 1295065"/>
              <a:gd name="connsiteX171" fmla="*/ 1468707 w 1590358"/>
              <a:gd name="connsiteY171" fmla="*/ 485383 h 1295065"/>
              <a:gd name="connsiteX172" fmla="*/ 1478102 w 1590358"/>
              <a:gd name="connsiteY172" fmla="*/ 482252 h 1295065"/>
              <a:gd name="connsiteX173" fmla="*/ 1490628 w 1590358"/>
              <a:gd name="connsiteY173" fmla="*/ 472857 h 1295065"/>
              <a:gd name="connsiteX174" fmla="*/ 1521943 w 1590358"/>
              <a:gd name="connsiteY174" fmla="*/ 460331 h 1295065"/>
              <a:gd name="connsiteX175" fmla="*/ 1540732 w 1590358"/>
              <a:gd name="connsiteY175" fmla="*/ 454068 h 1295065"/>
              <a:gd name="connsiteX176" fmla="*/ 1550127 w 1590358"/>
              <a:gd name="connsiteY176" fmla="*/ 450937 h 1295065"/>
              <a:gd name="connsiteX177" fmla="*/ 1562653 w 1590358"/>
              <a:gd name="connsiteY177" fmla="*/ 435279 h 1295065"/>
              <a:gd name="connsiteX178" fmla="*/ 1565784 w 1590358"/>
              <a:gd name="connsiteY178" fmla="*/ 272441 h 1295065"/>
              <a:gd name="connsiteX179" fmla="*/ 1575179 w 1590358"/>
              <a:gd name="connsiteY179" fmla="*/ 231731 h 1295065"/>
              <a:gd name="connsiteX180" fmla="*/ 1581442 w 1590358"/>
              <a:gd name="connsiteY180" fmla="*/ 206679 h 1295065"/>
              <a:gd name="connsiteX181" fmla="*/ 1584573 w 1590358"/>
              <a:gd name="connsiteY181" fmla="*/ 197285 h 1295065"/>
              <a:gd name="connsiteX182" fmla="*/ 1584573 w 1590358"/>
              <a:gd name="connsiteY182" fmla="*/ 93945 h 1295065"/>
              <a:gd name="connsiteX0" fmla="*/ 1584573 w 1590358"/>
              <a:gd name="connsiteY0" fmla="*/ 93945 h 1295065"/>
              <a:gd name="connsiteX1" fmla="*/ 1509417 w 1590358"/>
              <a:gd name="connsiteY1" fmla="*/ 90813 h 1295065"/>
              <a:gd name="connsiteX2" fmla="*/ 1500023 w 1590358"/>
              <a:gd name="connsiteY2" fmla="*/ 87682 h 1295065"/>
              <a:gd name="connsiteX3" fmla="*/ 1449918 w 1590358"/>
              <a:gd name="connsiteY3" fmla="*/ 90813 h 1295065"/>
              <a:gd name="connsiteX4" fmla="*/ 1355973 w 1590358"/>
              <a:gd name="connsiteY4" fmla="*/ 87682 h 1295065"/>
              <a:gd name="connsiteX5" fmla="*/ 1321527 w 1590358"/>
              <a:gd name="connsiteY5" fmla="*/ 78287 h 1295065"/>
              <a:gd name="connsiteX6" fmla="*/ 1299606 w 1590358"/>
              <a:gd name="connsiteY6" fmla="*/ 72024 h 1295065"/>
              <a:gd name="connsiteX7" fmla="*/ 1290212 w 1590358"/>
              <a:gd name="connsiteY7" fmla="*/ 68893 h 1295065"/>
              <a:gd name="connsiteX8" fmla="*/ 1218187 w 1590358"/>
              <a:gd name="connsiteY8" fmla="*/ 65761 h 1295065"/>
              <a:gd name="connsiteX9" fmla="*/ 1158688 w 1590358"/>
              <a:gd name="connsiteY9" fmla="*/ 68893 h 1295065"/>
              <a:gd name="connsiteX10" fmla="*/ 1139899 w 1590358"/>
              <a:gd name="connsiteY10" fmla="*/ 81419 h 1295065"/>
              <a:gd name="connsiteX11" fmla="*/ 1130505 w 1590358"/>
              <a:gd name="connsiteY11" fmla="*/ 84550 h 1295065"/>
              <a:gd name="connsiteX12" fmla="*/ 1092927 w 1590358"/>
              <a:gd name="connsiteY12" fmla="*/ 72024 h 1295065"/>
              <a:gd name="connsiteX13" fmla="*/ 1077269 w 1590358"/>
              <a:gd name="connsiteY13" fmla="*/ 81419 h 1295065"/>
              <a:gd name="connsiteX14" fmla="*/ 1058480 w 1590358"/>
              <a:gd name="connsiteY14" fmla="*/ 72024 h 1295065"/>
              <a:gd name="connsiteX15" fmla="*/ 1039691 w 1590358"/>
              <a:gd name="connsiteY15" fmla="*/ 65761 h 1295065"/>
              <a:gd name="connsiteX16" fmla="*/ 1020902 w 1590358"/>
              <a:gd name="connsiteY16" fmla="*/ 53235 h 1295065"/>
              <a:gd name="connsiteX17" fmla="*/ 986455 w 1590358"/>
              <a:gd name="connsiteY17" fmla="*/ 46972 h 1295065"/>
              <a:gd name="connsiteX18" fmla="*/ 970798 w 1590358"/>
              <a:gd name="connsiteY18" fmla="*/ 43841 h 1295065"/>
              <a:gd name="connsiteX19" fmla="*/ 942614 w 1590358"/>
              <a:gd name="connsiteY19" fmla="*/ 46972 h 1295065"/>
              <a:gd name="connsiteX20" fmla="*/ 933220 w 1590358"/>
              <a:gd name="connsiteY20" fmla="*/ 50104 h 1295065"/>
              <a:gd name="connsiteX21" fmla="*/ 920694 w 1590358"/>
              <a:gd name="connsiteY21" fmla="*/ 53235 h 1295065"/>
              <a:gd name="connsiteX22" fmla="*/ 911299 w 1590358"/>
              <a:gd name="connsiteY22" fmla="*/ 56367 h 1295065"/>
              <a:gd name="connsiteX23" fmla="*/ 867458 w 1590358"/>
              <a:gd name="connsiteY23" fmla="*/ 59498 h 1295065"/>
              <a:gd name="connsiteX24" fmla="*/ 858064 w 1590358"/>
              <a:gd name="connsiteY24" fmla="*/ 65761 h 1295065"/>
              <a:gd name="connsiteX25" fmla="*/ 814223 w 1590358"/>
              <a:gd name="connsiteY25" fmla="*/ 65761 h 1295065"/>
              <a:gd name="connsiteX26" fmla="*/ 795434 w 1590358"/>
              <a:gd name="connsiteY26" fmla="*/ 50104 h 1295065"/>
              <a:gd name="connsiteX27" fmla="*/ 789171 w 1590358"/>
              <a:gd name="connsiteY27" fmla="*/ 40709 h 1295065"/>
              <a:gd name="connsiteX28" fmla="*/ 782907 w 1590358"/>
              <a:gd name="connsiteY28" fmla="*/ 34446 h 1295065"/>
              <a:gd name="connsiteX29" fmla="*/ 776644 w 1590358"/>
              <a:gd name="connsiteY29" fmla="*/ 25052 h 1295065"/>
              <a:gd name="connsiteX30" fmla="*/ 757855 w 1590358"/>
              <a:gd name="connsiteY30" fmla="*/ 18789 h 1295065"/>
              <a:gd name="connsiteX31" fmla="*/ 748461 w 1590358"/>
              <a:gd name="connsiteY31" fmla="*/ 12526 h 1295065"/>
              <a:gd name="connsiteX32" fmla="*/ 739066 w 1590358"/>
              <a:gd name="connsiteY32" fmla="*/ 3131 h 1295065"/>
              <a:gd name="connsiteX33" fmla="*/ 729672 w 1590358"/>
              <a:gd name="connsiteY33" fmla="*/ 0 h 1295065"/>
              <a:gd name="connsiteX34" fmla="*/ 720277 w 1590358"/>
              <a:gd name="connsiteY34" fmla="*/ 3131 h 1295065"/>
              <a:gd name="connsiteX35" fmla="*/ 707751 w 1590358"/>
              <a:gd name="connsiteY35" fmla="*/ 21920 h 1295065"/>
              <a:gd name="connsiteX36" fmla="*/ 695225 w 1590358"/>
              <a:gd name="connsiteY36" fmla="*/ 37578 h 1295065"/>
              <a:gd name="connsiteX37" fmla="*/ 676436 w 1590358"/>
              <a:gd name="connsiteY37" fmla="*/ 53235 h 1295065"/>
              <a:gd name="connsiteX38" fmla="*/ 657647 w 1590358"/>
              <a:gd name="connsiteY38" fmla="*/ 59498 h 1295065"/>
              <a:gd name="connsiteX39" fmla="*/ 648253 w 1590358"/>
              <a:gd name="connsiteY39" fmla="*/ 65761 h 1295065"/>
              <a:gd name="connsiteX40" fmla="*/ 638858 w 1590358"/>
              <a:gd name="connsiteY40" fmla="*/ 68893 h 1295065"/>
              <a:gd name="connsiteX41" fmla="*/ 635727 w 1590358"/>
              <a:gd name="connsiteY41" fmla="*/ 78287 h 1295065"/>
              <a:gd name="connsiteX42" fmla="*/ 626332 w 1590358"/>
              <a:gd name="connsiteY42" fmla="*/ 87682 h 1295065"/>
              <a:gd name="connsiteX43" fmla="*/ 613806 w 1590358"/>
              <a:gd name="connsiteY43" fmla="*/ 106471 h 1295065"/>
              <a:gd name="connsiteX44" fmla="*/ 604412 w 1590358"/>
              <a:gd name="connsiteY44" fmla="*/ 109602 h 1295065"/>
              <a:gd name="connsiteX45" fmla="*/ 595017 w 1590358"/>
              <a:gd name="connsiteY45" fmla="*/ 115865 h 1295065"/>
              <a:gd name="connsiteX46" fmla="*/ 585623 w 1590358"/>
              <a:gd name="connsiteY46" fmla="*/ 118997 h 1295065"/>
              <a:gd name="connsiteX47" fmla="*/ 566834 w 1590358"/>
              <a:gd name="connsiteY47" fmla="*/ 131523 h 1295065"/>
              <a:gd name="connsiteX48" fmla="*/ 557439 w 1590358"/>
              <a:gd name="connsiteY48" fmla="*/ 137786 h 1295065"/>
              <a:gd name="connsiteX49" fmla="*/ 544913 w 1590358"/>
              <a:gd name="connsiteY49" fmla="*/ 156575 h 1295065"/>
              <a:gd name="connsiteX50" fmla="*/ 532387 w 1590358"/>
              <a:gd name="connsiteY50" fmla="*/ 184759 h 1295065"/>
              <a:gd name="connsiteX51" fmla="*/ 522992 w 1590358"/>
              <a:gd name="connsiteY51" fmla="*/ 194153 h 1295065"/>
              <a:gd name="connsiteX52" fmla="*/ 513598 w 1590358"/>
              <a:gd name="connsiteY52" fmla="*/ 197285 h 1295065"/>
              <a:gd name="connsiteX53" fmla="*/ 504203 w 1590358"/>
              <a:gd name="connsiteY53" fmla="*/ 203548 h 1295065"/>
              <a:gd name="connsiteX54" fmla="*/ 466625 w 1590358"/>
              <a:gd name="connsiteY54" fmla="*/ 209811 h 1295065"/>
              <a:gd name="connsiteX55" fmla="*/ 457231 w 1590358"/>
              <a:gd name="connsiteY55" fmla="*/ 216074 h 1295065"/>
              <a:gd name="connsiteX56" fmla="*/ 438442 w 1590358"/>
              <a:gd name="connsiteY56" fmla="*/ 234863 h 1295065"/>
              <a:gd name="connsiteX57" fmla="*/ 429047 w 1590358"/>
              <a:gd name="connsiteY57" fmla="*/ 241126 h 1295065"/>
              <a:gd name="connsiteX58" fmla="*/ 413390 w 1590358"/>
              <a:gd name="connsiteY58" fmla="*/ 259915 h 1295065"/>
              <a:gd name="connsiteX59" fmla="*/ 410258 w 1590358"/>
              <a:gd name="connsiteY59" fmla="*/ 269309 h 1295065"/>
              <a:gd name="connsiteX60" fmla="*/ 397732 w 1590358"/>
              <a:gd name="connsiteY60" fmla="*/ 288098 h 1295065"/>
              <a:gd name="connsiteX61" fmla="*/ 394601 w 1590358"/>
              <a:gd name="connsiteY61" fmla="*/ 316282 h 1295065"/>
              <a:gd name="connsiteX62" fmla="*/ 413390 w 1590358"/>
              <a:gd name="connsiteY62" fmla="*/ 310019 h 1295065"/>
              <a:gd name="connsiteX63" fmla="*/ 422784 w 1590358"/>
              <a:gd name="connsiteY63" fmla="*/ 288098 h 1295065"/>
              <a:gd name="connsiteX64" fmla="*/ 441573 w 1590358"/>
              <a:gd name="connsiteY64" fmla="*/ 259915 h 1295065"/>
              <a:gd name="connsiteX65" fmla="*/ 450968 w 1590358"/>
              <a:gd name="connsiteY65" fmla="*/ 253652 h 1295065"/>
              <a:gd name="connsiteX66" fmla="*/ 469757 w 1590358"/>
              <a:gd name="connsiteY66" fmla="*/ 241126 h 1295065"/>
              <a:gd name="connsiteX67" fmla="*/ 476020 w 1590358"/>
              <a:gd name="connsiteY67" fmla="*/ 250520 h 1295065"/>
              <a:gd name="connsiteX68" fmla="*/ 469757 w 1590358"/>
              <a:gd name="connsiteY68" fmla="*/ 278704 h 1295065"/>
              <a:gd name="connsiteX69" fmla="*/ 460362 w 1590358"/>
              <a:gd name="connsiteY69" fmla="*/ 284967 h 1295065"/>
              <a:gd name="connsiteX70" fmla="*/ 447836 w 1590358"/>
              <a:gd name="connsiteY70" fmla="*/ 294361 h 1295065"/>
              <a:gd name="connsiteX71" fmla="*/ 441573 w 1590358"/>
              <a:gd name="connsiteY71" fmla="*/ 303756 h 1295065"/>
              <a:gd name="connsiteX72" fmla="*/ 419653 w 1590358"/>
              <a:gd name="connsiteY72" fmla="*/ 328808 h 1295065"/>
              <a:gd name="connsiteX73" fmla="*/ 413390 w 1590358"/>
              <a:gd name="connsiteY73" fmla="*/ 347597 h 1295065"/>
              <a:gd name="connsiteX74" fmla="*/ 397732 w 1590358"/>
              <a:gd name="connsiteY74" fmla="*/ 403964 h 1295065"/>
              <a:gd name="connsiteX75" fmla="*/ 378943 w 1590358"/>
              <a:gd name="connsiteY75" fmla="*/ 422753 h 1295065"/>
              <a:gd name="connsiteX76" fmla="*/ 375812 w 1590358"/>
              <a:gd name="connsiteY76" fmla="*/ 432148 h 1295065"/>
              <a:gd name="connsiteX77" fmla="*/ 363286 w 1590358"/>
              <a:gd name="connsiteY77" fmla="*/ 450937 h 1295065"/>
              <a:gd name="connsiteX78" fmla="*/ 350760 w 1590358"/>
              <a:gd name="connsiteY78" fmla="*/ 469726 h 1295065"/>
              <a:gd name="connsiteX79" fmla="*/ 338234 w 1590358"/>
              <a:gd name="connsiteY79" fmla="*/ 488515 h 1295065"/>
              <a:gd name="connsiteX80" fmla="*/ 331971 w 1590358"/>
              <a:gd name="connsiteY80" fmla="*/ 551145 h 1295065"/>
              <a:gd name="connsiteX81" fmla="*/ 325707 w 1590358"/>
              <a:gd name="connsiteY81" fmla="*/ 557408 h 1295065"/>
              <a:gd name="connsiteX82" fmla="*/ 300655 w 1590358"/>
              <a:gd name="connsiteY82" fmla="*/ 557407 h 1295065"/>
              <a:gd name="connsiteX83" fmla="*/ 284998 w 1590358"/>
              <a:gd name="connsiteY83" fmla="*/ 591854 h 1295065"/>
              <a:gd name="connsiteX84" fmla="*/ 278735 w 1590358"/>
              <a:gd name="connsiteY84" fmla="*/ 610643 h 1295065"/>
              <a:gd name="connsiteX85" fmla="*/ 259946 w 1590358"/>
              <a:gd name="connsiteY85" fmla="*/ 626301 h 1295065"/>
              <a:gd name="connsiteX86" fmla="*/ 253683 w 1590358"/>
              <a:gd name="connsiteY86" fmla="*/ 673274 h 1295065"/>
              <a:gd name="connsiteX87" fmla="*/ 247420 w 1590358"/>
              <a:gd name="connsiteY87" fmla="*/ 692063 h 1295065"/>
              <a:gd name="connsiteX88" fmla="*/ 244288 w 1590358"/>
              <a:gd name="connsiteY88" fmla="*/ 701457 h 1295065"/>
              <a:gd name="connsiteX89" fmla="*/ 228631 w 1590358"/>
              <a:gd name="connsiteY89" fmla="*/ 720246 h 1295065"/>
              <a:gd name="connsiteX90" fmla="*/ 222368 w 1590358"/>
              <a:gd name="connsiteY90" fmla="*/ 739035 h 1295065"/>
              <a:gd name="connsiteX91" fmla="*/ 219236 w 1590358"/>
              <a:gd name="connsiteY91" fmla="*/ 748430 h 1295065"/>
              <a:gd name="connsiteX92" fmla="*/ 209842 w 1590358"/>
              <a:gd name="connsiteY92" fmla="*/ 767219 h 1295065"/>
              <a:gd name="connsiteX93" fmla="*/ 200447 w 1590358"/>
              <a:gd name="connsiteY93" fmla="*/ 770350 h 1295065"/>
              <a:gd name="connsiteX94" fmla="*/ 166001 w 1590358"/>
              <a:gd name="connsiteY94" fmla="*/ 760956 h 1295065"/>
              <a:gd name="connsiteX95" fmla="*/ 134686 w 1590358"/>
              <a:gd name="connsiteY95" fmla="*/ 795402 h 1295065"/>
              <a:gd name="connsiteX96" fmla="*/ 131554 w 1590358"/>
              <a:gd name="connsiteY96" fmla="*/ 804797 h 1295065"/>
              <a:gd name="connsiteX97" fmla="*/ 112765 w 1590358"/>
              <a:gd name="connsiteY97" fmla="*/ 820454 h 1295065"/>
              <a:gd name="connsiteX98" fmla="*/ 103371 w 1590358"/>
              <a:gd name="connsiteY98" fmla="*/ 823586 h 1295065"/>
              <a:gd name="connsiteX99" fmla="*/ 87713 w 1590358"/>
              <a:gd name="connsiteY99" fmla="*/ 839243 h 1295065"/>
              <a:gd name="connsiteX100" fmla="*/ 78318 w 1590358"/>
              <a:gd name="connsiteY100" fmla="*/ 873690 h 1295065"/>
              <a:gd name="connsiteX101" fmla="*/ 78318 w 1590358"/>
              <a:gd name="connsiteY101" fmla="*/ 873690 h 1295065"/>
              <a:gd name="connsiteX102" fmla="*/ 75187 w 1590358"/>
              <a:gd name="connsiteY102" fmla="*/ 886216 h 1295065"/>
              <a:gd name="connsiteX103" fmla="*/ 65792 w 1590358"/>
              <a:gd name="connsiteY103" fmla="*/ 914400 h 1295065"/>
              <a:gd name="connsiteX104" fmla="*/ 62661 w 1590358"/>
              <a:gd name="connsiteY104" fmla="*/ 923794 h 1295065"/>
              <a:gd name="connsiteX105" fmla="*/ 59529 w 1590358"/>
              <a:gd name="connsiteY105" fmla="*/ 933189 h 1295065"/>
              <a:gd name="connsiteX106" fmla="*/ 62661 w 1590358"/>
              <a:gd name="connsiteY106" fmla="*/ 945715 h 1295065"/>
              <a:gd name="connsiteX107" fmla="*/ 65792 w 1590358"/>
              <a:gd name="connsiteY107" fmla="*/ 955109 h 1295065"/>
              <a:gd name="connsiteX108" fmla="*/ 53266 w 1590358"/>
              <a:gd name="connsiteY108" fmla="*/ 973898 h 1295065"/>
              <a:gd name="connsiteX109" fmla="*/ 50135 w 1590358"/>
              <a:gd name="connsiteY109" fmla="*/ 983293 h 1295065"/>
              <a:gd name="connsiteX110" fmla="*/ 43872 w 1590358"/>
              <a:gd name="connsiteY110" fmla="*/ 1036528 h 1295065"/>
              <a:gd name="connsiteX111" fmla="*/ 34477 w 1590358"/>
              <a:gd name="connsiteY111" fmla="*/ 1064712 h 1295065"/>
              <a:gd name="connsiteX112" fmla="*/ 31346 w 1590358"/>
              <a:gd name="connsiteY112" fmla="*/ 1074106 h 1295065"/>
              <a:gd name="connsiteX113" fmla="*/ 21951 w 1590358"/>
              <a:gd name="connsiteY113" fmla="*/ 1136737 h 1295065"/>
              <a:gd name="connsiteX114" fmla="*/ 18820 w 1590358"/>
              <a:gd name="connsiteY114" fmla="*/ 1149263 h 1295065"/>
              <a:gd name="connsiteX115" fmla="*/ 12557 w 1590358"/>
              <a:gd name="connsiteY115" fmla="*/ 1196235 h 1295065"/>
              <a:gd name="connsiteX116" fmla="*/ 9425 w 1590358"/>
              <a:gd name="connsiteY116" fmla="*/ 1205630 h 1295065"/>
              <a:gd name="connsiteX117" fmla="*/ 6294 w 1590358"/>
              <a:gd name="connsiteY117" fmla="*/ 1221287 h 1295065"/>
              <a:gd name="connsiteX118" fmla="*/ 31 w 1590358"/>
              <a:gd name="connsiteY118" fmla="*/ 1240076 h 1295065"/>
              <a:gd name="connsiteX119" fmla="*/ 3162 w 1590358"/>
              <a:gd name="connsiteY119" fmla="*/ 1293312 h 1295065"/>
              <a:gd name="connsiteX120" fmla="*/ 15688 w 1590358"/>
              <a:gd name="connsiteY120" fmla="*/ 1290180 h 1295065"/>
              <a:gd name="connsiteX121" fmla="*/ 21951 w 1590358"/>
              <a:gd name="connsiteY121" fmla="*/ 1271391 h 1295065"/>
              <a:gd name="connsiteX122" fmla="*/ 25083 w 1590358"/>
              <a:gd name="connsiteY122" fmla="*/ 1261997 h 1295065"/>
              <a:gd name="connsiteX123" fmla="*/ 28214 w 1590358"/>
              <a:gd name="connsiteY123" fmla="*/ 1211893 h 1295065"/>
              <a:gd name="connsiteX124" fmla="*/ 37609 w 1590358"/>
              <a:gd name="connsiteY124" fmla="*/ 1183709 h 1295065"/>
              <a:gd name="connsiteX125" fmla="*/ 43872 w 1590358"/>
              <a:gd name="connsiteY125" fmla="*/ 1161789 h 1295065"/>
              <a:gd name="connsiteX126" fmla="*/ 50135 w 1590358"/>
              <a:gd name="connsiteY126" fmla="*/ 1143000 h 1295065"/>
              <a:gd name="connsiteX127" fmla="*/ 53266 w 1590358"/>
              <a:gd name="connsiteY127" fmla="*/ 1121079 h 1295065"/>
              <a:gd name="connsiteX128" fmla="*/ 56398 w 1590358"/>
              <a:gd name="connsiteY128" fmla="*/ 1111685 h 1295065"/>
              <a:gd name="connsiteX129" fmla="*/ 75187 w 1590358"/>
              <a:gd name="connsiteY129" fmla="*/ 1099159 h 1295065"/>
              <a:gd name="connsiteX130" fmla="*/ 119028 w 1590358"/>
              <a:gd name="connsiteY130" fmla="*/ 1102290 h 1295065"/>
              <a:gd name="connsiteX131" fmla="*/ 150343 w 1590358"/>
              <a:gd name="connsiteY131" fmla="*/ 1105422 h 1295065"/>
              <a:gd name="connsiteX132" fmla="*/ 222368 w 1590358"/>
              <a:gd name="connsiteY132" fmla="*/ 1108553 h 1295065"/>
              <a:gd name="connsiteX133" fmla="*/ 231762 w 1590358"/>
              <a:gd name="connsiteY133" fmla="*/ 1111685 h 1295065"/>
              <a:gd name="connsiteX134" fmla="*/ 369549 w 1590358"/>
              <a:gd name="connsiteY134" fmla="*/ 1117948 h 1295065"/>
              <a:gd name="connsiteX135" fmla="*/ 416521 w 1590358"/>
              <a:gd name="connsiteY135" fmla="*/ 1121079 h 1295065"/>
              <a:gd name="connsiteX136" fmla="*/ 447836 w 1590358"/>
              <a:gd name="connsiteY136" fmla="*/ 1127342 h 1295065"/>
              <a:gd name="connsiteX137" fmla="*/ 497940 w 1590358"/>
              <a:gd name="connsiteY137" fmla="*/ 1133605 h 1295065"/>
              <a:gd name="connsiteX138" fmla="*/ 601280 w 1590358"/>
              <a:gd name="connsiteY138" fmla="*/ 1136737 h 1295065"/>
              <a:gd name="connsiteX139" fmla="*/ 770381 w 1590358"/>
              <a:gd name="connsiteY139" fmla="*/ 1139868 h 1295065"/>
              <a:gd name="connsiteX140" fmla="*/ 786039 w 1590358"/>
              <a:gd name="connsiteY140" fmla="*/ 1143000 h 1295065"/>
              <a:gd name="connsiteX141" fmla="*/ 886247 w 1590358"/>
              <a:gd name="connsiteY141" fmla="*/ 1149263 h 1295065"/>
              <a:gd name="connsiteX142" fmla="*/ 930088 w 1590358"/>
              <a:gd name="connsiteY142" fmla="*/ 1155526 h 1295065"/>
              <a:gd name="connsiteX143" fmla="*/ 967666 w 1590358"/>
              <a:gd name="connsiteY143" fmla="*/ 1161789 h 1295065"/>
              <a:gd name="connsiteX144" fmla="*/ 992718 w 1590358"/>
              <a:gd name="connsiteY144" fmla="*/ 1164920 h 1295065"/>
              <a:gd name="connsiteX145" fmla="*/ 1036560 w 1590358"/>
              <a:gd name="connsiteY145" fmla="*/ 1171183 h 1295065"/>
              <a:gd name="connsiteX146" fmla="*/ 1058480 w 1590358"/>
              <a:gd name="connsiteY146" fmla="*/ 1174315 h 1295065"/>
              <a:gd name="connsiteX147" fmla="*/ 1067875 w 1590358"/>
              <a:gd name="connsiteY147" fmla="*/ 1177446 h 1295065"/>
              <a:gd name="connsiteX148" fmla="*/ 1099190 w 1590358"/>
              <a:gd name="connsiteY148" fmla="*/ 1183709 h 1295065"/>
              <a:gd name="connsiteX149" fmla="*/ 1236976 w 1590358"/>
              <a:gd name="connsiteY149" fmla="*/ 1149263 h 1295065"/>
              <a:gd name="connsiteX150" fmla="*/ 1233844 w 1590358"/>
              <a:gd name="connsiteY150" fmla="*/ 1136737 h 1295065"/>
              <a:gd name="connsiteX151" fmla="*/ 1230713 w 1590358"/>
              <a:gd name="connsiteY151" fmla="*/ 801665 h 1295065"/>
              <a:gd name="connsiteX152" fmla="*/ 1227581 w 1590358"/>
              <a:gd name="connsiteY152" fmla="*/ 792271 h 1295065"/>
              <a:gd name="connsiteX153" fmla="*/ 1224450 w 1590358"/>
              <a:gd name="connsiteY153" fmla="*/ 767219 h 1295065"/>
              <a:gd name="connsiteX154" fmla="*/ 1218187 w 1590358"/>
              <a:gd name="connsiteY154" fmla="*/ 729641 h 1295065"/>
              <a:gd name="connsiteX155" fmla="*/ 1221318 w 1590358"/>
              <a:gd name="connsiteY155" fmla="*/ 667011 h 1295065"/>
              <a:gd name="connsiteX156" fmla="*/ 1227581 w 1590358"/>
              <a:gd name="connsiteY156" fmla="*/ 657616 h 1295065"/>
              <a:gd name="connsiteX157" fmla="*/ 1230713 w 1590358"/>
              <a:gd name="connsiteY157" fmla="*/ 648222 h 1295065"/>
              <a:gd name="connsiteX158" fmla="*/ 1240107 w 1590358"/>
              <a:gd name="connsiteY158" fmla="*/ 635695 h 1295065"/>
              <a:gd name="connsiteX159" fmla="*/ 1246371 w 1590358"/>
              <a:gd name="connsiteY159" fmla="*/ 626301 h 1295065"/>
              <a:gd name="connsiteX160" fmla="*/ 1249502 w 1590358"/>
              <a:gd name="connsiteY160" fmla="*/ 616906 h 1295065"/>
              <a:gd name="connsiteX161" fmla="*/ 1271423 w 1590358"/>
              <a:gd name="connsiteY161" fmla="*/ 588723 h 1295065"/>
              <a:gd name="connsiteX162" fmla="*/ 1290212 w 1590358"/>
              <a:gd name="connsiteY162" fmla="*/ 576197 h 1295065"/>
              <a:gd name="connsiteX163" fmla="*/ 1299606 w 1590358"/>
              <a:gd name="connsiteY163" fmla="*/ 569934 h 1295065"/>
              <a:gd name="connsiteX164" fmla="*/ 1318395 w 1590358"/>
              <a:gd name="connsiteY164" fmla="*/ 554276 h 1295065"/>
              <a:gd name="connsiteX165" fmla="*/ 1327790 w 1590358"/>
              <a:gd name="connsiteY165" fmla="*/ 544882 h 1295065"/>
              <a:gd name="connsiteX166" fmla="*/ 1340316 w 1590358"/>
              <a:gd name="connsiteY166" fmla="*/ 538619 h 1295065"/>
              <a:gd name="connsiteX167" fmla="*/ 1362236 w 1590358"/>
              <a:gd name="connsiteY167" fmla="*/ 522961 h 1295065"/>
              <a:gd name="connsiteX168" fmla="*/ 1371631 w 1590358"/>
              <a:gd name="connsiteY168" fmla="*/ 519830 h 1295065"/>
              <a:gd name="connsiteX169" fmla="*/ 1381025 w 1590358"/>
              <a:gd name="connsiteY169" fmla="*/ 510435 h 1295065"/>
              <a:gd name="connsiteX170" fmla="*/ 1427998 w 1590358"/>
              <a:gd name="connsiteY170" fmla="*/ 501041 h 1295065"/>
              <a:gd name="connsiteX171" fmla="*/ 1459313 w 1590358"/>
              <a:gd name="connsiteY171" fmla="*/ 491646 h 1295065"/>
              <a:gd name="connsiteX172" fmla="*/ 1468707 w 1590358"/>
              <a:gd name="connsiteY172" fmla="*/ 485383 h 1295065"/>
              <a:gd name="connsiteX173" fmla="*/ 1478102 w 1590358"/>
              <a:gd name="connsiteY173" fmla="*/ 482252 h 1295065"/>
              <a:gd name="connsiteX174" fmla="*/ 1490628 w 1590358"/>
              <a:gd name="connsiteY174" fmla="*/ 472857 h 1295065"/>
              <a:gd name="connsiteX175" fmla="*/ 1521943 w 1590358"/>
              <a:gd name="connsiteY175" fmla="*/ 460331 h 1295065"/>
              <a:gd name="connsiteX176" fmla="*/ 1540732 w 1590358"/>
              <a:gd name="connsiteY176" fmla="*/ 454068 h 1295065"/>
              <a:gd name="connsiteX177" fmla="*/ 1550127 w 1590358"/>
              <a:gd name="connsiteY177" fmla="*/ 450937 h 1295065"/>
              <a:gd name="connsiteX178" fmla="*/ 1562653 w 1590358"/>
              <a:gd name="connsiteY178" fmla="*/ 435279 h 1295065"/>
              <a:gd name="connsiteX179" fmla="*/ 1565784 w 1590358"/>
              <a:gd name="connsiteY179" fmla="*/ 272441 h 1295065"/>
              <a:gd name="connsiteX180" fmla="*/ 1575179 w 1590358"/>
              <a:gd name="connsiteY180" fmla="*/ 231731 h 1295065"/>
              <a:gd name="connsiteX181" fmla="*/ 1581442 w 1590358"/>
              <a:gd name="connsiteY181" fmla="*/ 206679 h 1295065"/>
              <a:gd name="connsiteX182" fmla="*/ 1584573 w 1590358"/>
              <a:gd name="connsiteY182" fmla="*/ 197285 h 1295065"/>
              <a:gd name="connsiteX183" fmla="*/ 1584573 w 1590358"/>
              <a:gd name="connsiteY183" fmla="*/ 93945 h 1295065"/>
              <a:gd name="connsiteX0" fmla="*/ 1584573 w 1590358"/>
              <a:gd name="connsiteY0" fmla="*/ 93945 h 1295065"/>
              <a:gd name="connsiteX1" fmla="*/ 1509417 w 1590358"/>
              <a:gd name="connsiteY1" fmla="*/ 90813 h 1295065"/>
              <a:gd name="connsiteX2" fmla="*/ 1500023 w 1590358"/>
              <a:gd name="connsiteY2" fmla="*/ 87682 h 1295065"/>
              <a:gd name="connsiteX3" fmla="*/ 1449918 w 1590358"/>
              <a:gd name="connsiteY3" fmla="*/ 90813 h 1295065"/>
              <a:gd name="connsiteX4" fmla="*/ 1355973 w 1590358"/>
              <a:gd name="connsiteY4" fmla="*/ 87682 h 1295065"/>
              <a:gd name="connsiteX5" fmla="*/ 1321527 w 1590358"/>
              <a:gd name="connsiteY5" fmla="*/ 78287 h 1295065"/>
              <a:gd name="connsiteX6" fmla="*/ 1299606 w 1590358"/>
              <a:gd name="connsiteY6" fmla="*/ 72024 h 1295065"/>
              <a:gd name="connsiteX7" fmla="*/ 1290212 w 1590358"/>
              <a:gd name="connsiteY7" fmla="*/ 68893 h 1295065"/>
              <a:gd name="connsiteX8" fmla="*/ 1218187 w 1590358"/>
              <a:gd name="connsiteY8" fmla="*/ 65761 h 1295065"/>
              <a:gd name="connsiteX9" fmla="*/ 1158688 w 1590358"/>
              <a:gd name="connsiteY9" fmla="*/ 68893 h 1295065"/>
              <a:gd name="connsiteX10" fmla="*/ 1139899 w 1590358"/>
              <a:gd name="connsiteY10" fmla="*/ 81419 h 1295065"/>
              <a:gd name="connsiteX11" fmla="*/ 1133637 w 1590358"/>
              <a:gd name="connsiteY11" fmla="*/ 75156 h 1295065"/>
              <a:gd name="connsiteX12" fmla="*/ 1092927 w 1590358"/>
              <a:gd name="connsiteY12" fmla="*/ 72024 h 1295065"/>
              <a:gd name="connsiteX13" fmla="*/ 1077269 w 1590358"/>
              <a:gd name="connsiteY13" fmla="*/ 81419 h 1295065"/>
              <a:gd name="connsiteX14" fmla="*/ 1058480 w 1590358"/>
              <a:gd name="connsiteY14" fmla="*/ 72024 h 1295065"/>
              <a:gd name="connsiteX15" fmla="*/ 1039691 w 1590358"/>
              <a:gd name="connsiteY15" fmla="*/ 65761 h 1295065"/>
              <a:gd name="connsiteX16" fmla="*/ 1020902 w 1590358"/>
              <a:gd name="connsiteY16" fmla="*/ 53235 h 1295065"/>
              <a:gd name="connsiteX17" fmla="*/ 986455 w 1590358"/>
              <a:gd name="connsiteY17" fmla="*/ 46972 h 1295065"/>
              <a:gd name="connsiteX18" fmla="*/ 970798 w 1590358"/>
              <a:gd name="connsiteY18" fmla="*/ 43841 h 1295065"/>
              <a:gd name="connsiteX19" fmla="*/ 942614 w 1590358"/>
              <a:gd name="connsiteY19" fmla="*/ 46972 h 1295065"/>
              <a:gd name="connsiteX20" fmla="*/ 933220 w 1590358"/>
              <a:gd name="connsiteY20" fmla="*/ 50104 h 1295065"/>
              <a:gd name="connsiteX21" fmla="*/ 920694 w 1590358"/>
              <a:gd name="connsiteY21" fmla="*/ 53235 h 1295065"/>
              <a:gd name="connsiteX22" fmla="*/ 911299 w 1590358"/>
              <a:gd name="connsiteY22" fmla="*/ 56367 h 1295065"/>
              <a:gd name="connsiteX23" fmla="*/ 867458 w 1590358"/>
              <a:gd name="connsiteY23" fmla="*/ 59498 h 1295065"/>
              <a:gd name="connsiteX24" fmla="*/ 858064 w 1590358"/>
              <a:gd name="connsiteY24" fmla="*/ 65761 h 1295065"/>
              <a:gd name="connsiteX25" fmla="*/ 814223 w 1590358"/>
              <a:gd name="connsiteY25" fmla="*/ 65761 h 1295065"/>
              <a:gd name="connsiteX26" fmla="*/ 795434 w 1590358"/>
              <a:gd name="connsiteY26" fmla="*/ 50104 h 1295065"/>
              <a:gd name="connsiteX27" fmla="*/ 789171 w 1590358"/>
              <a:gd name="connsiteY27" fmla="*/ 40709 h 1295065"/>
              <a:gd name="connsiteX28" fmla="*/ 782907 w 1590358"/>
              <a:gd name="connsiteY28" fmla="*/ 34446 h 1295065"/>
              <a:gd name="connsiteX29" fmla="*/ 776644 w 1590358"/>
              <a:gd name="connsiteY29" fmla="*/ 25052 h 1295065"/>
              <a:gd name="connsiteX30" fmla="*/ 757855 w 1590358"/>
              <a:gd name="connsiteY30" fmla="*/ 18789 h 1295065"/>
              <a:gd name="connsiteX31" fmla="*/ 748461 w 1590358"/>
              <a:gd name="connsiteY31" fmla="*/ 12526 h 1295065"/>
              <a:gd name="connsiteX32" fmla="*/ 739066 w 1590358"/>
              <a:gd name="connsiteY32" fmla="*/ 3131 h 1295065"/>
              <a:gd name="connsiteX33" fmla="*/ 729672 w 1590358"/>
              <a:gd name="connsiteY33" fmla="*/ 0 h 1295065"/>
              <a:gd name="connsiteX34" fmla="*/ 720277 w 1590358"/>
              <a:gd name="connsiteY34" fmla="*/ 3131 h 1295065"/>
              <a:gd name="connsiteX35" fmla="*/ 707751 w 1590358"/>
              <a:gd name="connsiteY35" fmla="*/ 21920 h 1295065"/>
              <a:gd name="connsiteX36" fmla="*/ 695225 w 1590358"/>
              <a:gd name="connsiteY36" fmla="*/ 37578 h 1295065"/>
              <a:gd name="connsiteX37" fmla="*/ 676436 w 1590358"/>
              <a:gd name="connsiteY37" fmla="*/ 53235 h 1295065"/>
              <a:gd name="connsiteX38" fmla="*/ 657647 w 1590358"/>
              <a:gd name="connsiteY38" fmla="*/ 59498 h 1295065"/>
              <a:gd name="connsiteX39" fmla="*/ 648253 w 1590358"/>
              <a:gd name="connsiteY39" fmla="*/ 65761 h 1295065"/>
              <a:gd name="connsiteX40" fmla="*/ 638858 w 1590358"/>
              <a:gd name="connsiteY40" fmla="*/ 68893 h 1295065"/>
              <a:gd name="connsiteX41" fmla="*/ 635727 w 1590358"/>
              <a:gd name="connsiteY41" fmla="*/ 78287 h 1295065"/>
              <a:gd name="connsiteX42" fmla="*/ 626332 w 1590358"/>
              <a:gd name="connsiteY42" fmla="*/ 87682 h 1295065"/>
              <a:gd name="connsiteX43" fmla="*/ 613806 w 1590358"/>
              <a:gd name="connsiteY43" fmla="*/ 106471 h 1295065"/>
              <a:gd name="connsiteX44" fmla="*/ 604412 w 1590358"/>
              <a:gd name="connsiteY44" fmla="*/ 109602 h 1295065"/>
              <a:gd name="connsiteX45" fmla="*/ 595017 w 1590358"/>
              <a:gd name="connsiteY45" fmla="*/ 115865 h 1295065"/>
              <a:gd name="connsiteX46" fmla="*/ 585623 w 1590358"/>
              <a:gd name="connsiteY46" fmla="*/ 118997 h 1295065"/>
              <a:gd name="connsiteX47" fmla="*/ 566834 w 1590358"/>
              <a:gd name="connsiteY47" fmla="*/ 131523 h 1295065"/>
              <a:gd name="connsiteX48" fmla="*/ 557439 w 1590358"/>
              <a:gd name="connsiteY48" fmla="*/ 137786 h 1295065"/>
              <a:gd name="connsiteX49" fmla="*/ 544913 w 1590358"/>
              <a:gd name="connsiteY49" fmla="*/ 156575 h 1295065"/>
              <a:gd name="connsiteX50" fmla="*/ 532387 w 1590358"/>
              <a:gd name="connsiteY50" fmla="*/ 184759 h 1295065"/>
              <a:gd name="connsiteX51" fmla="*/ 522992 w 1590358"/>
              <a:gd name="connsiteY51" fmla="*/ 194153 h 1295065"/>
              <a:gd name="connsiteX52" fmla="*/ 513598 w 1590358"/>
              <a:gd name="connsiteY52" fmla="*/ 197285 h 1295065"/>
              <a:gd name="connsiteX53" fmla="*/ 504203 w 1590358"/>
              <a:gd name="connsiteY53" fmla="*/ 203548 h 1295065"/>
              <a:gd name="connsiteX54" fmla="*/ 466625 w 1590358"/>
              <a:gd name="connsiteY54" fmla="*/ 209811 h 1295065"/>
              <a:gd name="connsiteX55" fmla="*/ 457231 w 1590358"/>
              <a:gd name="connsiteY55" fmla="*/ 216074 h 1295065"/>
              <a:gd name="connsiteX56" fmla="*/ 438442 w 1590358"/>
              <a:gd name="connsiteY56" fmla="*/ 234863 h 1295065"/>
              <a:gd name="connsiteX57" fmla="*/ 429047 w 1590358"/>
              <a:gd name="connsiteY57" fmla="*/ 241126 h 1295065"/>
              <a:gd name="connsiteX58" fmla="*/ 413390 w 1590358"/>
              <a:gd name="connsiteY58" fmla="*/ 259915 h 1295065"/>
              <a:gd name="connsiteX59" fmla="*/ 410258 w 1590358"/>
              <a:gd name="connsiteY59" fmla="*/ 269309 h 1295065"/>
              <a:gd name="connsiteX60" fmla="*/ 397732 w 1590358"/>
              <a:gd name="connsiteY60" fmla="*/ 288098 h 1295065"/>
              <a:gd name="connsiteX61" fmla="*/ 394601 w 1590358"/>
              <a:gd name="connsiteY61" fmla="*/ 316282 h 1295065"/>
              <a:gd name="connsiteX62" fmla="*/ 413390 w 1590358"/>
              <a:gd name="connsiteY62" fmla="*/ 310019 h 1295065"/>
              <a:gd name="connsiteX63" fmla="*/ 422784 w 1590358"/>
              <a:gd name="connsiteY63" fmla="*/ 288098 h 1295065"/>
              <a:gd name="connsiteX64" fmla="*/ 441573 w 1590358"/>
              <a:gd name="connsiteY64" fmla="*/ 259915 h 1295065"/>
              <a:gd name="connsiteX65" fmla="*/ 450968 w 1590358"/>
              <a:gd name="connsiteY65" fmla="*/ 253652 h 1295065"/>
              <a:gd name="connsiteX66" fmla="*/ 469757 w 1590358"/>
              <a:gd name="connsiteY66" fmla="*/ 241126 h 1295065"/>
              <a:gd name="connsiteX67" fmla="*/ 476020 w 1590358"/>
              <a:gd name="connsiteY67" fmla="*/ 250520 h 1295065"/>
              <a:gd name="connsiteX68" fmla="*/ 469757 w 1590358"/>
              <a:gd name="connsiteY68" fmla="*/ 278704 h 1295065"/>
              <a:gd name="connsiteX69" fmla="*/ 460362 w 1590358"/>
              <a:gd name="connsiteY69" fmla="*/ 284967 h 1295065"/>
              <a:gd name="connsiteX70" fmla="*/ 447836 w 1590358"/>
              <a:gd name="connsiteY70" fmla="*/ 294361 h 1295065"/>
              <a:gd name="connsiteX71" fmla="*/ 441573 w 1590358"/>
              <a:gd name="connsiteY71" fmla="*/ 303756 h 1295065"/>
              <a:gd name="connsiteX72" fmla="*/ 419653 w 1590358"/>
              <a:gd name="connsiteY72" fmla="*/ 328808 h 1295065"/>
              <a:gd name="connsiteX73" fmla="*/ 413390 w 1590358"/>
              <a:gd name="connsiteY73" fmla="*/ 347597 h 1295065"/>
              <a:gd name="connsiteX74" fmla="*/ 397732 w 1590358"/>
              <a:gd name="connsiteY74" fmla="*/ 403964 h 1295065"/>
              <a:gd name="connsiteX75" fmla="*/ 378943 w 1590358"/>
              <a:gd name="connsiteY75" fmla="*/ 422753 h 1295065"/>
              <a:gd name="connsiteX76" fmla="*/ 375812 w 1590358"/>
              <a:gd name="connsiteY76" fmla="*/ 432148 h 1295065"/>
              <a:gd name="connsiteX77" fmla="*/ 363286 w 1590358"/>
              <a:gd name="connsiteY77" fmla="*/ 450937 h 1295065"/>
              <a:gd name="connsiteX78" fmla="*/ 350760 w 1590358"/>
              <a:gd name="connsiteY78" fmla="*/ 469726 h 1295065"/>
              <a:gd name="connsiteX79" fmla="*/ 338234 w 1590358"/>
              <a:gd name="connsiteY79" fmla="*/ 488515 h 1295065"/>
              <a:gd name="connsiteX80" fmla="*/ 331971 w 1590358"/>
              <a:gd name="connsiteY80" fmla="*/ 551145 h 1295065"/>
              <a:gd name="connsiteX81" fmla="*/ 325707 w 1590358"/>
              <a:gd name="connsiteY81" fmla="*/ 557408 h 1295065"/>
              <a:gd name="connsiteX82" fmla="*/ 300655 w 1590358"/>
              <a:gd name="connsiteY82" fmla="*/ 557407 h 1295065"/>
              <a:gd name="connsiteX83" fmla="*/ 284998 w 1590358"/>
              <a:gd name="connsiteY83" fmla="*/ 591854 h 1295065"/>
              <a:gd name="connsiteX84" fmla="*/ 278735 w 1590358"/>
              <a:gd name="connsiteY84" fmla="*/ 610643 h 1295065"/>
              <a:gd name="connsiteX85" fmla="*/ 259946 w 1590358"/>
              <a:gd name="connsiteY85" fmla="*/ 626301 h 1295065"/>
              <a:gd name="connsiteX86" fmla="*/ 253683 w 1590358"/>
              <a:gd name="connsiteY86" fmla="*/ 673274 h 1295065"/>
              <a:gd name="connsiteX87" fmla="*/ 247420 w 1590358"/>
              <a:gd name="connsiteY87" fmla="*/ 692063 h 1295065"/>
              <a:gd name="connsiteX88" fmla="*/ 244288 w 1590358"/>
              <a:gd name="connsiteY88" fmla="*/ 701457 h 1295065"/>
              <a:gd name="connsiteX89" fmla="*/ 228631 w 1590358"/>
              <a:gd name="connsiteY89" fmla="*/ 720246 h 1295065"/>
              <a:gd name="connsiteX90" fmla="*/ 222368 w 1590358"/>
              <a:gd name="connsiteY90" fmla="*/ 739035 h 1295065"/>
              <a:gd name="connsiteX91" fmla="*/ 219236 w 1590358"/>
              <a:gd name="connsiteY91" fmla="*/ 748430 h 1295065"/>
              <a:gd name="connsiteX92" fmla="*/ 209842 w 1590358"/>
              <a:gd name="connsiteY92" fmla="*/ 767219 h 1295065"/>
              <a:gd name="connsiteX93" fmla="*/ 200447 w 1590358"/>
              <a:gd name="connsiteY93" fmla="*/ 770350 h 1295065"/>
              <a:gd name="connsiteX94" fmla="*/ 166001 w 1590358"/>
              <a:gd name="connsiteY94" fmla="*/ 760956 h 1295065"/>
              <a:gd name="connsiteX95" fmla="*/ 134686 w 1590358"/>
              <a:gd name="connsiteY95" fmla="*/ 795402 h 1295065"/>
              <a:gd name="connsiteX96" fmla="*/ 131554 w 1590358"/>
              <a:gd name="connsiteY96" fmla="*/ 804797 h 1295065"/>
              <a:gd name="connsiteX97" fmla="*/ 112765 w 1590358"/>
              <a:gd name="connsiteY97" fmla="*/ 820454 h 1295065"/>
              <a:gd name="connsiteX98" fmla="*/ 103371 w 1590358"/>
              <a:gd name="connsiteY98" fmla="*/ 823586 h 1295065"/>
              <a:gd name="connsiteX99" fmla="*/ 87713 w 1590358"/>
              <a:gd name="connsiteY99" fmla="*/ 839243 h 1295065"/>
              <a:gd name="connsiteX100" fmla="*/ 78318 w 1590358"/>
              <a:gd name="connsiteY100" fmla="*/ 873690 h 1295065"/>
              <a:gd name="connsiteX101" fmla="*/ 78318 w 1590358"/>
              <a:gd name="connsiteY101" fmla="*/ 873690 h 1295065"/>
              <a:gd name="connsiteX102" fmla="*/ 75187 w 1590358"/>
              <a:gd name="connsiteY102" fmla="*/ 886216 h 1295065"/>
              <a:gd name="connsiteX103" fmla="*/ 65792 w 1590358"/>
              <a:gd name="connsiteY103" fmla="*/ 914400 h 1295065"/>
              <a:gd name="connsiteX104" fmla="*/ 62661 w 1590358"/>
              <a:gd name="connsiteY104" fmla="*/ 923794 h 1295065"/>
              <a:gd name="connsiteX105" fmla="*/ 59529 w 1590358"/>
              <a:gd name="connsiteY105" fmla="*/ 933189 h 1295065"/>
              <a:gd name="connsiteX106" fmla="*/ 62661 w 1590358"/>
              <a:gd name="connsiteY106" fmla="*/ 945715 h 1295065"/>
              <a:gd name="connsiteX107" fmla="*/ 65792 w 1590358"/>
              <a:gd name="connsiteY107" fmla="*/ 955109 h 1295065"/>
              <a:gd name="connsiteX108" fmla="*/ 53266 w 1590358"/>
              <a:gd name="connsiteY108" fmla="*/ 973898 h 1295065"/>
              <a:gd name="connsiteX109" fmla="*/ 50135 w 1590358"/>
              <a:gd name="connsiteY109" fmla="*/ 983293 h 1295065"/>
              <a:gd name="connsiteX110" fmla="*/ 43872 w 1590358"/>
              <a:gd name="connsiteY110" fmla="*/ 1036528 h 1295065"/>
              <a:gd name="connsiteX111" fmla="*/ 34477 w 1590358"/>
              <a:gd name="connsiteY111" fmla="*/ 1064712 h 1295065"/>
              <a:gd name="connsiteX112" fmla="*/ 31346 w 1590358"/>
              <a:gd name="connsiteY112" fmla="*/ 1074106 h 1295065"/>
              <a:gd name="connsiteX113" fmla="*/ 21951 w 1590358"/>
              <a:gd name="connsiteY113" fmla="*/ 1136737 h 1295065"/>
              <a:gd name="connsiteX114" fmla="*/ 18820 w 1590358"/>
              <a:gd name="connsiteY114" fmla="*/ 1149263 h 1295065"/>
              <a:gd name="connsiteX115" fmla="*/ 12557 w 1590358"/>
              <a:gd name="connsiteY115" fmla="*/ 1196235 h 1295065"/>
              <a:gd name="connsiteX116" fmla="*/ 9425 w 1590358"/>
              <a:gd name="connsiteY116" fmla="*/ 1205630 h 1295065"/>
              <a:gd name="connsiteX117" fmla="*/ 6294 w 1590358"/>
              <a:gd name="connsiteY117" fmla="*/ 1221287 h 1295065"/>
              <a:gd name="connsiteX118" fmla="*/ 31 w 1590358"/>
              <a:gd name="connsiteY118" fmla="*/ 1240076 h 1295065"/>
              <a:gd name="connsiteX119" fmla="*/ 3162 w 1590358"/>
              <a:gd name="connsiteY119" fmla="*/ 1293312 h 1295065"/>
              <a:gd name="connsiteX120" fmla="*/ 15688 w 1590358"/>
              <a:gd name="connsiteY120" fmla="*/ 1290180 h 1295065"/>
              <a:gd name="connsiteX121" fmla="*/ 21951 w 1590358"/>
              <a:gd name="connsiteY121" fmla="*/ 1271391 h 1295065"/>
              <a:gd name="connsiteX122" fmla="*/ 25083 w 1590358"/>
              <a:gd name="connsiteY122" fmla="*/ 1261997 h 1295065"/>
              <a:gd name="connsiteX123" fmla="*/ 28214 w 1590358"/>
              <a:gd name="connsiteY123" fmla="*/ 1211893 h 1295065"/>
              <a:gd name="connsiteX124" fmla="*/ 37609 w 1590358"/>
              <a:gd name="connsiteY124" fmla="*/ 1183709 h 1295065"/>
              <a:gd name="connsiteX125" fmla="*/ 43872 w 1590358"/>
              <a:gd name="connsiteY125" fmla="*/ 1161789 h 1295065"/>
              <a:gd name="connsiteX126" fmla="*/ 50135 w 1590358"/>
              <a:gd name="connsiteY126" fmla="*/ 1143000 h 1295065"/>
              <a:gd name="connsiteX127" fmla="*/ 53266 w 1590358"/>
              <a:gd name="connsiteY127" fmla="*/ 1121079 h 1295065"/>
              <a:gd name="connsiteX128" fmla="*/ 56398 w 1590358"/>
              <a:gd name="connsiteY128" fmla="*/ 1111685 h 1295065"/>
              <a:gd name="connsiteX129" fmla="*/ 75187 w 1590358"/>
              <a:gd name="connsiteY129" fmla="*/ 1099159 h 1295065"/>
              <a:gd name="connsiteX130" fmla="*/ 119028 w 1590358"/>
              <a:gd name="connsiteY130" fmla="*/ 1102290 h 1295065"/>
              <a:gd name="connsiteX131" fmla="*/ 150343 w 1590358"/>
              <a:gd name="connsiteY131" fmla="*/ 1105422 h 1295065"/>
              <a:gd name="connsiteX132" fmla="*/ 222368 w 1590358"/>
              <a:gd name="connsiteY132" fmla="*/ 1108553 h 1295065"/>
              <a:gd name="connsiteX133" fmla="*/ 231762 w 1590358"/>
              <a:gd name="connsiteY133" fmla="*/ 1111685 h 1295065"/>
              <a:gd name="connsiteX134" fmla="*/ 369549 w 1590358"/>
              <a:gd name="connsiteY134" fmla="*/ 1117948 h 1295065"/>
              <a:gd name="connsiteX135" fmla="*/ 416521 w 1590358"/>
              <a:gd name="connsiteY135" fmla="*/ 1121079 h 1295065"/>
              <a:gd name="connsiteX136" fmla="*/ 447836 w 1590358"/>
              <a:gd name="connsiteY136" fmla="*/ 1127342 h 1295065"/>
              <a:gd name="connsiteX137" fmla="*/ 497940 w 1590358"/>
              <a:gd name="connsiteY137" fmla="*/ 1133605 h 1295065"/>
              <a:gd name="connsiteX138" fmla="*/ 601280 w 1590358"/>
              <a:gd name="connsiteY138" fmla="*/ 1136737 h 1295065"/>
              <a:gd name="connsiteX139" fmla="*/ 770381 w 1590358"/>
              <a:gd name="connsiteY139" fmla="*/ 1139868 h 1295065"/>
              <a:gd name="connsiteX140" fmla="*/ 786039 w 1590358"/>
              <a:gd name="connsiteY140" fmla="*/ 1143000 h 1295065"/>
              <a:gd name="connsiteX141" fmla="*/ 886247 w 1590358"/>
              <a:gd name="connsiteY141" fmla="*/ 1149263 h 1295065"/>
              <a:gd name="connsiteX142" fmla="*/ 930088 w 1590358"/>
              <a:gd name="connsiteY142" fmla="*/ 1155526 h 1295065"/>
              <a:gd name="connsiteX143" fmla="*/ 967666 w 1590358"/>
              <a:gd name="connsiteY143" fmla="*/ 1161789 h 1295065"/>
              <a:gd name="connsiteX144" fmla="*/ 992718 w 1590358"/>
              <a:gd name="connsiteY144" fmla="*/ 1164920 h 1295065"/>
              <a:gd name="connsiteX145" fmla="*/ 1036560 w 1590358"/>
              <a:gd name="connsiteY145" fmla="*/ 1171183 h 1295065"/>
              <a:gd name="connsiteX146" fmla="*/ 1058480 w 1590358"/>
              <a:gd name="connsiteY146" fmla="*/ 1174315 h 1295065"/>
              <a:gd name="connsiteX147" fmla="*/ 1067875 w 1590358"/>
              <a:gd name="connsiteY147" fmla="*/ 1177446 h 1295065"/>
              <a:gd name="connsiteX148" fmla="*/ 1099190 w 1590358"/>
              <a:gd name="connsiteY148" fmla="*/ 1183709 h 1295065"/>
              <a:gd name="connsiteX149" fmla="*/ 1236976 w 1590358"/>
              <a:gd name="connsiteY149" fmla="*/ 1149263 h 1295065"/>
              <a:gd name="connsiteX150" fmla="*/ 1233844 w 1590358"/>
              <a:gd name="connsiteY150" fmla="*/ 1136737 h 1295065"/>
              <a:gd name="connsiteX151" fmla="*/ 1230713 w 1590358"/>
              <a:gd name="connsiteY151" fmla="*/ 801665 h 1295065"/>
              <a:gd name="connsiteX152" fmla="*/ 1227581 w 1590358"/>
              <a:gd name="connsiteY152" fmla="*/ 792271 h 1295065"/>
              <a:gd name="connsiteX153" fmla="*/ 1224450 w 1590358"/>
              <a:gd name="connsiteY153" fmla="*/ 767219 h 1295065"/>
              <a:gd name="connsiteX154" fmla="*/ 1218187 w 1590358"/>
              <a:gd name="connsiteY154" fmla="*/ 729641 h 1295065"/>
              <a:gd name="connsiteX155" fmla="*/ 1221318 w 1590358"/>
              <a:gd name="connsiteY155" fmla="*/ 667011 h 1295065"/>
              <a:gd name="connsiteX156" fmla="*/ 1227581 w 1590358"/>
              <a:gd name="connsiteY156" fmla="*/ 657616 h 1295065"/>
              <a:gd name="connsiteX157" fmla="*/ 1230713 w 1590358"/>
              <a:gd name="connsiteY157" fmla="*/ 648222 h 1295065"/>
              <a:gd name="connsiteX158" fmla="*/ 1240107 w 1590358"/>
              <a:gd name="connsiteY158" fmla="*/ 635695 h 1295065"/>
              <a:gd name="connsiteX159" fmla="*/ 1246371 w 1590358"/>
              <a:gd name="connsiteY159" fmla="*/ 626301 h 1295065"/>
              <a:gd name="connsiteX160" fmla="*/ 1249502 w 1590358"/>
              <a:gd name="connsiteY160" fmla="*/ 616906 h 1295065"/>
              <a:gd name="connsiteX161" fmla="*/ 1271423 w 1590358"/>
              <a:gd name="connsiteY161" fmla="*/ 588723 h 1295065"/>
              <a:gd name="connsiteX162" fmla="*/ 1290212 w 1590358"/>
              <a:gd name="connsiteY162" fmla="*/ 576197 h 1295065"/>
              <a:gd name="connsiteX163" fmla="*/ 1299606 w 1590358"/>
              <a:gd name="connsiteY163" fmla="*/ 569934 h 1295065"/>
              <a:gd name="connsiteX164" fmla="*/ 1318395 w 1590358"/>
              <a:gd name="connsiteY164" fmla="*/ 554276 h 1295065"/>
              <a:gd name="connsiteX165" fmla="*/ 1327790 w 1590358"/>
              <a:gd name="connsiteY165" fmla="*/ 544882 h 1295065"/>
              <a:gd name="connsiteX166" fmla="*/ 1340316 w 1590358"/>
              <a:gd name="connsiteY166" fmla="*/ 538619 h 1295065"/>
              <a:gd name="connsiteX167" fmla="*/ 1362236 w 1590358"/>
              <a:gd name="connsiteY167" fmla="*/ 522961 h 1295065"/>
              <a:gd name="connsiteX168" fmla="*/ 1371631 w 1590358"/>
              <a:gd name="connsiteY168" fmla="*/ 519830 h 1295065"/>
              <a:gd name="connsiteX169" fmla="*/ 1381025 w 1590358"/>
              <a:gd name="connsiteY169" fmla="*/ 510435 h 1295065"/>
              <a:gd name="connsiteX170" fmla="*/ 1427998 w 1590358"/>
              <a:gd name="connsiteY170" fmla="*/ 501041 h 1295065"/>
              <a:gd name="connsiteX171" fmla="*/ 1459313 w 1590358"/>
              <a:gd name="connsiteY171" fmla="*/ 491646 h 1295065"/>
              <a:gd name="connsiteX172" fmla="*/ 1468707 w 1590358"/>
              <a:gd name="connsiteY172" fmla="*/ 485383 h 1295065"/>
              <a:gd name="connsiteX173" fmla="*/ 1478102 w 1590358"/>
              <a:gd name="connsiteY173" fmla="*/ 482252 h 1295065"/>
              <a:gd name="connsiteX174" fmla="*/ 1490628 w 1590358"/>
              <a:gd name="connsiteY174" fmla="*/ 472857 h 1295065"/>
              <a:gd name="connsiteX175" fmla="*/ 1521943 w 1590358"/>
              <a:gd name="connsiteY175" fmla="*/ 460331 h 1295065"/>
              <a:gd name="connsiteX176" fmla="*/ 1540732 w 1590358"/>
              <a:gd name="connsiteY176" fmla="*/ 454068 h 1295065"/>
              <a:gd name="connsiteX177" fmla="*/ 1550127 w 1590358"/>
              <a:gd name="connsiteY177" fmla="*/ 450937 h 1295065"/>
              <a:gd name="connsiteX178" fmla="*/ 1562653 w 1590358"/>
              <a:gd name="connsiteY178" fmla="*/ 435279 h 1295065"/>
              <a:gd name="connsiteX179" fmla="*/ 1565784 w 1590358"/>
              <a:gd name="connsiteY179" fmla="*/ 272441 h 1295065"/>
              <a:gd name="connsiteX180" fmla="*/ 1575179 w 1590358"/>
              <a:gd name="connsiteY180" fmla="*/ 231731 h 1295065"/>
              <a:gd name="connsiteX181" fmla="*/ 1581442 w 1590358"/>
              <a:gd name="connsiteY181" fmla="*/ 206679 h 1295065"/>
              <a:gd name="connsiteX182" fmla="*/ 1584573 w 1590358"/>
              <a:gd name="connsiteY182" fmla="*/ 197285 h 1295065"/>
              <a:gd name="connsiteX183" fmla="*/ 1584573 w 1590358"/>
              <a:gd name="connsiteY183" fmla="*/ 93945 h 1295065"/>
              <a:gd name="connsiteX0" fmla="*/ 1584573 w 1590358"/>
              <a:gd name="connsiteY0" fmla="*/ 93945 h 1295065"/>
              <a:gd name="connsiteX1" fmla="*/ 1509417 w 1590358"/>
              <a:gd name="connsiteY1" fmla="*/ 90813 h 1295065"/>
              <a:gd name="connsiteX2" fmla="*/ 1500023 w 1590358"/>
              <a:gd name="connsiteY2" fmla="*/ 87682 h 1295065"/>
              <a:gd name="connsiteX3" fmla="*/ 1449918 w 1590358"/>
              <a:gd name="connsiteY3" fmla="*/ 90813 h 1295065"/>
              <a:gd name="connsiteX4" fmla="*/ 1355973 w 1590358"/>
              <a:gd name="connsiteY4" fmla="*/ 87682 h 1295065"/>
              <a:gd name="connsiteX5" fmla="*/ 1321527 w 1590358"/>
              <a:gd name="connsiteY5" fmla="*/ 78287 h 1295065"/>
              <a:gd name="connsiteX6" fmla="*/ 1299606 w 1590358"/>
              <a:gd name="connsiteY6" fmla="*/ 72024 h 1295065"/>
              <a:gd name="connsiteX7" fmla="*/ 1290212 w 1590358"/>
              <a:gd name="connsiteY7" fmla="*/ 68893 h 1295065"/>
              <a:gd name="connsiteX8" fmla="*/ 1218187 w 1590358"/>
              <a:gd name="connsiteY8" fmla="*/ 65761 h 1295065"/>
              <a:gd name="connsiteX9" fmla="*/ 1158688 w 1590358"/>
              <a:gd name="connsiteY9" fmla="*/ 59499 h 1295065"/>
              <a:gd name="connsiteX10" fmla="*/ 1139899 w 1590358"/>
              <a:gd name="connsiteY10" fmla="*/ 81419 h 1295065"/>
              <a:gd name="connsiteX11" fmla="*/ 1133637 w 1590358"/>
              <a:gd name="connsiteY11" fmla="*/ 75156 h 1295065"/>
              <a:gd name="connsiteX12" fmla="*/ 1092927 w 1590358"/>
              <a:gd name="connsiteY12" fmla="*/ 72024 h 1295065"/>
              <a:gd name="connsiteX13" fmla="*/ 1077269 w 1590358"/>
              <a:gd name="connsiteY13" fmla="*/ 81419 h 1295065"/>
              <a:gd name="connsiteX14" fmla="*/ 1058480 w 1590358"/>
              <a:gd name="connsiteY14" fmla="*/ 72024 h 1295065"/>
              <a:gd name="connsiteX15" fmla="*/ 1039691 w 1590358"/>
              <a:gd name="connsiteY15" fmla="*/ 65761 h 1295065"/>
              <a:gd name="connsiteX16" fmla="*/ 1020902 w 1590358"/>
              <a:gd name="connsiteY16" fmla="*/ 53235 h 1295065"/>
              <a:gd name="connsiteX17" fmla="*/ 986455 w 1590358"/>
              <a:gd name="connsiteY17" fmla="*/ 46972 h 1295065"/>
              <a:gd name="connsiteX18" fmla="*/ 970798 w 1590358"/>
              <a:gd name="connsiteY18" fmla="*/ 43841 h 1295065"/>
              <a:gd name="connsiteX19" fmla="*/ 942614 w 1590358"/>
              <a:gd name="connsiteY19" fmla="*/ 46972 h 1295065"/>
              <a:gd name="connsiteX20" fmla="*/ 933220 w 1590358"/>
              <a:gd name="connsiteY20" fmla="*/ 50104 h 1295065"/>
              <a:gd name="connsiteX21" fmla="*/ 920694 w 1590358"/>
              <a:gd name="connsiteY21" fmla="*/ 53235 h 1295065"/>
              <a:gd name="connsiteX22" fmla="*/ 911299 w 1590358"/>
              <a:gd name="connsiteY22" fmla="*/ 56367 h 1295065"/>
              <a:gd name="connsiteX23" fmla="*/ 867458 w 1590358"/>
              <a:gd name="connsiteY23" fmla="*/ 59498 h 1295065"/>
              <a:gd name="connsiteX24" fmla="*/ 858064 w 1590358"/>
              <a:gd name="connsiteY24" fmla="*/ 65761 h 1295065"/>
              <a:gd name="connsiteX25" fmla="*/ 814223 w 1590358"/>
              <a:gd name="connsiteY25" fmla="*/ 65761 h 1295065"/>
              <a:gd name="connsiteX26" fmla="*/ 795434 w 1590358"/>
              <a:gd name="connsiteY26" fmla="*/ 50104 h 1295065"/>
              <a:gd name="connsiteX27" fmla="*/ 789171 w 1590358"/>
              <a:gd name="connsiteY27" fmla="*/ 40709 h 1295065"/>
              <a:gd name="connsiteX28" fmla="*/ 782907 w 1590358"/>
              <a:gd name="connsiteY28" fmla="*/ 34446 h 1295065"/>
              <a:gd name="connsiteX29" fmla="*/ 776644 w 1590358"/>
              <a:gd name="connsiteY29" fmla="*/ 25052 h 1295065"/>
              <a:gd name="connsiteX30" fmla="*/ 757855 w 1590358"/>
              <a:gd name="connsiteY30" fmla="*/ 18789 h 1295065"/>
              <a:gd name="connsiteX31" fmla="*/ 748461 w 1590358"/>
              <a:gd name="connsiteY31" fmla="*/ 12526 h 1295065"/>
              <a:gd name="connsiteX32" fmla="*/ 739066 w 1590358"/>
              <a:gd name="connsiteY32" fmla="*/ 3131 h 1295065"/>
              <a:gd name="connsiteX33" fmla="*/ 729672 w 1590358"/>
              <a:gd name="connsiteY33" fmla="*/ 0 h 1295065"/>
              <a:gd name="connsiteX34" fmla="*/ 720277 w 1590358"/>
              <a:gd name="connsiteY34" fmla="*/ 3131 h 1295065"/>
              <a:gd name="connsiteX35" fmla="*/ 707751 w 1590358"/>
              <a:gd name="connsiteY35" fmla="*/ 21920 h 1295065"/>
              <a:gd name="connsiteX36" fmla="*/ 695225 w 1590358"/>
              <a:gd name="connsiteY36" fmla="*/ 37578 h 1295065"/>
              <a:gd name="connsiteX37" fmla="*/ 676436 w 1590358"/>
              <a:gd name="connsiteY37" fmla="*/ 53235 h 1295065"/>
              <a:gd name="connsiteX38" fmla="*/ 657647 w 1590358"/>
              <a:gd name="connsiteY38" fmla="*/ 59498 h 1295065"/>
              <a:gd name="connsiteX39" fmla="*/ 648253 w 1590358"/>
              <a:gd name="connsiteY39" fmla="*/ 65761 h 1295065"/>
              <a:gd name="connsiteX40" fmla="*/ 638858 w 1590358"/>
              <a:gd name="connsiteY40" fmla="*/ 68893 h 1295065"/>
              <a:gd name="connsiteX41" fmla="*/ 635727 w 1590358"/>
              <a:gd name="connsiteY41" fmla="*/ 78287 h 1295065"/>
              <a:gd name="connsiteX42" fmla="*/ 626332 w 1590358"/>
              <a:gd name="connsiteY42" fmla="*/ 87682 h 1295065"/>
              <a:gd name="connsiteX43" fmla="*/ 613806 w 1590358"/>
              <a:gd name="connsiteY43" fmla="*/ 106471 h 1295065"/>
              <a:gd name="connsiteX44" fmla="*/ 604412 w 1590358"/>
              <a:gd name="connsiteY44" fmla="*/ 109602 h 1295065"/>
              <a:gd name="connsiteX45" fmla="*/ 595017 w 1590358"/>
              <a:gd name="connsiteY45" fmla="*/ 115865 h 1295065"/>
              <a:gd name="connsiteX46" fmla="*/ 585623 w 1590358"/>
              <a:gd name="connsiteY46" fmla="*/ 118997 h 1295065"/>
              <a:gd name="connsiteX47" fmla="*/ 566834 w 1590358"/>
              <a:gd name="connsiteY47" fmla="*/ 131523 h 1295065"/>
              <a:gd name="connsiteX48" fmla="*/ 557439 w 1590358"/>
              <a:gd name="connsiteY48" fmla="*/ 137786 h 1295065"/>
              <a:gd name="connsiteX49" fmla="*/ 544913 w 1590358"/>
              <a:gd name="connsiteY49" fmla="*/ 156575 h 1295065"/>
              <a:gd name="connsiteX50" fmla="*/ 532387 w 1590358"/>
              <a:gd name="connsiteY50" fmla="*/ 184759 h 1295065"/>
              <a:gd name="connsiteX51" fmla="*/ 522992 w 1590358"/>
              <a:gd name="connsiteY51" fmla="*/ 194153 h 1295065"/>
              <a:gd name="connsiteX52" fmla="*/ 513598 w 1590358"/>
              <a:gd name="connsiteY52" fmla="*/ 197285 h 1295065"/>
              <a:gd name="connsiteX53" fmla="*/ 504203 w 1590358"/>
              <a:gd name="connsiteY53" fmla="*/ 203548 h 1295065"/>
              <a:gd name="connsiteX54" fmla="*/ 466625 w 1590358"/>
              <a:gd name="connsiteY54" fmla="*/ 209811 h 1295065"/>
              <a:gd name="connsiteX55" fmla="*/ 457231 w 1590358"/>
              <a:gd name="connsiteY55" fmla="*/ 216074 h 1295065"/>
              <a:gd name="connsiteX56" fmla="*/ 438442 w 1590358"/>
              <a:gd name="connsiteY56" fmla="*/ 234863 h 1295065"/>
              <a:gd name="connsiteX57" fmla="*/ 429047 w 1590358"/>
              <a:gd name="connsiteY57" fmla="*/ 241126 h 1295065"/>
              <a:gd name="connsiteX58" fmla="*/ 413390 w 1590358"/>
              <a:gd name="connsiteY58" fmla="*/ 259915 h 1295065"/>
              <a:gd name="connsiteX59" fmla="*/ 410258 w 1590358"/>
              <a:gd name="connsiteY59" fmla="*/ 269309 h 1295065"/>
              <a:gd name="connsiteX60" fmla="*/ 397732 w 1590358"/>
              <a:gd name="connsiteY60" fmla="*/ 288098 h 1295065"/>
              <a:gd name="connsiteX61" fmla="*/ 394601 w 1590358"/>
              <a:gd name="connsiteY61" fmla="*/ 316282 h 1295065"/>
              <a:gd name="connsiteX62" fmla="*/ 413390 w 1590358"/>
              <a:gd name="connsiteY62" fmla="*/ 310019 h 1295065"/>
              <a:gd name="connsiteX63" fmla="*/ 422784 w 1590358"/>
              <a:gd name="connsiteY63" fmla="*/ 288098 h 1295065"/>
              <a:gd name="connsiteX64" fmla="*/ 441573 w 1590358"/>
              <a:gd name="connsiteY64" fmla="*/ 259915 h 1295065"/>
              <a:gd name="connsiteX65" fmla="*/ 450968 w 1590358"/>
              <a:gd name="connsiteY65" fmla="*/ 253652 h 1295065"/>
              <a:gd name="connsiteX66" fmla="*/ 469757 w 1590358"/>
              <a:gd name="connsiteY66" fmla="*/ 241126 h 1295065"/>
              <a:gd name="connsiteX67" fmla="*/ 476020 w 1590358"/>
              <a:gd name="connsiteY67" fmla="*/ 250520 h 1295065"/>
              <a:gd name="connsiteX68" fmla="*/ 469757 w 1590358"/>
              <a:gd name="connsiteY68" fmla="*/ 278704 h 1295065"/>
              <a:gd name="connsiteX69" fmla="*/ 460362 w 1590358"/>
              <a:gd name="connsiteY69" fmla="*/ 284967 h 1295065"/>
              <a:gd name="connsiteX70" fmla="*/ 447836 w 1590358"/>
              <a:gd name="connsiteY70" fmla="*/ 294361 h 1295065"/>
              <a:gd name="connsiteX71" fmla="*/ 441573 w 1590358"/>
              <a:gd name="connsiteY71" fmla="*/ 303756 h 1295065"/>
              <a:gd name="connsiteX72" fmla="*/ 419653 w 1590358"/>
              <a:gd name="connsiteY72" fmla="*/ 328808 h 1295065"/>
              <a:gd name="connsiteX73" fmla="*/ 413390 w 1590358"/>
              <a:gd name="connsiteY73" fmla="*/ 347597 h 1295065"/>
              <a:gd name="connsiteX74" fmla="*/ 397732 w 1590358"/>
              <a:gd name="connsiteY74" fmla="*/ 403964 h 1295065"/>
              <a:gd name="connsiteX75" fmla="*/ 378943 w 1590358"/>
              <a:gd name="connsiteY75" fmla="*/ 422753 h 1295065"/>
              <a:gd name="connsiteX76" fmla="*/ 375812 w 1590358"/>
              <a:gd name="connsiteY76" fmla="*/ 432148 h 1295065"/>
              <a:gd name="connsiteX77" fmla="*/ 363286 w 1590358"/>
              <a:gd name="connsiteY77" fmla="*/ 450937 h 1295065"/>
              <a:gd name="connsiteX78" fmla="*/ 350760 w 1590358"/>
              <a:gd name="connsiteY78" fmla="*/ 469726 h 1295065"/>
              <a:gd name="connsiteX79" fmla="*/ 338234 w 1590358"/>
              <a:gd name="connsiteY79" fmla="*/ 488515 h 1295065"/>
              <a:gd name="connsiteX80" fmla="*/ 331971 w 1590358"/>
              <a:gd name="connsiteY80" fmla="*/ 551145 h 1295065"/>
              <a:gd name="connsiteX81" fmla="*/ 325707 w 1590358"/>
              <a:gd name="connsiteY81" fmla="*/ 557408 h 1295065"/>
              <a:gd name="connsiteX82" fmla="*/ 300655 w 1590358"/>
              <a:gd name="connsiteY82" fmla="*/ 557407 h 1295065"/>
              <a:gd name="connsiteX83" fmla="*/ 284998 w 1590358"/>
              <a:gd name="connsiteY83" fmla="*/ 591854 h 1295065"/>
              <a:gd name="connsiteX84" fmla="*/ 278735 w 1590358"/>
              <a:gd name="connsiteY84" fmla="*/ 610643 h 1295065"/>
              <a:gd name="connsiteX85" fmla="*/ 259946 w 1590358"/>
              <a:gd name="connsiteY85" fmla="*/ 626301 h 1295065"/>
              <a:gd name="connsiteX86" fmla="*/ 253683 w 1590358"/>
              <a:gd name="connsiteY86" fmla="*/ 673274 h 1295065"/>
              <a:gd name="connsiteX87" fmla="*/ 247420 w 1590358"/>
              <a:gd name="connsiteY87" fmla="*/ 692063 h 1295065"/>
              <a:gd name="connsiteX88" fmla="*/ 244288 w 1590358"/>
              <a:gd name="connsiteY88" fmla="*/ 701457 h 1295065"/>
              <a:gd name="connsiteX89" fmla="*/ 228631 w 1590358"/>
              <a:gd name="connsiteY89" fmla="*/ 720246 h 1295065"/>
              <a:gd name="connsiteX90" fmla="*/ 222368 w 1590358"/>
              <a:gd name="connsiteY90" fmla="*/ 739035 h 1295065"/>
              <a:gd name="connsiteX91" fmla="*/ 219236 w 1590358"/>
              <a:gd name="connsiteY91" fmla="*/ 748430 h 1295065"/>
              <a:gd name="connsiteX92" fmla="*/ 209842 w 1590358"/>
              <a:gd name="connsiteY92" fmla="*/ 767219 h 1295065"/>
              <a:gd name="connsiteX93" fmla="*/ 200447 w 1590358"/>
              <a:gd name="connsiteY93" fmla="*/ 770350 h 1295065"/>
              <a:gd name="connsiteX94" fmla="*/ 166001 w 1590358"/>
              <a:gd name="connsiteY94" fmla="*/ 760956 h 1295065"/>
              <a:gd name="connsiteX95" fmla="*/ 134686 w 1590358"/>
              <a:gd name="connsiteY95" fmla="*/ 795402 h 1295065"/>
              <a:gd name="connsiteX96" fmla="*/ 131554 w 1590358"/>
              <a:gd name="connsiteY96" fmla="*/ 804797 h 1295065"/>
              <a:gd name="connsiteX97" fmla="*/ 112765 w 1590358"/>
              <a:gd name="connsiteY97" fmla="*/ 820454 h 1295065"/>
              <a:gd name="connsiteX98" fmla="*/ 103371 w 1590358"/>
              <a:gd name="connsiteY98" fmla="*/ 823586 h 1295065"/>
              <a:gd name="connsiteX99" fmla="*/ 87713 w 1590358"/>
              <a:gd name="connsiteY99" fmla="*/ 839243 h 1295065"/>
              <a:gd name="connsiteX100" fmla="*/ 78318 w 1590358"/>
              <a:gd name="connsiteY100" fmla="*/ 873690 h 1295065"/>
              <a:gd name="connsiteX101" fmla="*/ 78318 w 1590358"/>
              <a:gd name="connsiteY101" fmla="*/ 873690 h 1295065"/>
              <a:gd name="connsiteX102" fmla="*/ 75187 w 1590358"/>
              <a:gd name="connsiteY102" fmla="*/ 886216 h 1295065"/>
              <a:gd name="connsiteX103" fmla="*/ 65792 w 1590358"/>
              <a:gd name="connsiteY103" fmla="*/ 914400 h 1295065"/>
              <a:gd name="connsiteX104" fmla="*/ 62661 w 1590358"/>
              <a:gd name="connsiteY104" fmla="*/ 923794 h 1295065"/>
              <a:gd name="connsiteX105" fmla="*/ 59529 w 1590358"/>
              <a:gd name="connsiteY105" fmla="*/ 933189 h 1295065"/>
              <a:gd name="connsiteX106" fmla="*/ 62661 w 1590358"/>
              <a:gd name="connsiteY106" fmla="*/ 945715 h 1295065"/>
              <a:gd name="connsiteX107" fmla="*/ 65792 w 1590358"/>
              <a:gd name="connsiteY107" fmla="*/ 955109 h 1295065"/>
              <a:gd name="connsiteX108" fmla="*/ 53266 w 1590358"/>
              <a:gd name="connsiteY108" fmla="*/ 973898 h 1295065"/>
              <a:gd name="connsiteX109" fmla="*/ 50135 w 1590358"/>
              <a:gd name="connsiteY109" fmla="*/ 983293 h 1295065"/>
              <a:gd name="connsiteX110" fmla="*/ 43872 w 1590358"/>
              <a:gd name="connsiteY110" fmla="*/ 1036528 h 1295065"/>
              <a:gd name="connsiteX111" fmla="*/ 34477 w 1590358"/>
              <a:gd name="connsiteY111" fmla="*/ 1064712 h 1295065"/>
              <a:gd name="connsiteX112" fmla="*/ 31346 w 1590358"/>
              <a:gd name="connsiteY112" fmla="*/ 1074106 h 1295065"/>
              <a:gd name="connsiteX113" fmla="*/ 21951 w 1590358"/>
              <a:gd name="connsiteY113" fmla="*/ 1136737 h 1295065"/>
              <a:gd name="connsiteX114" fmla="*/ 18820 w 1590358"/>
              <a:gd name="connsiteY114" fmla="*/ 1149263 h 1295065"/>
              <a:gd name="connsiteX115" fmla="*/ 12557 w 1590358"/>
              <a:gd name="connsiteY115" fmla="*/ 1196235 h 1295065"/>
              <a:gd name="connsiteX116" fmla="*/ 9425 w 1590358"/>
              <a:gd name="connsiteY116" fmla="*/ 1205630 h 1295065"/>
              <a:gd name="connsiteX117" fmla="*/ 6294 w 1590358"/>
              <a:gd name="connsiteY117" fmla="*/ 1221287 h 1295065"/>
              <a:gd name="connsiteX118" fmla="*/ 31 w 1590358"/>
              <a:gd name="connsiteY118" fmla="*/ 1240076 h 1295065"/>
              <a:gd name="connsiteX119" fmla="*/ 3162 w 1590358"/>
              <a:gd name="connsiteY119" fmla="*/ 1293312 h 1295065"/>
              <a:gd name="connsiteX120" fmla="*/ 15688 w 1590358"/>
              <a:gd name="connsiteY120" fmla="*/ 1290180 h 1295065"/>
              <a:gd name="connsiteX121" fmla="*/ 21951 w 1590358"/>
              <a:gd name="connsiteY121" fmla="*/ 1271391 h 1295065"/>
              <a:gd name="connsiteX122" fmla="*/ 25083 w 1590358"/>
              <a:gd name="connsiteY122" fmla="*/ 1261997 h 1295065"/>
              <a:gd name="connsiteX123" fmla="*/ 28214 w 1590358"/>
              <a:gd name="connsiteY123" fmla="*/ 1211893 h 1295065"/>
              <a:gd name="connsiteX124" fmla="*/ 37609 w 1590358"/>
              <a:gd name="connsiteY124" fmla="*/ 1183709 h 1295065"/>
              <a:gd name="connsiteX125" fmla="*/ 43872 w 1590358"/>
              <a:gd name="connsiteY125" fmla="*/ 1161789 h 1295065"/>
              <a:gd name="connsiteX126" fmla="*/ 50135 w 1590358"/>
              <a:gd name="connsiteY126" fmla="*/ 1143000 h 1295065"/>
              <a:gd name="connsiteX127" fmla="*/ 53266 w 1590358"/>
              <a:gd name="connsiteY127" fmla="*/ 1121079 h 1295065"/>
              <a:gd name="connsiteX128" fmla="*/ 56398 w 1590358"/>
              <a:gd name="connsiteY128" fmla="*/ 1111685 h 1295065"/>
              <a:gd name="connsiteX129" fmla="*/ 75187 w 1590358"/>
              <a:gd name="connsiteY129" fmla="*/ 1099159 h 1295065"/>
              <a:gd name="connsiteX130" fmla="*/ 119028 w 1590358"/>
              <a:gd name="connsiteY130" fmla="*/ 1102290 h 1295065"/>
              <a:gd name="connsiteX131" fmla="*/ 150343 w 1590358"/>
              <a:gd name="connsiteY131" fmla="*/ 1105422 h 1295065"/>
              <a:gd name="connsiteX132" fmla="*/ 222368 w 1590358"/>
              <a:gd name="connsiteY132" fmla="*/ 1108553 h 1295065"/>
              <a:gd name="connsiteX133" fmla="*/ 231762 w 1590358"/>
              <a:gd name="connsiteY133" fmla="*/ 1111685 h 1295065"/>
              <a:gd name="connsiteX134" fmla="*/ 369549 w 1590358"/>
              <a:gd name="connsiteY134" fmla="*/ 1117948 h 1295065"/>
              <a:gd name="connsiteX135" fmla="*/ 416521 w 1590358"/>
              <a:gd name="connsiteY135" fmla="*/ 1121079 h 1295065"/>
              <a:gd name="connsiteX136" fmla="*/ 447836 w 1590358"/>
              <a:gd name="connsiteY136" fmla="*/ 1127342 h 1295065"/>
              <a:gd name="connsiteX137" fmla="*/ 497940 w 1590358"/>
              <a:gd name="connsiteY137" fmla="*/ 1133605 h 1295065"/>
              <a:gd name="connsiteX138" fmla="*/ 601280 w 1590358"/>
              <a:gd name="connsiteY138" fmla="*/ 1136737 h 1295065"/>
              <a:gd name="connsiteX139" fmla="*/ 770381 w 1590358"/>
              <a:gd name="connsiteY139" fmla="*/ 1139868 h 1295065"/>
              <a:gd name="connsiteX140" fmla="*/ 786039 w 1590358"/>
              <a:gd name="connsiteY140" fmla="*/ 1143000 h 1295065"/>
              <a:gd name="connsiteX141" fmla="*/ 886247 w 1590358"/>
              <a:gd name="connsiteY141" fmla="*/ 1149263 h 1295065"/>
              <a:gd name="connsiteX142" fmla="*/ 930088 w 1590358"/>
              <a:gd name="connsiteY142" fmla="*/ 1155526 h 1295065"/>
              <a:gd name="connsiteX143" fmla="*/ 967666 w 1590358"/>
              <a:gd name="connsiteY143" fmla="*/ 1161789 h 1295065"/>
              <a:gd name="connsiteX144" fmla="*/ 992718 w 1590358"/>
              <a:gd name="connsiteY144" fmla="*/ 1164920 h 1295065"/>
              <a:gd name="connsiteX145" fmla="*/ 1036560 w 1590358"/>
              <a:gd name="connsiteY145" fmla="*/ 1171183 h 1295065"/>
              <a:gd name="connsiteX146" fmla="*/ 1058480 w 1590358"/>
              <a:gd name="connsiteY146" fmla="*/ 1174315 h 1295065"/>
              <a:gd name="connsiteX147" fmla="*/ 1067875 w 1590358"/>
              <a:gd name="connsiteY147" fmla="*/ 1177446 h 1295065"/>
              <a:gd name="connsiteX148" fmla="*/ 1099190 w 1590358"/>
              <a:gd name="connsiteY148" fmla="*/ 1183709 h 1295065"/>
              <a:gd name="connsiteX149" fmla="*/ 1236976 w 1590358"/>
              <a:gd name="connsiteY149" fmla="*/ 1149263 h 1295065"/>
              <a:gd name="connsiteX150" fmla="*/ 1233844 w 1590358"/>
              <a:gd name="connsiteY150" fmla="*/ 1136737 h 1295065"/>
              <a:gd name="connsiteX151" fmla="*/ 1230713 w 1590358"/>
              <a:gd name="connsiteY151" fmla="*/ 801665 h 1295065"/>
              <a:gd name="connsiteX152" fmla="*/ 1227581 w 1590358"/>
              <a:gd name="connsiteY152" fmla="*/ 792271 h 1295065"/>
              <a:gd name="connsiteX153" fmla="*/ 1224450 w 1590358"/>
              <a:gd name="connsiteY153" fmla="*/ 767219 h 1295065"/>
              <a:gd name="connsiteX154" fmla="*/ 1218187 w 1590358"/>
              <a:gd name="connsiteY154" fmla="*/ 729641 h 1295065"/>
              <a:gd name="connsiteX155" fmla="*/ 1221318 w 1590358"/>
              <a:gd name="connsiteY155" fmla="*/ 667011 h 1295065"/>
              <a:gd name="connsiteX156" fmla="*/ 1227581 w 1590358"/>
              <a:gd name="connsiteY156" fmla="*/ 657616 h 1295065"/>
              <a:gd name="connsiteX157" fmla="*/ 1230713 w 1590358"/>
              <a:gd name="connsiteY157" fmla="*/ 648222 h 1295065"/>
              <a:gd name="connsiteX158" fmla="*/ 1240107 w 1590358"/>
              <a:gd name="connsiteY158" fmla="*/ 635695 h 1295065"/>
              <a:gd name="connsiteX159" fmla="*/ 1246371 w 1590358"/>
              <a:gd name="connsiteY159" fmla="*/ 626301 h 1295065"/>
              <a:gd name="connsiteX160" fmla="*/ 1249502 w 1590358"/>
              <a:gd name="connsiteY160" fmla="*/ 616906 h 1295065"/>
              <a:gd name="connsiteX161" fmla="*/ 1271423 w 1590358"/>
              <a:gd name="connsiteY161" fmla="*/ 588723 h 1295065"/>
              <a:gd name="connsiteX162" fmla="*/ 1290212 w 1590358"/>
              <a:gd name="connsiteY162" fmla="*/ 576197 h 1295065"/>
              <a:gd name="connsiteX163" fmla="*/ 1299606 w 1590358"/>
              <a:gd name="connsiteY163" fmla="*/ 569934 h 1295065"/>
              <a:gd name="connsiteX164" fmla="*/ 1318395 w 1590358"/>
              <a:gd name="connsiteY164" fmla="*/ 554276 h 1295065"/>
              <a:gd name="connsiteX165" fmla="*/ 1327790 w 1590358"/>
              <a:gd name="connsiteY165" fmla="*/ 544882 h 1295065"/>
              <a:gd name="connsiteX166" fmla="*/ 1340316 w 1590358"/>
              <a:gd name="connsiteY166" fmla="*/ 538619 h 1295065"/>
              <a:gd name="connsiteX167" fmla="*/ 1362236 w 1590358"/>
              <a:gd name="connsiteY167" fmla="*/ 522961 h 1295065"/>
              <a:gd name="connsiteX168" fmla="*/ 1371631 w 1590358"/>
              <a:gd name="connsiteY168" fmla="*/ 519830 h 1295065"/>
              <a:gd name="connsiteX169" fmla="*/ 1381025 w 1590358"/>
              <a:gd name="connsiteY169" fmla="*/ 510435 h 1295065"/>
              <a:gd name="connsiteX170" fmla="*/ 1427998 w 1590358"/>
              <a:gd name="connsiteY170" fmla="*/ 501041 h 1295065"/>
              <a:gd name="connsiteX171" fmla="*/ 1459313 w 1590358"/>
              <a:gd name="connsiteY171" fmla="*/ 491646 h 1295065"/>
              <a:gd name="connsiteX172" fmla="*/ 1468707 w 1590358"/>
              <a:gd name="connsiteY172" fmla="*/ 485383 h 1295065"/>
              <a:gd name="connsiteX173" fmla="*/ 1478102 w 1590358"/>
              <a:gd name="connsiteY173" fmla="*/ 482252 h 1295065"/>
              <a:gd name="connsiteX174" fmla="*/ 1490628 w 1590358"/>
              <a:gd name="connsiteY174" fmla="*/ 472857 h 1295065"/>
              <a:gd name="connsiteX175" fmla="*/ 1521943 w 1590358"/>
              <a:gd name="connsiteY175" fmla="*/ 460331 h 1295065"/>
              <a:gd name="connsiteX176" fmla="*/ 1540732 w 1590358"/>
              <a:gd name="connsiteY176" fmla="*/ 454068 h 1295065"/>
              <a:gd name="connsiteX177" fmla="*/ 1550127 w 1590358"/>
              <a:gd name="connsiteY177" fmla="*/ 450937 h 1295065"/>
              <a:gd name="connsiteX178" fmla="*/ 1562653 w 1590358"/>
              <a:gd name="connsiteY178" fmla="*/ 435279 h 1295065"/>
              <a:gd name="connsiteX179" fmla="*/ 1565784 w 1590358"/>
              <a:gd name="connsiteY179" fmla="*/ 272441 h 1295065"/>
              <a:gd name="connsiteX180" fmla="*/ 1575179 w 1590358"/>
              <a:gd name="connsiteY180" fmla="*/ 231731 h 1295065"/>
              <a:gd name="connsiteX181" fmla="*/ 1581442 w 1590358"/>
              <a:gd name="connsiteY181" fmla="*/ 206679 h 1295065"/>
              <a:gd name="connsiteX182" fmla="*/ 1584573 w 1590358"/>
              <a:gd name="connsiteY182" fmla="*/ 197285 h 1295065"/>
              <a:gd name="connsiteX183" fmla="*/ 1584573 w 1590358"/>
              <a:gd name="connsiteY183" fmla="*/ 93945 h 1295065"/>
              <a:gd name="connsiteX0" fmla="*/ 1584573 w 1590358"/>
              <a:gd name="connsiteY0" fmla="*/ 93945 h 1295065"/>
              <a:gd name="connsiteX1" fmla="*/ 1509417 w 1590358"/>
              <a:gd name="connsiteY1" fmla="*/ 90813 h 1295065"/>
              <a:gd name="connsiteX2" fmla="*/ 1500023 w 1590358"/>
              <a:gd name="connsiteY2" fmla="*/ 87682 h 1295065"/>
              <a:gd name="connsiteX3" fmla="*/ 1449918 w 1590358"/>
              <a:gd name="connsiteY3" fmla="*/ 90813 h 1295065"/>
              <a:gd name="connsiteX4" fmla="*/ 1355973 w 1590358"/>
              <a:gd name="connsiteY4" fmla="*/ 87682 h 1295065"/>
              <a:gd name="connsiteX5" fmla="*/ 1321527 w 1590358"/>
              <a:gd name="connsiteY5" fmla="*/ 78287 h 1295065"/>
              <a:gd name="connsiteX6" fmla="*/ 1299606 w 1590358"/>
              <a:gd name="connsiteY6" fmla="*/ 72024 h 1295065"/>
              <a:gd name="connsiteX7" fmla="*/ 1290212 w 1590358"/>
              <a:gd name="connsiteY7" fmla="*/ 68893 h 1295065"/>
              <a:gd name="connsiteX8" fmla="*/ 1218187 w 1590358"/>
              <a:gd name="connsiteY8" fmla="*/ 65761 h 1295065"/>
              <a:gd name="connsiteX9" fmla="*/ 1158688 w 1590358"/>
              <a:gd name="connsiteY9" fmla="*/ 59499 h 1295065"/>
              <a:gd name="connsiteX10" fmla="*/ 1139899 w 1590358"/>
              <a:gd name="connsiteY10" fmla="*/ 81419 h 1295065"/>
              <a:gd name="connsiteX11" fmla="*/ 1133637 w 1590358"/>
              <a:gd name="connsiteY11" fmla="*/ 75156 h 1295065"/>
              <a:gd name="connsiteX12" fmla="*/ 1092927 w 1590358"/>
              <a:gd name="connsiteY12" fmla="*/ 72024 h 1295065"/>
              <a:gd name="connsiteX13" fmla="*/ 1077269 w 1590358"/>
              <a:gd name="connsiteY13" fmla="*/ 81419 h 1295065"/>
              <a:gd name="connsiteX14" fmla="*/ 1058480 w 1590358"/>
              <a:gd name="connsiteY14" fmla="*/ 72024 h 1295065"/>
              <a:gd name="connsiteX15" fmla="*/ 1039691 w 1590358"/>
              <a:gd name="connsiteY15" fmla="*/ 65761 h 1295065"/>
              <a:gd name="connsiteX16" fmla="*/ 1020902 w 1590358"/>
              <a:gd name="connsiteY16" fmla="*/ 53235 h 1295065"/>
              <a:gd name="connsiteX17" fmla="*/ 986455 w 1590358"/>
              <a:gd name="connsiteY17" fmla="*/ 46972 h 1295065"/>
              <a:gd name="connsiteX18" fmla="*/ 970798 w 1590358"/>
              <a:gd name="connsiteY18" fmla="*/ 43841 h 1295065"/>
              <a:gd name="connsiteX19" fmla="*/ 942614 w 1590358"/>
              <a:gd name="connsiteY19" fmla="*/ 46972 h 1295065"/>
              <a:gd name="connsiteX20" fmla="*/ 933220 w 1590358"/>
              <a:gd name="connsiteY20" fmla="*/ 50104 h 1295065"/>
              <a:gd name="connsiteX21" fmla="*/ 920694 w 1590358"/>
              <a:gd name="connsiteY21" fmla="*/ 53235 h 1295065"/>
              <a:gd name="connsiteX22" fmla="*/ 911299 w 1590358"/>
              <a:gd name="connsiteY22" fmla="*/ 56367 h 1295065"/>
              <a:gd name="connsiteX23" fmla="*/ 867458 w 1590358"/>
              <a:gd name="connsiteY23" fmla="*/ 59498 h 1295065"/>
              <a:gd name="connsiteX24" fmla="*/ 858064 w 1590358"/>
              <a:gd name="connsiteY24" fmla="*/ 65761 h 1295065"/>
              <a:gd name="connsiteX25" fmla="*/ 814223 w 1590358"/>
              <a:gd name="connsiteY25" fmla="*/ 65761 h 1295065"/>
              <a:gd name="connsiteX26" fmla="*/ 795434 w 1590358"/>
              <a:gd name="connsiteY26" fmla="*/ 50104 h 1295065"/>
              <a:gd name="connsiteX27" fmla="*/ 789171 w 1590358"/>
              <a:gd name="connsiteY27" fmla="*/ 40709 h 1295065"/>
              <a:gd name="connsiteX28" fmla="*/ 782907 w 1590358"/>
              <a:gd name="connsiteY28" fmla="*/ 34446 h 1295065"/>
              <a:gd name="connsiteX29" fmla="*/ 786038 w 1590358"/>
              <a:gd name="connsiteY29" fmla="*/ 18789 h 1295065"/>
              <a:gd name="connsiteX30" fmla="*/ 757855 w 1590358"/>
              <a:gd name="connsiteY30" fmla="*/ 18789 h 1295065"/>
              <a:gd name="connsiteX31" fmla="*/ 748461 w 1590358"/>
              <a:gd name="connsiteY31" fmla="*/ 12526 h 1295065"/>
              <a:gd name="connsiteX32" fmla="*/ 739066 w 1590358"/>
              <a:gd name="connsiteY32" fmla="*/ 3131 h 1295065"/>
              <a:gd name="connsiteX33" fmla="*/ 729672 w 1590358"/>
              <a:gd name="connsiteY33" fmla="*/ 0 h 1295065"/>
              <a:gd name="connsiteX34" fmla="*/ 720277 w 1590358"/>
              <a:gd name="connsiteY34" fmla="*/ 3131 h 1295065"/>
              <a:gd name="connsiteX35" fmla="*/ 707751 w 1590358"/>
              <a:gd name="connsiteY35" fmla="*/ 21920 h 1295065"/>
              <a:gd name="connsiteX36" fmla="*/ 695225 w 1590358"/>
              <a:gd name="connsiteY36" fmla="*/ 37578 h 1295065"/>
              <a:gd name="connsiteX37" fmla="*/ 676436 w 1590358"/>
              <a:gd name="connsiteY37" fmla="*/ 53235 h 1295065"/>
              <a:gd name="connsiteX38" fmla="*/ 657647 w 1590358"/>
              <a:gd name="connsiteY38" fmla="*/ 59498 h 1295065"/>
              <a:gd name="connsiteX39" fmla="*/ 648253 w 1590358"/>
              <a:gd name="connsiteY39" fmla="*/ 65761 h 1295065"/>
              <a:gd name="connsiteX40" fmla="*/ 638858 w 1590358"/>
              <a:gd name="connsiteY40" fmla="*/ 68893 h 1295065"/>
              <a:gd name="connsiteX41" fmla="*/ 635727 w 1590358"/>
              <a:gd name="connsiteY41" fmla="*/ 78287 h 1295065"/>
              <a:gd name="connsiteX42" fmla="*/ 626332 w 1590358"/>
              <a:gd name="connsiteY42" fmla="*/ 87682 h 1295065"/>
              <a:gd name="connsiteX43" fmla="*/ 613806 w 1590358"/>
              <a:gd name="connsiteY43" fmla="*/ 106471 h 1295065"/>
              <a:gd name="connsiteX44" fmla="*/ 604412 w 1590358"/>
              <a:gd name="connsiteY44" fmla="*/ 109602 h 1295065"/>
              <a:gd name="connsiteX45" fmla="*/ 595017 w 1590358"/>
              <a:gd name="connsiteY45" fmla="*/ 115865 h 1295065"/>
              <a:gd name="connsiteX46" fmla="*/ 585623 w 1590358"/>
              <a:gd name="connsiteY46" fmla="*/ 118997 h 1295065"/>
              <a:gd name="connsiteX47" fmla="*/ 566834 w 1590358"/>
              <a:gd name="connsiteY47" fmla="*/ 131523 h 1295065"/>
              <a:gd name="connsiteX48" fmla="*/ 557439 w 1590358"/>
              <a:gd name="connsiteY48" fmla="*/ 137786 h 1295065"/>
              <a:gd name="connsiteX49" fmla="*/ 544913 w 1590358"/>
              <a:gd name="connsiteY49" fmla="*/ 156575 h 1295065"/>
              <a:gd name="connsiteX50" fmla="*/ 532387 w 1590358"/>
              <a:gd name="connsiteY50" fmla="*/ 184759 h 1295065"/>
              <a:gd name="connsiteX51" fmla="*/ 522992 w 1590358"/>
              <a:gd name="connsiteY51" fmla="*/ 194153 h 1295065"/>
              <a:gd name="connsiteX52" fmla="*/ 513598 w 1590358"/>
              <a:gd name="connsiteY52" fmla="*/ 197285 h 1295065"/>
              <a:gd name="connsiteX53" fmla="*/ 504203 w 1590358"/>
              <a:gd name="connsiteY53" fmla="*/ 203548 h 1295065"/>
              <a:gd name="connsiteX54" fmla="*/ 466625 w 1590358"/>
              <a:gd name="connsiteY54" fmla="*/ 209811 h 1295065"/>
              <a:gd name="connsiteX55" fmla="*/ 457231 w 1590358"/>
              <a:gd name="connsiteY55" fmla="*/ 216074 h 1295065"/>
              <a:gd name="connsiteX56" fmla="*/ 438442 w 1590358"/>
              <a:gd name="connsiteY56" fmla="*/ 234863 h 1295065"/>
              <a:gd name="connsiteX57" fmla="*/ 429047 w 1590358"/>
              <a:gd name="connsiteY57" fmla="*/ 241126 h 1295065"/>
              <a:gd name="connsiteX58" fmla="*/ 413390 w 1590358"/>
              <a:gd name="connsiteY58" fmla="*/ 259915 h 1295065"/>
              <a:gd name="connsiteX59" fmla="*/ 410258 w 1590358"/>
              <a:gd name="connsiteY59" fmla="*/ 269309 h 1295065"/>
              <a:gd name="connsiteX60" fmla="*/ 397732 w 1590358"/>
              <a:gd name="connsiteY60" fmla="*/ 288098 h 1295065"/>
              <a:gd name="connsiteX61" fmla="*/ 394601 w 1590358"/>
              <a:gd name="connsiteY61" fmla="*/ 316282 h 1295065"/>
              <a:gd name="connsiteX62" fmla="*/ 413390 w 1590358"/>
              <a:gd name="connsiteY62" fmla="*/ 310019 h 1295065"/>
              <a:gd name="connsiteX63" fmla="*/ 422784 w 1590358"/>
              <a:gd name="connsiteY63" fmla="*/ 288098 h 1295065"/>
              <a:gd name="connsiteX64" fmla="*/ 441573 w 1590358"/>
              <a:gd name="connsiteY64" fmla="*/ 259915 h 1295065"/>
              <a:gd name="connsiteX65" fmla="*/ 450968 w 1590358"/>
              <a:gd name="connsiteY65" fmla="*/ 253652 h 1295065"/>
              <a:gd name="connsiteX66" fmla="*/ 469757 w 1590358"/>
              <a:gd name="connsiteY66" fmla="*/ 241126 h 1295065"/>
              <a:gd name="connsiteX67" fmla="*/ 476020 w 1590358"/>
              <a:gd name="connsiteY67" fmla="*/ 250520 h 1295065"/>
              <a:gd name="connsiteX68" fmla="*/ 469757 w 1590358"/>
              <a:gd name="connsiteY68" fmla="*/ 278704 h 1295065"/>
              <a:gd name="connsiteX69" fmla="*/ 460362 w 1590358"/>
              <a:gd name="connsiteY69" fmla="*/ 284967 h 1295065"/>
              <a:gd name="connsiteX70" fmla="*/ 447836 w 1590358"/>
              <a:gd name="connsiteY70" fmla="*/ 294361 h 1295065"/>
              <a:gd name="connsiteX71" fmla="*/ 441573 w 1590358"/>
              <a:gd name="connsiteY71" fmla="*/ 303756 h 1295065"/>
              <a:gd name="connsiteX72" fmla="*/ 419653 w 1590358"/>
              <a:gd name="connsiteY72" fmla="*/ 328808 h 1295065"/>
              <a:gd name="connsiteX73" fmla="*/ 413390 w 1590358"/>
              <a:gd name="connsiteY73" fmla="*/ 347597 h 1295065"/>
              <a:gd name="connsiteX74" fmla="*/ 397732 w 1590358"/>
              <a:gd name="connsiteY74" fmla="*/ 403964 h 1295065"/>
              <a:gd name="connsiteX75" fmla="*/ 378943 w 1590358"/>
              <a:gd name="connsiteY75" fmla="*/ 422753 h 1295065"/>
              <a:gd name="connsiteX76" fmla="*/ 375812 w 1590358"/>
              <a:gd name="connsiteY76" fmla="*/ 432148 h 1295065"/>
              <a:gd name="connsiteX77" fmla="*/ 363286 w 1590358"/>
              <a:gd name="connsiteY77" fmla="*/ 450937 h 1295065"/>
              <a:gd name="connsiteX78" fmla="*/ 350760 w 1590358"/>
              <a:gd name="connsiteY78" fmla="*/ 469726 h 1295065"/>
              <a:gd name="connsiteX79" fmla="*/ 338234 w 1590358"/>
              <a:gd name="connsiteY79" fmla="*/ 488515 h 1295065"/>
              <a:gd name="connsiteX80" fmla="*/ 331971 w 1590358"/>
              <a:gd name="connsiteY80" fmla="*/ 551145 h 1295065"/>
              <a:gd name="connsiteX81" fmla="*/ 325707 w 1590358"/>
              <a:gd name="connsiteY81" fmla="*/ 557408 h 1295065"/>
              <a:gd name="connsiteX82" fmla="*/ 300655 w 1590358"/>
              <a:gd name="connsiteY82" fmla="*/ 557407 h 1295065"/>
              <a:gd name="connsiteX83" fmla="*/ 284998 w 1590358"/>
              <a:gd name="connsiteY83" fmla="*/ 591854 h 1295065"/>
              <a:gd name="connsiteX84" fmla="*/ 278735 w 1590358"/>
              <a:gd name="connsiteY84" fmla="*/ 610643 h 1295065"/>
              <a:gd name="connsiteX85" fmla="*/ 259946 w 1590358"/>
              <a:gd name="connsiteY85" fmla="*/ 626301 h 1295065"/>
              <a:gd name="connsiteX86" fmla="*/ 253683 w 1590358"/>
              <a:gd name="connsiteY86" fmla="*/ 673274 h 1295065"/>
              <a:gd name="connsiteX87" fmla="*/ 247420 w 1590358"/>
              <a:gd name="connsiteY87" fmla="*/ 692063 h 1295065"/>
              <a:gd name="connsiteX88" fmla="*/ 244288 w 1590358"/>
              <a:gd name="connsiteY88" fmla="*/ 701457 h 1295065"/>
              <a:gd name="connsiteX89" fmla="*/ 228631 w 1590358"/>
              <a:gd name="connsiteY89" fmla="*/ 720246 h 1295065"/>
              <a:gd name="connsiteX90" fmla="*/ 222368 w 1590358"/>
              <a:gd name="connsiteY90" fmla="*/ 739035 h 1295065"/>
              <a:gd name="connsiteX91" fmla="*/ 219236 w 1590358"/>
              <a:gd name="connsiteY91" fmla="*/ 748430 h 1295065"/>
              <a:gd name="connsiteX92" fmla="*/ 209842 w 1590358"/>
              <a:gd name="connsiteY92" fmla="*/ 767219 h 1295065"/>
              <a:gd name="connsiteX93" fmla="*/ 200447 w 1590358"/>
              <a:gd name="connsiteY93" fmla="*/ 770350 h 1295065"/>
              <a:gd name="connsiteX94" fmla="*/ 166001 w 1590358"/>
              <a:gd name="connsiteY94" fmla="*/ 760956 h 1295065"/>
              <a:gd name="connsiteX95" fmla="*/ 134686 w 1590358"/>
              <a:gd name="connsiteY95" fmla="*/ 795402 h 1295065"/>
              <a:gd name="connsiteX96" fmla="*/ 131554 w 1590358"/>
              <a:gd name="connsiteY96" fmla="*/ 804797 h 1295065"/>
              <a:gd name="connsiteX97" fmla="*/ 112765 w 1590358"/>
              <a:gd name="connsiteY97" fmla="*/ 820454 h 1295065"/>
              <a:gd name="connsiteX98" fmla="*/ 103371 w 1590358"/>
              <a:gd name="connsiteY98" fmla="*/ 823586 h 1295065"/>
              <a:gd name="connsiteX99" fmla="*/ 87713 w 1590358"/>
              <a:gd name="connsiteY99" fmla="*/ 839243 h 1295065"/>
              <a:gd name="connsiteX100" fmla="*/ 78318 w 1590358"/>
              <a:gd name="connsiteY100" fmla="*/ 873690 h 1295065"/>
              <a:gd name="connsiteX101" fmla="*/ 78318 w 1590358"/>
              <a:gd name="connsiteY101" fmla="*/ 873690 h 1295065"/>
              <a:gd name="connsiteX102" fmla="*/ 75187 w 1590358"/>
              <a:gd name="connsiteY102" fmla="*/ 886216 h 1295065"/>
              <a:gd name="connsiteX103" fmla="*/ 65792 w 1590358"/>
              <a:gd name="connsiteY103" fmla="*/ 914400 h 1295065"/>
              <a:gd name="connsiteX104" fmla="*/ 62661 w 1590358"/>
              <a:gd name="connsiteY104" fmla="*/ 923794 h 1295065"/>
              <a:gd name="connsiteX105" fmla="*/ 59529 w 1590358"/>
              <a:gd name="connsiteY105" fmla="*/ 933189 h 1295065"/>
              <a:gd name="connsiteX106" fmla="*/ 62661 w 1590358"/>
              <a:gd name="connsiteY106" fmla="*/ 945715 h 1295065"/>
              <a:gd name="connsiteX107" fmla="*/ 65792 w 1590358"/>
              <a:gd name="connsiteY107" fmla="*/ 955109 h 1295065"/>
              <a:gd name="connsiteX108" fmla="*/ 53266 w 1590358"/>
              <a:gd name="connsiteY108" fmla="*/ 973898 h 1295065"/>
              <a:gd name="connsiteX109" fmla="*/ 50135 w 1590358"/>
              <a:gd name="connsiteY109" fmla="*/ 983293 h 1295065"/>
              <a:gd name="connsiteX110" fmla="*/ 43872 w 1590358"/>
              <a:gd name="connsiteY110" fmla="*/ 1036528 h 1295065"/>
              <a:gd name="connsiteX111" fmla="*/ 34477 w 1590358"/>
              <a:gd name="connsiteY111" fmla="*/ 1064712 h 1295065"/>
              <a:gd name="connsiteX112" fmla="*/ 31346 w 1590358"/>
              <a:gd name="connsiteY112" fmla="*/ 1074106 h 1295065"/>
              <a:gd name="connsiteX113" fmla="*/ 21951 w 1590358"/>
              <a:gd name="connsiteY113" fmla="*/ 1136737 h 1295065"/>
              <a:gd name="connsiteX114" fmla="*/ 18820 w 1590358"/>
              <a:gd name="connsiteY114" fmla="*/ 1149263 h 1295065"/>
              <a:gd name="connsiteX115" fmla="*/ 12557 w 1590358"/>
              <a:gd name="connsiteY115" fmla="*/ 1196235 h 1295065"/>
              <a:gd name="connsiteX116" fmla="*/ 9425 w 1590358"/>
              <a:gd name="connsiteY116" fmla="*/ 1205630 h 1295065"/>
              <a:gd name="connsiteX117" fmla="*/ 6294 w 1590358"/>
              <a:gd name="connsiteY117" fmla="*/ 1221287 h 1295065"/>
              <a:gd name="connsiteX118" fmla="*/ 31 w 1590358"/>
              <a:gd name="connsiteY118" fmla="*/ 1240076 h 1295065"/>
              <a:gd name="connsiteX119" fmla="*/ 3162 w 1590358"/>
              <a:gd name="connsiteY119" fmla="*/ 1293312 h 1295065"/>
              <a:gd name="connsiteX120" fmla="*/ 15688 w 1590358"/>
              <a:gd name="connsiteY120" fmla="*/ 1290180 h 1295065"/>
              <a:gd name="connsiteX121" fmla="*/ 21951 w 1590358"/>
              <a:gd name="connsiteY121" fmla="*/ 1271391 h 1295065"/>
              <a:gd name="connsiteX122" fmla="*/ 25083 w 1590358"/>
              <a:gd name="connsiteY122" fmla="*/ 1261997 h 1295065"/>
              <a:gd name="connsiteX123" fmla="*/ 28214 w 1590358"/>
              <a:gd name="connsiteY123" fmla="*/ 1211893 h 1295065"/>
              <a:gd name="connsiteX124" fmla="*/ 37609 w 1590358"/>
              <a:gd name="connsiteY124" fmla="*/ 1183709 h 1295065"/>
              <a:gd name="connsiteX125" fmla="*/ 43872 w 1590358"/>
              <a:gd name="connsiteY125" fmla="*/ 1161789 h 1295065"/>
              <a:gd name="connsiteX126" fmla="*/ 50135 w 1590358"/>
              <a:gd name="connsiteY126" fmla="*/ 1143000 h 1295065"/>
              <a:gd name="connsiteX127" fmla="*/ 53266 w 1590358"/>
              <a:gd name="connsiteY127" fmla="*/ 1121079 h 1295065"/>
              <a:gd name="connsiteX128" fmla="*/ 56398 w 1590358"/>
              <a:gd name="connsiteY128" fmla="*/ 1111685 h 1295065"/>
              <a:gd name="connsiteX129" fmla="*/ 75187 w 1590358"/>
              <a:gd name="connsiteY129" fmla="*/ 1099159 h 1295065"/>
              <a:gd name="connsiteX130" fmla="*/ 119028 w 1590358"/>
              <a:gd name="connsiteY130" fmla="*/ 1102290 h 1295065"/>
              <a:gd name="connsiteX131" fmla="*/ 150343 w 1590358"/>
              <a:gd name="connsiteY131" fmla="*/ 1105422 h 1295065"/>
              <a:gd name="connsiteX132" fmla="*/ 222368 w 1590358"/>
              <a:gd name="connsiteY132" fmla="*/ 1108553 h 1295065"/>
              <a:gd name="connsiteX133" fmla="*/ 231762 w 1590358"/>
              <a:gd name="connsiteY133" fmla="*/ 1111685 h 1295065"/>
              <a:gd name="connsiteX134" fmla="*/ 369549 w 1590358"/>
              <a:gd name="connsiteY134" fmla="*/ 1117948 h 1295065"/>
              <a:gd name="connsiteX135" fmla="*/ 416521 w 1590358"/>
              <a:gd name="connsiteY135" fmla="*/ 1121079 h 1295065"/>
              <a:gd name="connsiteX136" fmla="*/ 447836 w 1590358"/>
              <a:gd name="connsiteY136" fmla="*/ 1127342 h 1295065"/>
              <a:gd name="connsiteX137" fmla="*/ 497940 w 1590358"/>
              <a:gd name="connsiteY137" fmla="*/ 1133605 h 1295065"/>
              <a:gd name="connsiteX138" fmla="*/ 601280 w 1590358"/>
              <a:gd name="connsiteY138" fmla="*/ 1136737 h 1295065"/>
              <a:gd name="connsiteX139" fmla="*/ 770381 w 1590358"/>
              <a:gd name="connsiteY139" fmla="*/ 1139868 h 1295065"/>
              <a:gd name="connsiteX140" fmla="*/ 786039 w 1590358"/>
              <a:gd name="connsiteY140" fmla="*/ 1143000 h 1295065"/>
              <a:gd name="connsiteX141" fmla="*/ 886247 w 1590358"/>
              <a:gd name="connsiteY141" fmla="*/ 1149263 h 1295065"/>
              <a:gd name="connsiteX142" fmla="*/ 930088 w 1590358"/>
              <a:gd name="connsiteY142" fmla="*/ 1155526 h 1295065"/>
              <a:gd name="connsiteX143" fmla="*/ 967666 w 1590358"/>
              <a:gd name="connsiteY143" fmla="*/ 1161789 h 1295065"/>
              <a:gd name="connsiteX144" fmla="*/ 992718 w 1590358"/>
              <a:gd name="connsiteY144" fmla="*/ 1164920 h 1295065"/>
              <a:gd name="connsiteX145" fmla="*/ 1036560 w 1590358"/>
              <a:gd name="connsiteY145" fmla="*/ 1171183 h 1295065"/>
              <a:gd name="connsiteX146" fmla="*/ 1058480 w 1590358"/>
              <a:gd name="connsiteY146" fmla="*/ 1174315 h 1295065"/>
              <a:gd name="connsiteX147" fmla="*/ 1067875 w 1590358"/>
              <a:gd name="connsiteY147" fmla="*/ 1177446 h 1295065"/>
              <a:gd name="connsiteX148" fmla="*/ 1099190 w 1590358"/>
              <a:gd name="connsiteY148" fmla="*/ 1183709 h 1295065"/>
              <a:gd name="connsiteX149" fmla="*/ 1236976 w 1590358"/>
              <a:gd name="connsiteY149" fmla="*/ 1149263 h 1295065"/>
              <a:gd name="connsiteX150" fmla="*/ 1233844 w 1590358"/>
              <a:gd name="connsiteY150" fmla="*/ 1136737 h 1295065"/>
              <a:gd name="connsiteX151" fmla="*/ 1230713 w 1590358"/>
              <a:gd name="connsiteY151" fmla="*/ 801665 h 1295065"/>
              <a:gd name="connsiteX152" fmla="*/ 1227581 w 1590358"/>
              <a:gd name="connsiteY152" fmla="*/ 792271 h 1295065"/>
              <a:gd name="connsiteX153" fmla="*/ 1224450 w 1590358"/>
              <a:gd name="connsiteY153" fmla="*/ 767219 h 1295065"/>
              <a:gd name="connsiteX154" fmla="*/ 1218187 w 1590358"/>
              <a:gd name="connsiteY154" fmla="*/ 729641 h 1295065"/>
              <a:gd name="connsiteX155" fmla="*/ 1221318 w 1590358"/>
              <a:gd name="connsiteY155" fmla="*/ 667011 h 1295065"/>
              <a:gd name="connsiteX156" fmla="*/ 1227581 w 1590358"/>
              <a:gd name="connsiteY156" fmla="*/ 657616 h 1295065"/>
              <a:gd name="connsiteX157" fmla="*/ 1230713 w 1590358"/>
              <a:gd name="connsiteY157" fmla="*/ 648222 h 1295065"/>
              <a:gd name="connsiteX158" fmla="*/ 1240107 w 1590358"/>
              <a:gd name="connsiteY158" fmla="*/ 635695 h 1295065"/>
              <a:gd name="connsiteX159" fmla="*/ 1246371 w 1590358"/>
              <a:gd name="connsiteY159" fmla="*/ 626301 h 1295065"/>
              <a:gd name="connsiteX160" fmla="*/ 1249502 w 1590358"/>
              <a:gd name="connsiteY160" fmla="*/ 616906 h 1295065"/>
              <a:gd name="connsiteX161" fmla="*/ 1271423 w 1590358"/>
              <a:gd name="connsiteY161" fmla="*/ 588723 h 1295065"/>
              <a:gd name="connsiteX162" fmla="*/ 1290212 w 1590358"/>
              <a:gd name="connsiteY162" fmla="*/ 576197 h 1295065"/>
              <a:gd name="connsiteX163" fmla="*/ 1299606 w 1590358"/>
              <a:gd name="connsiteY163" fmla="*/ 569934 h 1295065"/>
              <a:gd name="connsiteX164" fmla="*/ 1318395 w 1590358"/>
              <a:gd name="connsiteY164" fmla="*/ 554276 h 1295065"/>
              <a:gd name="connsiteX165" fmla="*/ 1327790 w 1590358"/>
              <a:gd name="connsiteY165" fmla="*/ 544882 h 1295065"/>
              <a:gd name="connsiteX166" fmla="*/ 1340316 w 1590358"/>
              <a:gd name="connsiteY166" fmla="*/ 538619 h 1295065"/>
              <a:gd name="connsiteX167" fmla="*/ 1362236 w 1590358"/>
              <a:gd name="connsiteY167" fmla="*/ 522961 h 1295065"/>
              <a:gd name="connsiteX168" fmla="*/ 1371631 w 1590358"/>
              <a:gd name="connsiteY168" fmla="*/ 519830 h 1295065"/>
              <a:gd name="connsiteX169" fmla="*/ 1381025 w 1590358"/>
              <a:gd name="connsiteY169" fmla="*/ 510435 h 1295065"/>
              <a:gd name="connsiteX170" fmla="*/ 1427998 w 1590358"/>
              <a:gd name="connsiteY170" fmla="*/ 501041 h 1295065"/>
              <a:gd name="connsiteX171" fmla="*/ 1459313 w 1590358"/>
              <a:gd name="connsiteY171" fmla="*/ 491646 h 1295065"/>
              <a:gd name="connsiteX172" fmla="*/ 1468707 w 1590358"/>
              <a:gd name="connsiteY172" fmla="*/ 485383 h 1295065"/>
              <a:gd name="connsiteX173" fmla="*/ 1478102 w 1590358"/>
              <a:gd name="connsiteY173" fmla="*/ 482252 h 1295065"/>
              <a:gd name="connsiteX174" fmla="*/ 1490628 w 1590358"/>
              <a:gd name="connsiteY174" fmla="*/ 472857 h 1295065"/>
              <a:gd name="connsiteX175" fmla="*/ 1521943 w 1590358"/>
              <a:gd name="connsiteY175" fmla="*/ 460331 h 1295065"/>
              <a:gd name="connsiteX176" fmla="*/ 1540732 w 1590358"/>
              <a:gd name="connsiteY176" fmla="*/ 454068 h 1295065"/>
              <a:gd name="connsiteX177" fmla="*/ 1550127 w 1590358"/>
              <a:gd name="connsiteY177" fmla="*/ 450937 h 1295065"/>
              <a:gd name="connsiteX178" fmla="*/ 1562653 w 1590358"/>
              <a:gd name="connsiteY178" fmla="*/ 435279 h 1295065"/>
              <a:gd name="connsiteX179" fmla="*/ 1565784 w 1590358"/>
              <a:gd name="connsiteY179" fmla="*/ 272441 h 1295065"/>
              <a:gd name="connsiteX180" fmla="*/ 1575179 w 1590358"/>
              <a:gd name="connsiteY180" fmla="*/ 231731 h 1295065"/>
              <a:gd name="connsiteX181" fmla="*/ 1581442 w 1590358"/>
              <a:gd name="connsiteY181" fmla="*/ 206679 h 1295065"/>
              <a:gd name="connsiteX182" fmla="*/ 1584573 w 1590358"/>
              <a:gd name="connsiteY182" fmla="*/ 197285 h 1295065"/>
              <a:gd name="connsiteX183" fmla="*/ 1584573 w 1590358"/>
              <a:gd name="connsiteY183" fmla="*/ 93945 h 1295065"/>
              <a:gd name="connsiteX0" fmla="*/ 1584573 w 1590358"/>
              <a:gd name="connsiteY0" fmla="*/ 93945 h 1295065"/>
              <a:gd name="connsiteX1" fmla="*/ 1509417 w 1590358"/>
              <a:gd name="connsiteY1" fmla="*/ 90813 h 1295065"/>
              <a:gd name="connsiteX2" fmla="*/ 1500023 w 1590358"/>
              <a:gd name="connsiteY2" fmla="*/ 87682 h 1295065"/>
              <a:gd name="connsiteX3" fmla="*/ 1449918 w 1590358"/>
              <a:gd name="connsiteY3" fmla="*/ 90813 h 1295065"/>
              <a:gd name="connsiteX4" fmla="*/ 1355973 w 1590358"/>
              <a:gd name="connsiteY4" fmla="*/ 87682 h 1295065"/>
              <a:gd name="connsiteX5" fmla="*/ 1321527 w 1590358"/>
              <a:gd name="connsiteY5" fmla="*/ 78287 h 1295065"/>
              <a:gd name="connsiteX6" fmla="*/ 1299606 w 1590358"/>
              <a:gd name="connsiteY6" fmla="*/ 72024 h 1295065"/>
              <a:gd name="connsiteX7" fmla="*/ 1290212 w 1590358"/>
              <a:gd name="connsiteY7" fmla="*/ 68893 h 1295065"/>
              <a:gd name="connsiteX8" fmla="*/ 1218187 w 1590358"/>
              <a:gd name="connsiteY8" fmla="*/ 65761 h 1295065"/>
              <a:gd name="connsiteX9" fmla="*/ 1158688 w 1590358"/>
              <a:gd name="connsiteY9" fmla="*/ 59499 h 1295065"/>
              <a:gd name="connsiteX10" fmla="*/ 1139899 w 1590358"/>
              <a:gd name="connsiteY10" fmla="*/ 81419 h 1295065"/>
              <a:gd name="connsiteX11" fmla="*/ 1133637 w 1590358"/>
              <a:gd name="connsiteY11" fmla="*/ 75156 h 1295065"/>
              <a:gd name="connsiteX12" fmla="*/ 1092927 w 1590358"/>
              <a:gd name="connsiteY12" fmla="*/ 72024 h 1295065"/>
              <a:gd name="connsiteX13" fmla="*/ 1077269 w 1590358"/>
              <a:gd name="connsiteY13" fmla="*/ 81419 h 1295065"/>
              <a:gd name="connsiteX14" fmla="*/ 1058480 w 1590358"/>
              <a:gd name="connsiteY14" fmla="*/ 72024 h 1295065"/>
              <a:gd name="connsiteX15" fmla="*/ 1039691 w 1590358"/>
              <a:gd name="connsiteY15" fmla="*/ 65761 h 1295065"/>
              <a:gd name="connsiteX16" fmla="*/ 1020902 w 1590358"/>
              <a:gd name="connsiteY16" fmla="*/ 53235 h 1295065"/>
              <a:gd name="connsiteX17" fmla="*/ 986455 w 1590358"/>
              <a:gd name="connsiteY17" fmla="*/ 46972 h 1295065"/>
              <a:gd name="connsiteX18" fmla="*/ 970798 w 1590358"/>
              <a:gd name="connsiteY18" fmla="*/ 43841 h 1295065"/>
              <a:gd name="connsiteX19" fmla="*/ 942614 w 1590358"/>
              <a:gd name="connsiteY19" fmla="*/ 46972 h 1295065"/>
              <a:gd name="connsiteX20" fmla="*/ 933220 w 1590358"/>
              <a:gd name="connsiteY20" fmla="*/ 50104 h 1295065"/>
              <a:gd name="connsiteX21" fmla="*/ 920694 w 1590358"/>
              <a:gd name="connsiteY21" fmla="*/ 53235 h 1295065"/>
              <a:gd name="connsiteX22" fmla="*/ 911299 w 1590358"/>
              <a:gd name="connsiteY22" fmla="*/ 56367 h 1295065"/>
              <a:gd name="connsiteX23" fmla="*/ 867458 w 1590358"/>
              <a:gd name="connsiteY23" fmla="*/ 59498 h 1295065"/>
              <a:gd name="connsiteX24" fmla="*/ 858064 w 1590358"/>
              <a:gd name="connsiteY24" fmla="*/ 65761 h 1295065"/>
              <a:gd name="connsiteX25" fmla="*/ 814223 w 1590358"/>
              <a:gd name="connsiteY25" fmla="*/ 65761 h 1295065"/>
              <a:gd name="connsiteX26" fmla="*/ 795434 w 1590358"/>
              <a:gd name="connsiteY26" fmla="*/ 50104 h 1295065"/>
              <a:gd name="connsiteX27" fmla="*/ 789171 w 1590358"/>
              <a:gd name="connsiteY27" fmla="*/ 40709 h 1295065"/>
              <a:gd name="connsiteX28" fmla="*/ 795434 w 1590358"/>
              <a:gd name="connsiteY28" fmla="*/ 28183 h 1295065"/>
              <a:gd name="connsiteX29" fmla="*/ 786038 w 1590358"/>
              <a:gd name="connsiteY29" fmla="*/ 18789 h 1295065"/>
              <a:gd name="connsiteX30" fmla="*/ 757855 w 1590358"/>
              <a:gd name="connsiteY30" fmla="*/ 18789 h 1295065"/>
              <a:gd name="connsiteX31" fmla="*/ 748461 w 1590358"/>
              <a:gd name="connsiteY31" fmla="*/ 12526 h 1295065"/>
              <a:gd name="connsiteX32" fmla="*/ 739066 w 1590358"/>
              <a:gd name="connsiteY32" fmla="*/ 3131 h 1295065"/>
              <a:gd name="connsiteX33" fmla="*/ 729672 w 1590358"/>
              <a:gd name="connsiteY33" fmla="*/ 0 h 1295065"/>
              <a:gd name="connsiteX34" fmla="*/ 720277 w 1590358"/>
              <a:gd name="connsiteY34" fmla="*/ 3131 h 1295065"/>
              <a:gd name="connsiteX35" fmla="*/ 707751 w 1590358"/>
              <a:gd name="connsiteY35" fmla="*/ 21920 h 1295065"/>
              <a:gd name="connsiteX36" fmla="*/ 695225 w 1590358"/>
              <a:gd name="connsiteY36" fmla="*/ 37578 h 1295065"/>
              <a:gd name="connsiteX37" fmla="*/ 676436 w 1590358"/>
              <a:gd name="connsiteY37" fmla="*/ 53235 h 1295065"/>
              <a:gd name="connsiteX38" fmla="*/ 657647 w 1590358"/>
              <a:gd name="connsiteY38" fmla="*/ 59498 h 1295065"/>
              <a:gd name="connsiteX39" fmla="*/ 648253 w 1590358"/>
              <a:gd name="connsiteY39" fmla="*/ 65761 h 1295065"/>
              <a:gd name="connsiteX40" fmla="*/ 638858 w 1590358"/>
              <a:gd name="connsiteY40" fmla="*/ 68893 h 1295065"/>
              <a:gd name="connsiteX41" fmla="*/ 635727 w 1590358"/>
              <a:gd name="connsiteY41" fmla="*/ 78287 h 1295065"/>
              <a:gd name="connsiteX42" fmla="*/ 626332 w 1590358"/>
              <a:gd name="connsiteY42" fmla="*/ 87682 h 1295065"/>
              <a:gd name="connsiteX43" fmla="*/ 613806 w 1590358"/>
              <a:gd name="connsiteY43" fmla="*/ 106471 h 1295065"/>
              <a:gd name="connsiteX44" fmla="*/ 604412 w 1590358"/>
              <a:gd name="connsiteY44" fmla="*/ 109602 h 1295065"/>
              <a:gd name="connsiteX45" fmla="*/ 595017 w 1590358"/>
              <a:gd name="connsiteY45" fmla="*/ 115865 h 1295065"/>
              <a:gd name="connsiteX46" fmla="*/ 585623 w 1590358"/>
              <a:gd name="connsiteY46" fmla="*/ 118997 h 1295065"/>
              <a:gd name="connsiteX47" fmla="*/ 566834 w 1590358"/>
              <a:gd name="connsiteY47" fmla="*/ 131523 h 1295065"/>
              <a:gd name="connsiteX48" fmla="*/ 557439 w 1590358"/>
              <a:gd name="connsiteY48" fmla="*/ 137786 h 1295065"/>
              <a:gd name="connsiteX49" fmla="*/ 544913 w 1590358"/>
              <a:gd name="connsiteY49" fmla="*/ 156575 h 1295065"/>
              <a:gd name="connsiteX50" fmla="*/ 532387 w 1590358"/>
              <a:gd name="connsiteY50" fmla="*/ 184759 h 1295065"/>
              <a:gd name="connsiteX51" fmla="*/ 522992 w 1590358"/>
              <a:gd name="connsiteY51" fmla="*/ 194153 h 1295065"/>
              <a:gd name="connsiteX52" fmla="*/ 513598 w 1590358"/>
              <a:gd name="connsiteY52" fmla="*/ 197285 h 1295065"/>
              <a:gd name="connsiteX53" fmla="*/ 504203 w 1590358"/>
              <a:gd name="connsiteY53" fmla="*/ 203548 h 1295065"/>
              <a:gd name="connsiteX54" fmla="*/ 466625 w 1590358"/>
              <a:gd name="connsiteY54" fmla="*/ 209811 h 1295065"/>
              <a:gd name="connsiteX55" fmla="*/ 457231 w 1590358"/>
              <a:gd name="connsiteY55" fmla="*/ 216074 h 1295065"/>
              <a:gd name="connsiteX56" fmla="*/ 438442 w 1590358"/>
              <a:gd name="connsiteY56" fmla="*/ 234863 h 1295065"/>
              <a:gd name="connsiteX57" fmla="*/ 429047 w 1590358"/>
              <a:gd name="connsiteY57" fmla="*/ 241126 h 1295065"/>
              <a:gd name="connsiteX58" fmla="*/ 413390 w 1590358"/>
              <a:gd name="connsiteY58" fmla="*/ 259915 h 1295065"/>
              <a:gd name="connsiteX59" fmla="*/ 410258 w 1590358"/>
              <a:gd name="connsiteY59" fmla="*/ 269309 h 1295065"/>
              <a:gd name="connsiteX60" fmla="*/ 397732 w 1590358"/>
              <a:gd name="connsiteY60" fmla="*/ 288098 h 1295065"/>
              <a:gd name="connsiteX61" fmla="*/ 394601 w 1590358"/>
              <a:gd name="connsiteY61" fmla="*/ 316282 h 1295065"/>
              <a:gd name="connsiteX62" fmla="*/ 413390 w 1590358"/>
              <a:gd name="connsiteY62" fmla="*/ 310019 h 1295065"/>
              <a:gd name="connsiteX63" fmla="*/ 422784 w 1590358"/>
              <a:gd name="connsiteY63" fmla="*/ 288098 h 1295065"/>
              <a:gd name="connsiteX64" fmla="*/ 441573 w 1590358"/>
              <a:gd name="connsiteY64" fmla="*/ 259915 h 1295065"/>
              <a:gd name="connsiteX65" fmla="*/ 450968 w 1590358"/>
              <a:gd name="connsiteY65" fmla="*/ 253652 h 1295065"/>
              <a:gd name="connsiteX66" fmla="*/ 469757 w 1590358"/>
              <a:gd name="connsiteY66" fmla="*/ 241126 h 1295065"/>
              <a:gd name="connsiteX67" fmla="*/ 476020 w 1590358"/>
              <a:gd name="connsiteY67" fmla="*/ 250520 h 1295065"/>
              <a:gd name="connsiteX68" fmla="*/ 469757 w 1590358"/>
              <a:gd name="connsiteY68" fmla="*/ 278704 h 1295065"/>
              <a:gd name="connsiteX69" fmla="*/ 460362 w 1590358"/>
              <a:gd name="connsiteY69" fmla="*/ 284967 h 1295065"/>
              <a:gd name="connsiteX70" fmla="*/ 447836 w 1590358"/>
              <a:gd name="connsiteY70" fmla="*/ 294361 h 1295065"/>
              <a:gd name="connsiteX71" fmla="*/ 441573 w 1590358"/>
              <a:gd name="connsiteY71" fmla="*/ 303756 h 1295065"/>
              <a:gd name="connsiteX72" fmla="*/ 419653 w 1590358"/>
              <a:gd name="connsiteY72" fmla="*/ 328808 h 1295065"/>
              <a:gd name="connsiteX73" fmla="*/ 413390 w 1590358"/>
              <a:gd name="connsiteY73" fmla="*/ 347597 h 1295065"/>
              <a:gd name="connsiteX74" fmla="*/ 397732 w 1590358"/>
              <a:gd name="connsiteY74" fmla="*/ 403964 h 1295065"/>
              <a:gd name="connsiteX75" fmla="*/ 378943 w 1590358"/>
              <a:gd name="connsiteY75" fmla="*/ 422753 h 1295065"/>
              <a:gd name="connsiteX76" fmla="*/ 375812 w 1590358"/>
              <a:gd name="connsiteY76" fmla="*/ 432148 h 1295065"/>
              <a:gd name="connsiteX77" fmla="*/ 363286 w 1590358"/>
              <a:gd name="connsiteY77" fmla="*/ 450937 h 1295065"/>
              <a:gd name="connsiteX78" fmla="*/ 350760 w 1590358"/>
              <a:gd name="connsiteY78" fmla="*/ 469726 h 1295065"/>
              <a:gd name="connsiteX79" fmla="*/ 338234 w 1590358"/>
              <a:gd name="connsiteY79" fmla="*/ 488515 h 1295065"/>
              <a:gd name="connsiteX80" fmla="*/ 331971 w 1590358"/>
              <a:gd name="connsiteY80" fmla="*/ 551145 h 1295065"/>
              <a:gd name="connsiteX81" fmla="*/ 325707 w 1590358"/>
              <a:gd name="connsiteY81" fmla="*/ 557408 h 1295065"/>
              <a:gd name="connsiteX82" fmla="*/ 300655 w 1590358"/>
              <a:gd name="connsiteY82" fmla="*/ 557407 h 1295065"/>
              <a:gd name="connsiteX83" fmla="*/ 284998 w 1590358"/>
              <a:gd name="connsiteY83" fmla="*/ 591854 h 1295065"/>
              <a:gd name="connsiteX84" fmla="*/ 278735 w 1590358"/>
              <a:gd name="connsiteY84" fmla="*/ 610643 h 1295065"/>
              <a:gd name="connsiteX85" fmla="*/ 259946 w 1590358"/>
              <a:gd name="connsiteY85" fmla="*/ 626301 h 1295065"/>
              <a:gd name="connsiteX86" fmla="*/ 253683 w 1590358"/>
              <a:gd name="connsiteY86" fmla="*/ 673274 h 1295065"/>
              <a:gd name="connsiteX87" fmla="*/ 247420 w 1590358"/>
              <a:gd name="connsiteY87" fmla="*/ 692063 h 1295065"/>
              <a:gd name="connsiteX88" fmla="*/ 244288 w 1590358"/>
              <a:gd name="connsiteY88" fmla="*/ 701457 h 1295065"/>
              <a:gd name="connsiteX89" fmla="*/ 228631 w 1590358"/>
              <a:gd name="connsiteY89" fmla="*/ 720246 h 1295065"/>
              <a:gd name="connsiteX90" fmla="*/ 222368 w 1590358"/>
              <a:gd name="connsiteY90" fmla="*/ 739035 h 1295065"/>
              <a:gd name="connsiteX91" fmla="*/ 219236 w 1590358"/>
              <a:gd name="connsiteY91" fmla="*/ 748430 h 1295065"/>
              <a:gd name="connsiteX92" fmla="*/ 209842 w 1590358"/>
              <a:gd name="connsiteY92" fmla="*/ 767219 h 1295065"/>
              <a:gd name="connsiteX93" fmla="*/ 200447 w 1590358"/>
              <a:gd name="connsiteY93" fmla="*/ 770350 h 1295065"/>
              <a:gd name="connsiteX94" fmla="*/ 166001 w 1590358"/>
              <a:gd name="connsiteY94" fmla="*/ 760956 h 1295065"/>
              <a:gd name="connsiteX95" fmla="*/ 134686 w 1590358"/>
              <a:gd name="connsiteY95" fmla="*/ 795402 h 1295065"/>
              <a:gd name="connsiteX96" fmla="*/ 131554 w 1590358"/>
              <a:gd name="connsiteY96" fmla="*/ 804797 h 1295065"/>
              <a:gd name="connsiteX97" fmla="*/ 112765 w 1590358"/>
              <a:gd name="connsiteY97" fmla="*/ 820454 h 1295065"/>
              <a:gd name="connsiteX98" fmla="*/ 103371 w 1590358"/>
              <a:gd name="connsiteY98" fmla="*/ 823586 h 1295065"/>
              <a:gd name="connsiteX99" fmla="*/ 87713 w 1590358"/>
              <a:gd name="connsiteY99" fmla="*/ 839243 h 1295065"/>
              <a:gd name="connsiteX100" fmla="*/ 78318 w 1590358"/>
              <a:gd name="connsiteY100" fmla="*/ 873690 h 1295065"/>
              <a:gd name="connsiteX101" fmla="*/ 78318 w 1590358"/>
              <a:gd name="connsiteY101" fmla="*/ 873690 h 1295065"/>
              <a:gd name="connsiteX102" fmla="*/ 75187 w 1590358"/>
              <a:gd name="connsiteY102" fmla="*/ 886216 h 1295065"/>
              <a:gd name="connsiteX103" fmla="*/ 65792 w 1590358"/>
              <a:gd name="connsiteY103" fmla="*/ 914400 h 1295065"/>
              <a:gd name="connsiteX104" fmla="*/ 62661 w 1590358"/>
              <a:gd name="connsiteY104" fmla="*/ 923794 h 1295065"/>
              <a:gd name="connsiteX105" fmla="*/ 59529 w 1590358"/>
              <a:gd name="connsiteY105" fmla="*/ 933189 h 1295065"/>
              <a:gd name="connsiteX106" fmla="*/ 62661 w 1590358"/>
              <a:gd name="connsiteY106" fmla="*/ 945715 h 1295065"/>
              <a:gd name="connsiteX107" fmla="*/ 65792 w 1590358"/>
              <a:gd name="connsiteY107" fmla="*/ 955109 h 1295065"/>
              <a:gd name="connsiteX108" fmla="*/ 53266 w 1590358"/>
              <a:gd name="connsiteY108" fmla="*/ 973898 h 1295065"/>
              <a:gd name="connsiteX109" fmla="*/ 50135 w 1590358"/>
              <a:gd name="connsiteY109" fmla="*/ 983293 h 1295065"/>
              <a:gd name="connsiteX110" fmla="*/ 43872 w 1590358"/>
              <a:gd name="connsiteY110" fmla="*/ 1036528 h 1295065"/>
              <a:gd name="connsiteX111" fmla="*/ 34477 w 1590358"/>
              <a:gd name="connsiteY111" fmla="*/ 1064712 h 1295065"/>
              <a:gd name="connsiteX112" fmla="*/ 31346 w 1590358"/>
              <a:gd name="connsiteY112" fmla="*/ 1074106 h 1295065"/>
              <a:gd name="connsiteX113" fmla="*/ 21951 w 1590358"/>
              <a:gd name="connsiteY113" fmla="*/ 1136737 h 1295065"/>
              <a:gd name="connsiteX114" fmla="*/ 18820 w 1590358"/>
              <a:gd name="connsiteY114" fmla="*/ 1149263 h 1295065"/>
              <a:gd name="connsiteX115" fmla="*/ 12557 w 1590358"/>
              <a:gd name="connsiteY115" fmla="*/ 1196235 h 1295065"/>
              <a:gd name="connsiteX116" fmla="*/ 9425 w 1590358"/>
              <a:gd name="connsiteY116" fmla="*/ 1205630 h 1295065"/>
              <a:gd name="connsiteX117" fmla="*/ 6294 w 1590358"/>
              <a:gd name="connsiteY117" fmla="*/ 1221287 h 1295065"/>
              <a:gd name="connsiteX118" fmla="*/ 31 w 1590358"/>
              <a:gd name="connsiteY118" fmla="*/ 1240076 h 1295065"/>
              <a:gd name="connsiteX119" fmla="*/ 3162 w 1590358"/>
              <a:gd name="connsiteY119" fmla="*/ 1293312 h 1295065"/>
              <a:gd name="connsiteX120" fmla="*/ 15688 w 1590358"/>
              <a:gd name="connsiteY120" fmla="*/ 1290180 h 1295065"/>
              <a:gd name="connsiteX121" fmla="*/ 21951 w 1590358"/>
              <a:gd name="connsiteY121" fmla="*/ 1271391 h 1295065"/>
              <a:gd name="connsiteX122" fmla="*/ 25083 w 1590358"/>
              <a:gd name="connsiteY122" fmla="*/ 1261997 h 1295065"/>
              <a:gd name="connsiteX123" fmla="*/ 28214 w 1590358"/>
              <a:gd name="connsiteY123" fmla="*/ 1211893 h 1295065"/>
              <a:gd name="connsiteX124" fmla="*/ 37609 w 1590358"/>
              <a:gd name="connsiteY124" fmla="*/ 1183709 h 1295065"/>
              <a:gd name="connsiteX125" fmla="*/ 43872 w 1590358"/>
              <a:gd name="connsiteY125" fmla="*/ 1161789 h 1295065"/>
              <a:gd name="connsiteX126" fmla="*/ 50135 w 1590358"/>
              <a:gd name="connsiteY126" fmla="*/ 1143000 h 1295065"/>
              <a:gd name="connsiteX127" fmla="*/ 53266 w 1590358"/>
              <a:gd name="connsiteY127" fmla="*/ 1121079 h 1295065"/>
              <a:gd name="connsiteX128" fmla="*/ 56398 w 1590358"/>
              <a:gd name="connsiteY128" fmla="*/ 1111685 h 1295065"/>
              <a:gd name="connsiteX129" fmla="*/ 75187 w 1590358"/>
              <a:gd name="connsiteY129" fmla="*/ 1099159 h 1295065"/>
              <a:gd name="connsiteX130" fmla="*/ 119028 w 1590358"/>
              <a:gd name="connsiteY130" fmla="*/ 1102290 h 1295065"/>
              <a:gd name="connsiteX131" fmla="*/ 150343 w 1590358"/>
              <a:gd name="connsiteY131" fmla="*/ 1105422 h 1295065"/>
              <a:gd name="connsiteX132" fmla="*/ 222368 w 1590358"/>
              <a:gd name="connsiteY132" fmla="*/ 1108553 h 1295065"/>
              <a:gd name="connsiteX133" fmla="*/ 231762 w 1590358"/>
              <a:gd name="connsiteY133" fmla="*/ 1111685 h 1295065"/>
              <a:gd name="connsiteX134" fmla="*/ 369549 w 1590358"/>
              <a:gd name="connsiteY134" fmla="*/ 1117948 h 1295065"/>
              <a:gd name="connsiteX135" fmla="*/ 416521 w 1590358"/>
              <a:gd name="connsiteY135" fmla="*/ 1121079 h 1295065"/>
              <a:gd name="connsiteX136" fmla="*/ 447836 w 1590358"/>
              <a:gd name="connsiteY136" fmla="*/ 1127342 h 1295065"/>
              <a:gd name="connsiteX137" fmla="*/ 497940 w 1590358"/>
              <a:gd name="connsiteY137" fmla="*/ 1133605 h 1295065"/>
              <a:gd name="connsiteX138" fmla="*/ 601280 w 1590358"/>
              <a:gd name="connsiteY138" fmla="*/ 1136737 h 1295065"/>
              <a:gd name="connsiteX139" fmla="*/ 770381 w 1590358"/>
              <a:gd name="connsiteY139" fmla="*/ 1139868 h 1295065"/>
              <a:gd name="connsiteX140" fmla="*/ 786039 w 1590358"/>
              <a:gd name="connsiteY140" fmla="*/ 1143000 h 1295065"/>
              <a:gd name="connsiteX141" fmla="*/ 886247 w 1590358"/>
              <a:gd name="connsiteY141" fmla="*/ 1149263 h 1295065"/>
              <a:gd name="connsiteX142" fmla="*/ 930088 w 1590358"/>
              <a:gd name="connsiteY142" fmla="*/ 1155526 h 1295065"/>
              <a:gd name="connsiteX143" fmla="*/ 967666 w 1590358"/>
              <a:gd name="connsiteY143" fmla="*/ 1161789 h 1295065"/>
              <a:gd name="connsiteX144" fmla="*/ 992718 w 1590358"/>
              <a:gd name="connsiteY144" fmla="*/ 1164920 h 1295065"/>
              <a:gd name="connsiteX145" fmla="*/ 1036560 w 1590358"/>
              <a:gd name="connsiteY145" fmla="*/ 1171183 h 1295065"/>
              <a:gd name="connsiteX146" fmla="*/ 1058480 w 1590358"/>
              <a:gd name="connsiteY146" fmla="*/ 1174315 h 1295065"/>
              <a:gd name="connsiteX147" fmla="*/ 1067875 w 1590358"/>
              <a:gd name="connsiteY147" fmla="*/ 1177446 h 1295065"/>
              <a:gd name="connsiteX148" fmla="*/ 1099190 w 1590358"/>
              <a:gd name="connsiteY148" fmla="*/ 1183709 h 1295065"/>
              <a:gd name="connsiteX149" fmla="*/ 1236976 w 1590358"/>
              <a:gd name="connsiteY149" fmla="*/ 1149263 h 1295065"/>
              <a:gd name="connsiteX150" fmla="*/ 1233844 w 1590358"/>
              <a:gd name="connsiteY150" fmla="*/ 1136737 h 1295065"/>
              <a:gd name="connsiteX151" fmla="*/ 1230713 w 1590358"/>
              <a:gd name="connsiteY151" fmla="*/ 801665 h 1295065"/>
              <a:gd name="connsiteX152" fmla="*/ 1227581 w 1590358"/>
              <a:gd name="connsiteY152" fmla="*/ 792271 h 1295065"/>
              <a:gd name="connsiteX153" fmla="*/ 1224450 w 1590358"/>
              <a:gd name="connsiteY153" fmla="*/ 767219 h 1295065"/>
              <a:gd name="connsiteX154" fmla="*/ 1218187 w 1590358"/>
              <a:gd name="connsiteY154" fmla="*/ 729641 h 1295065"/>
              <a:gd name="connsiteX155" fmla="*/ 1221318 w 1590358"/>
              <a:gd name="connsiteY155" fmla="*/ 667011 h 1295065"/>
              <a:gd name="connsiteX156" fmla="*/ 1227581 w 1590358"/>
              <a:gd name="connsiteY156" fmla="*/ 657616 h 1295065"/>
              <a:gd name="connsiteX157" fmla="*/ 1230713 w 1590358"/>
              <a:gd name="connsiteY157" fmla="*/ 648222 h 1295065"/>
              <a:gd name="connsiteX158" fmla="*/ 1240107 w 1590358"/>
              <a:gd name="connsiteY158" fmla="*/ 635695 h 1295065"/>
              <a:gd name="connsiteX159" fmla="*/ 1246371 w 1590358"/>
              <a:gd name="connsiteY159" fmla="*/ 626301 h 1295065"/>
              <a:gd name="connsiteX160" fmla="*/ 1249502 w 1590358"/>
              <a:gd name="connsiteY160" fmla="*/ 616906 h 1295065"/>
              <a:gd name="connsiteX161" fmla="*/ 1271423 w 1590358"/>
              <a:gd name="connsiteY161" fmla="*/ 588723 h 1295065"/>
              <a:gd name="connsiteX162" fmla="*/ 1290212 w 1590358"/>
              <a:gd name="connsiteY162" fmla="*/ 576197 h 1295065"/>
              <a:gd name="connsiteX163" fmla="*/ 1299606 w 1590358"/>
              <a:gd name="connsiteY163" fmla="*/ 569934 h 1295065"/>
              <a:gd name="connsiteX164" fmla="*/ 1318395 w 1590358"/>
              <a:gd name="connsiteY164" fmla="*/ 554276 h 1295065"/>
              <a:gd name="connsiteX165" fmla="*/ 1327790 w 1590358"/>
              <a:gd name="connsiteY165" fmla="*/ 544882 h 1295065"/>
              <a:gd name="connsiteX166" fmla="*/ 1340316 w 1590358"/>
              <a:gd name="connsiteY166" fmla="*/ 538619 h 1295065"/>
              <a:gd name="connsiteX167" fmla="*/ 1362236 w 1590358"/>
              <a:gd name="connsiteY167" fmla="*/ 522961 h 1295065"/>
              <a:gd name="connsiteX168" fmla="*/ 1371631 w 1590358"/>
              <a:gd name="connsiteY168" fmla="*/ 519830 h 1295065"/>
              <a:gd name="connsiteX169" fmla="*/ 1381025 w 1590358"/>
              <a:gd name="connsiteY169" fmla="*/ 510435 h 1295065"/>
              <a:gd name="connsiteX170" fmla="*/ 1427998 w 1590358"/>
              <a:gd name="connsiteY170" fmla="*/ 501041 h 1295065"/>
              <a:gd name="connsiteX171" fmla="*/ 1459313 w 1590358"/>
              <a:gd name="connsiteY171" fmla="*/ 491646 h 1295065"/>
              <a:gd name="connsiteX172" fmla="*/ 1468707 w 1590358"/>
              <a:gd name="connsiteY172" fmla="*/ 485383 h 1295065"/>
              <a:gd name="connsiteX173" fmla="*/ 1478102 w 1590358"/>
              <a:gd name="connsiteY173" fmla="*/ 482252 h 1295065"/>
              <a:gd name="connsiteX174" fmla="*/ 1490628 w 1590358"/>
              <a:gd name="connsiteY174" fmla="*/ 472857 h 1295065"/>
              <a:gd name="connsiteX175" fmla="*/ 1521943 w 1590358"/>
              <a:gd name="connsiteY175" fmla="*/ 460331 h 1295065"/>
              <a:gd name="connsiteX176" fmla="*/ 1540732 w 1590358"/>
              <a:gd name="connsiteY176" fmla="*/ 454068 h 1295065"/>
              <a:gd name="connsiteX177" fmla="*/ 1550127 w 1590358"/>
              <a:gd name="connsiteY177" fmla="*/ 450937 h 1295065"/>
              <a:gd name="connsiteX178" fmla="*/ 1562653 w 1590358"/>
              <a:gd name="connsiteY178" fmla="*/ 435279 h 1295065"/>
              <a:gd name="connsiteX179" fmla="*/ 1565784 w 1590358"/>
              <a:gd name="connsiteY179" fmla="*/ 272441 h 1295065"/>
              <a:gd name="connsiteX180" fmla="*/ 1575179 w 1590358"/>
              <a:gd name="connsiteY180" fmla="*/ 231731 h 1295065"/>
              <a:gd name="connsiteX181" fmla="*/ 1581442 w 1590358"/>
              <a:gd name="connsiteY181" fmla="*/ 206679 h 1295065"/>
              <a:gd name="connsiteX182" fmla="*/ 1584573 w 1590358"/>
              <a:gd name="connsiteY182" fmla="*/ 197285 h 1295065"/>
              <a:gd name="connsiteX183" fmla="*/ 1584573 w 1590358"/>
              <a:gd name="connsiteY183" fmla="*/ 93945 h 1295065"/>
              <a:gd name="connsiteX0" fmla="*/ 1584573 w 1590358"/>
              <a:gd name="connsiteY0" fmla="*/ 93945 h 1295065"/>
              <a:gd name="connsiteX1" fmla="*/ 1509417 w 1590358"/>
              <a:gd name="connsiteY1" fmla="*/ 90813 h 1295065"/>
              <a:gd name="connsiteX2" fmla="*/ 1500023 w 1590358"/>
              <a:gd name="connsiteY2" fmla="*/ 87682 h 1295065"/>
              <a:gd name="connsiteX3" fmla="*/ 1449918 w 1590358"/>
              <a:gd name="connsiteY3" fmla="*/ 90813 h 1295065"/>
              <a:gd name="connsiteX4" fmla="*/ 1355973 w 1590358"/>
              <a:gd name="connsiteY4" fmla="*/ 87682 h 1295065"/>
              <a:gd name="connsiteX5" fmla="*/ 1321527 w 1590358"/>
              <a:gd name="connsiteY5" fmla="*/ 78287 h 1295065"/>
              <a:gd name="connsiteX6" fmla="*/ 1299606 w 1590358"/>
              <a:gd name="connsiteY6" fmla="*/ 72024 h 1295065"/>
              <a:gd name="connsiteX7" fmla="*/ 1290212 w 1590358"/>
              <a:gd name="connsiteY7" fmla="*/ 68893 h 1295065"/>
              <a:gd name="connsiteX8" fmla="*/ 1218187 w 1590358"/>
              <a:gd name="connsiteY8" fmla="*/ 65761 h 1295065"/>
              <a:gd name="connsiteX9" fmla="*/ 1158688 w 1590358"/>
              <a:gd name="connsiteY9" fmla="*/ 59499 h 1295065"/>
              <a:gd name="connsiteX10" fmla="*/ 1139899 w 1590358"/>
              <a:gd name="connsiteY10" fmla="*/ 81419 h 1295065"/>
              <a:gd name="connsiteX11" fmla="*/ 1133637 w 1590358"/>
              <a:gd name="connsiteY11" fmla="*/ 75156 h 1295065"/>
              <a:gd name="connsiteX12" fmla="*/ 1092927 w 1590358"/>
              <a:gd name="connsiteY12" fmla="*/ 72024 h 1295065"/>
              <a:gd name="connsiteX13" fmla="*/ 1077269 w 1590358"/>
              <a:gd name="connsiteY13" fmla="*/ 81419 h 1295065"/>
              <a:gd name="connsiteX14" fmla="*/ 1058480 w 1590358"/>
              <a:gd name="connsiteY14" fmla="*/ 72024 h 1295065"/>
              <a:gd name="connsiteX15" fmla="*/ 1039691 w 1590358"/>
              <a:gd name="connsiteY15" fmla="*/ 65761 h 1295065"/>
              <a:gd name="connsiteX16" fmla="*/ 1020902 w 1590358"/>
              <a:gd name="connsiteY16" fmla="*/ 53235 h 1295065"/>
              <a:gd name="connsiteX17" fmla="*/ 986455 w 1590358"/>
              <a:gd name="connsiteY17" fmla="*/ 46972 h 1295065"/>
              <a:gd name="connsiteX18" fmla="*/ 970798 w 1590358"/>
              <a:gd name="connsiteY18" fmla="*/ 43841 h 1295065"/>
              <a:gd name="connsiteX19" fmla="*/ 942614 w 1590358"/>
              <a:gd name="connsiteY19" fmla="*/ 46972 h 1295065"/>
              <a:gd name="connsiteX20" fmla="*/ 933220 w 1590358"/>
              <a:gd name="connsiteY20" fmla="*/ 50104 h 1295065"/>
              <a:gd name="connsiteX21" fmla="*/ 920694 w 1590358"/>
              <a:gd name="connsiteY21" fmla="*/ 53235 h 1295065"/>
              <a:gd name="connsiteX22" fmla="*/ 911299 w 1590358"/>
              <a:gd name="connsiteY22" fmla="*/ 56367 h 1295065"/>
              <a:gd name="connsiteX23" fmla="*/ 867458 w 1590358"/>
              <a:gd name="connsiteY23" fmla="*/ 59498 h 1295065"/>
              <a:gd name="connsiteX24" fmla="*/ 858064 w 1590358"/>
              <a:gd name="connsiteY24" fmla="*/ 65761 h 1295065"/>
              <a:gd name="connsiteX25" fmla="*/ 814223 w 1590358"/>
              <a:gd name="connsiteY25" fmla="*/ 65761 h 1295065"/>
              <a:gd name="connsiteX26" fmla="*/ 795434 w 1590358"/>
              <a:gd name="connsiteY26" fmla="*/ 50104 h 1295065"/>
              <a:gd name="connsiteX27" fmla="*/ 801697 w 1590358"/>
              <a:gd name="connsiteY27" fmla="*/ 34446 h 1295065"/>
              <a:gd name="connsiteX28" fmla="*/ 795434 w 1590358"/>
              <a:gd name="connsiteY28" fmla="*/ 28183 h 1295065"/>
              <a:gd name="connsiteX29" fmla="*/ 786038 w 1590358"/>
              <a:gd name="connsiteY29" fmla="*/ 18789 h 1295065"/>
              <a:gd name="connsiteX30" fmla="*/ 757855 w 1590358"/>
              <a:gd name="connsiteY30" fmla="*/ 18789 h 1295065"/>
              <a:gd name="connsiteX31" fmla="*/ 748461 w 1590358"/>
              <a:gd name="connsiteY31" fmla="*/ 12526 h 1295065"/>
              <a:gd name="connsiteX32" fmla="*/ 739066 w 1590358"/>
              <a:gd name="connsiteY32" fmla="*/ 3131 h 1295065"/>
              <a:gd name="connsiteX33" fmla="*/ 729672 w 1590358"/>
              <a:gd name="connsiteY33" fmla="*/ 0 h 1295065"/>
              <a:gd name="connsiteX34" fmla="*/ 720277 w 1590358"/>
              <a:gd name="connsiteY34" fmla="*/ 3131 h 1295065"/>
              <a:gd name="connsiteX35" fmla="*/ 707751 w 1590358"/>
              <a:gd name="connsiteY35" fmla="*/ 21920 h 1295065"/>
              <a:gd name="connsiteX36" fmla="*/ 695225 w 1590358"/>
              <a:gd name="connsiteY36" fmla="*/ 37578 h 1295065"/>
              <a:gd name="connsiteX37" fmla="*/ 676436 w 1590358"/>
              <a:gd name="connsiteY37" fmla="*/ 53235 h 1295065"/>
              <a:gd name="connsiteX38" fmla="*/ 657647 w 1590358"/>
              <a:gd name="connsiteY38" fmla="*/ 59498 h 1295065"/>
              <a:gd name="connsiteX39" fmla="*/ 648253 w 1590358"/>
              <a:gd name="connsiteY39" fmla="*/ 65761 h 1295065"/>
              <a:gd name="connsiteX40" fmla="*/ 638858 w 1590358"/>
              <a:gd name="connsiteY40" fmla="*/ 68893 h 1295065"/>
              <a:gd name="connsiteX41" fmla="*/ 635727 w 1590358"/>
              <a:gd name="connsiteY41" fmla="*/ 78287 h 1295065"/>
              <a:gd name="connsiteX42" fmla="*/ 626332 w 1590358"/>
              <a:gd name="connsiteY42" fmla="*/ 87682 h 1295065"/>
              <a:gd name="connsiteX43" fmla="*/ 613806 w 1590358"/>
              <a:gd name="connsiteY43" fmla="*/ 106471 h 1295065"/>
              <a:gd name="connsiteX44" fmla="*/ 604412 w 1590358"/>
              <a:gd name="connsiteY44" fmla="*/ 109602 h 1295065"/>
              <a:gd name="connsiteX45" fmla="*/ 595017 w 1590358"/>
              <a:gd name="connsiteY45" fmla="*/ 115865 h 1295065"/>
              <a:gd name="connsiteX46" fmla="*/ 585623 w 1590358"/>
              <a:gd name="connsiteY46" fmla="*/ 118997 h 1295065"/>
              <a:gd name="connsiteX47" fmla="*/ 566834 w 1590358"/>
              <a:gd name="connsiteY47" fmla="*/ 131523 h 1295065"/>
              <a:gd name="connsiteX48" fmla="*/ 557439 w 1590358"/>
              <a:gd name="connsiteY48" fmla="*/ 137786 h 1295065"/>
              <a:gd name="connsiteX49" fmla="*/ 544913 w 1590358"/>
              <a:gd name="connsiteY49" fmla="*/ 156575 h 1295065"/>
              <a:gd name="connsiteX50" fmla="*/ 532387 w 1590358"/>
              <a:gd name="connsiteY50" fmla="*/ 184759 h 1295065"/>
              <a:gd name="connsiteX51" fmla="*/ 522992 w 1590358"/>
              <a:gd name="connsiteY51" fmla="*/ 194153 h 1295065"/>
              <a:gd name="connsiteX52" fmla="*/ 513598 w 1590358"/>
              <a:gd name="connsiteY52" fmla="*/ 197285 h 1295065"/>
              <a:gd name="connsiteX53" fmla="*/ 504203 w 1590358"/>
              <a:gd name="connsiteY53" fmla="*/ 203548 h 1295065"/>
              <a:gd name="connsiteX54" fmla="*/ 466625 w 1590358"/>
              <a:gd name="connsiteY54" fmla="*/ 209811 h 1295065"/>
              <a:gd name="connsiteX55" fmla="*/ 457231 w 1590358"/>
              <a:gd name="connsiteY55" fmla="*/ 216074 h 1295065"/>
              <a:gd name="connsiteX56" fmla="*/ 438442 w 1590358"/>
              <a:gd name="connsiteY56" fmla="*/ 234863 h 1295065"/>
              <a:gd name="connsiteX57" fmla="*/ 429047 w 1590358"/>
              <a:gd name="connsiteY57" fmla="*/ 241126 h 1295065"/>
              <a:gd name="connsiteX58" fmla="*/ 413390 w 1590358"/>
              <a:gd name="connsiteY58" fmla="*/ 259915 h 1295065"/>
              <a:gd name="connsiteX59" fmla="*/ 410258 w 1590358"/>
              <a:gd name="connsiteY59" fmla="*/ 269309 h 1295065"/>
              <a:gd name="connsiteX60" fmla="*/ 397732 w 1590358"/>
              <a:gd name="connsiteY60" fmla="*/ 288098 h 1295065"/>
              <a:gd name="connsiteX61" fmla="*/ 394601 w 1590358"/>
              <a:gd name="connsiteY61" fmla="*/ 316282 h 1295065"/>
              <a:gd name="connsiteX62" fmla="*/ 413390 w 1590358"/>
              <a:gd name="connsiteY62" fmla="*/ 310019 h 1295065"/>
              <a:gd name="connsiteX63" fmla="*/ 422784 w 1590358"/>
              <a:gd name="connsiteY63" fmla="*/ 288098 h 1295065"/>
              <a:gd name="connsiteX64" fmla="*/ 441573 w 1590358"/>
              <a:gd name="connsiteY64" fmla="*/ 259915 h 1295065"/>
              <a:gd name="connsiteX65" fmla="*/ 450968 w 1590358"/>
              <a:gd name="connsiteY65" fmla="*/ 253652 h 1295065"/>
              <a:gd name="connsiteX66" fmla="*/ 469757 w 1590358"/>
              <a:gd name="connsiteY66" fmla="*/ 241126 h 1295065"/>
              <a:gd name="connsiteX67" fmla="*/ 476020 w 1590358"/>
              <a:gd name="connsiteY67" fmla="*/ 250520 h 1295065"/>
              <a:gd name="connsiteX68" fmla="*/ 469757 w 1590358"/>
              <a:gd name="connsiteY68" fmla="*/ 278704 h 1295065"/>
              <a:gd name="connsiteX69" fmla="*/ 460362 w 1590358"/>
              <a:gd name="connsiteY69" fmla="*/ 284967 h 1295065"/>
              <a:gd name="connsiteX70" fmla="*/ 447836 w 1590358"/>
              <a:gd name="connsiteY70" fmla="*/ 294361 h 1295065"/>
              <a:gd name="connsiteX71" fmla="*/ 441573 w 1590358"/>
              <a:gd name="connsiteY71" fmla="*/ 303756 h 1295065"/>
              <a:gd name="connsiteX72" fmla="*/ 419653 w 1590358"/>
              <a:gd name="connsiteY72" fmla="*/ 328808 h 1295065"/>
              <a:gd name="connsiteX73" fmla="*/ 413390 w 1590358"/>
              <a:gd name="connsiteY73" fmla="*/ 347597 h 1295065"/>
              <a:gd name="connsiteX74" fmla="*/ 397732 w 1590358"/>
              <a:gd name="connsiteY74" fmla="*/ 403964 h 1295065"/>
              <a:gd name="connsiteX75" fmla="*/ 378943 w 1590358"/>
              <a:gd name="connsiteY75" fmla="*/ 422753 h 1295065"/>
              <a:gd name="connsiteX76" fmla="*/ 375812 w 1590358"/>
              <a:gd name="connsiteY76" fmla="*/ 432148 h 1295065"/>
              <a:gd name="connsiteX77" fmla="*/ 363286 w 1590358"/>
              <a:gd name="connsiteY77" fmla="*/ 450937 h 1295065"/>
              <a:gd name="connsiteX78" fmla="*/ 350760 w 1590358"/>
              <a:gd name="connsiteY78" fmla="*/ 469726 h 1295065"/>
              <a:gd name="connsiteX79" fmla="*/ 338234 w 1590358"/>
              <a:gd name="connsiteY79" fmla="*/ 488515 h 1295065"/>
              <a:gd name="connsiteX80" fmla="*/ 331971 w 1590358"/>
              <a:gd name="connsiteY80" fmla="*/ 551145 h 1295065"/>
              <a:gd name="connsiteX81" fmla="*/ 325707 w 1590358"/>
              <a:gd name="connsiteY81" fmla="*/ 557408 h 1295065"/>
              <a:gd name="connsiteX82" fmla="*/ 300655 w 1590358"/>
              <a:gd name="connsiteY82" fmla="*/ 557407 h 1295065"/>
              <a:gd name="connsiteX83" fmla="*/ 284998 w 1590358"/>
              <a:gd name="connsiteY83" fmla="*/ 591854 h 1295065"/>
              <a:gd name="connsiteX84" fmla="*/ 278735 w 1590358"/>
              <a:gd name="connsiteY84" fmla="*/ 610643 h 1295065"/>
              <a:gd name="connsiteX85" fmla="*/ 259946 w 1590358"/>
              <a:gd name="connsiteY85" fmla="*/ 626301 h 1295065"/>
              <a:gd name="connsiteX86" fmla="*/ 253683 w 1590358"/>
              <a:gd name="connsiteY86" fmla="*/ 673274 h 1295065"/>
              <a:gd name="connsiteX87" fmla="*/ 247420 w 1590358"/>
              <a:gd name="connsiteY87" fmla="*/ 692063 h 1295065"/>
              <a:gd name="connsiteX88" fmla="*/ 244288 w 1590358"/>
              <a:gd name="connsiteY88" fmla="*/ 701457 h 1295065"/>
              <a:gd name="connsiteX89" fmla="*/ 228631 w 1590358"/>
              <a:gd name="connsiteY89" fmla="*/ 720246 h 1295065"/>
              <a:gd name="connsiteX90" fmla="*/ 222368 w 1590358"/>
              <a:gd name="connsiteY90" fmla="*/ 739035 h 1295065"/>
              <a:gd name="connsiteX91" fmla="*/ 219236 w 1590358"/>
              <a:gd name="connsiteY91" fmla="*/ 748430 h 1295065"/>
              <a:gd name="connsiteX92" fmla="*/ 209842 w 1590358"/>
              <a:gd name="connsiteY92" fmla="*/ 767219 h 1295065"/>
              <a:gd name="connsiteX93" fmla="*/ 200447 w 1590358"/>
              <a:gd name="connsiteY93" fmla="*/ 770350 h 1295065"/>
              <a:gd name="connsiteX94" fmla="*/ 166001 w 1590358"/>
              <a:gd name="connsiteY94" fmla="*/ 760956 h 1295065"/>
              <a:gd name="connsiteX95" fmla="*/ 134686 w 1590358"/>
              <a:gd name="connsiteY95" fmla="*/ 795402 h 1295065"/>
              <a:gd name="connsiteX96" fmla="*/ 131554 w 1590358"/>
              <a:gd name="connsiteY96" fmla="*/ 804797 h 1295065"/>
              <a:gd name="connsiteX97" fmla="*/ 112765 w 1590358"/>
              <a:gd name="connsiteY97" fmla="*/ 820454 h 1295065"/>
              <a:gd name="connsiteX98" fmla="*/ 103371 w 1590358"/>
              <a:gd name="connsiteY98" fmla="*/ 823586 h 1295065"/>
              <a:gd name="connsiteX99" fmla="*/ 87713 w 1590358"/>
              <a:gd name="connsiteY99" fmla="*/ 839243 h 1295065"/>
              <a:gd name="connsiteX100" fmla="*/ 78318 w 1590358"/>
              <a:gd name="connsiteY100" fmla="*/ 873690 h 1295065"/>
              <a:gd name="connsiteX101" fmla="*/ 78318 w 1590358"/>
              <a:gd name="connsiteY101" fmla="*/ 873690 h 1295065"/>
              <a:gd name="connsiteX102" fmla="*/ 75187 w 1590358"/>
              <a:gd name="connsiteY102" fmla="*/ 886216 h 1295065"/>
              <a:gd name="connsiteX103" fmla="*/ 65792 w 1590358"/>
              <a:gd name="connsiteY103" fmla="*/ 914400 h 1295065"/>
              <a:gd name="connsiteX104" fmla="*/ 62661 w 1590358"/>
              <a:gd name="connsiteY104" fmla="*/ 923794 h 1295065"/>
              <a:gd name="connsiteX105" fmla="*/ 59529 w 1590358"/>
              <a:gd name="connsiteY105" fmla="*/ 933189 h 1295065"/>
              <a:gd name="connsiteX106" fmla="*/ 62661 w 1590358"/>
              <a:gd name="connsiteY106" fmla="*/ 945715 h 1295065"/>
              <a:gd name="connsiteX107" fmla="*/ 65792 w 1590358"/>
              <a:gd name="connsiteY107" fmla="*/ 955109 h 1295065"/>
              <a:gd name="connsiteX108" fmla="*/ 53266 w 1590358"/>
              <a:gd name="connsiteY108" fmla="*/ 973898 h 1295065"/>
              <a:gd name="connsiteX109" fmla="*/ 50135 w 1590358"/>
              <a:gd name="connsiteY109" fmla="*/ 983293 h 1295065"/>
              <a:gd name="connsiteX110" fmla="*/ 43872 w 1590358"/>
              <a:gd name="connsiteY110" fmla="*/ 1036528 h 1295065"/>
              <a:gd name="connsiteX111" fmla="*/ 34477 w 1590358"/>
              <a:gd name="connsiteY111" fmla="*/ 1064712 h 1295065"/>
              <a:gd name="connsiteX112" fmla="*/ 31346 w 1590358"/>
              <a:gd name="connsiteY112" fmla="*/ 1074106 h 1295065"/>
              <a:gd name="connsiteX113" fmla="*/ 21951 w 1590358"/>
              <a:gd name="connsiteY113" fmla="*/ 1136737 h 1295065"/>
              <a:gd name="connsiteX114" fmla="*/ 18820 w 1590358"/>
              <a:gd name="connsiteY114" fmla="*/ 1149263 h 1295065"/>
              <a:gd name="connsiteX115" fmla="*/ 12557 w 1590358"/>
              <a:gd name="connsiteY115" fmla="*/ 1196235 h 1295065"/>
              <a:gd name="connsiteX116" fmla="*/ 9425 w 1590358"/>
              <a:gd name="connsiteY116" fmla="*/ 1205630 h 1295065"/>
              <a:gd name="connsiteX117" fmla="*/ 6294 w 1590358"/>
              <a:gd name="connsiteY117" fmla="*/ 1221287 h 1295065"/>
              <a:gd name="connsiteX118" fmla="*/ 31 w 1590358"/>
              <a:gd name="connsiteY118" fmla="*/ 1240076 h 1295065"/>
              <a:gd name="connsiteX119" fmla="*/ 3162 w 1590358"/>
              <a:gd name="connsiteY119" fmla="*/ 1293312 h 1295065"/>
              <a:gd name="connsiteX120" fmla="*/ 15688 w 1590358"/>
              <a:gd name="connsiteY120" fmla="*/ 1290180 h 1295065"/>
              <a:gd name="connsiteX121" fmla="*/ 21951 w 1590358"/>
              <a:gd name="connsiteY121" fmla="*/ 1271391 h 1295065"/>
              <a:gd name="connsiteX122" fmla="*/ 25083 w 1590358"/>
              <a:gd name="connsiteY122" fmla="*/ 1261997 h 1295065"/>
              <a:gd name="connsiteX123" fmla="*/ 28214 w 1590358"/>
              <a:gd name="connsiteY123" fmla="*/ 1211893 h 1295065"/>
              <a:gd name="connsiteX124" fmla="*/ 37609 w 1590358"/>
              <a:gd name="connsiteY124" fmla="*/ 1183709 h 1295065"/>
              <a:gd name="connsiteX125" fmla="*/ 43872 w 1590358"/>
              <a:gd name="connsiteY125" fmla="*/ 1161789 h 1295065"/>
              <a:gd name="connsiteX126" fmla="*/ 50135 w 1590358"/>
              <a:gd name="connsiteY126" fmla="*/ 1143000 h 1295065"/>
              <a:gd name="connsiteX127" fmla="*/ 53266 w 1590358"/>
              <a:gd name="connsiteY127" fmla="*/ 1121079 h 1295065"/>
              <a:gd name="connsiteX128" fmla="*/ 56398 w 1590358"/>
              <a:gd name="connsiteY128" fmla="*/ 1111685 h 1295065"/>
              <a:gd name="connsiteX129" fmla="*/ 75187 w 1590358"/>
              <a:gd name="connsiteY129" fmla="*/ 1099159 h 1295065"/>
              <a:gd name="connsiteX130" fmla="*/ 119028 w 1590358"/>
              <a:gd name="connsiteY130" fmla="*/ 1102290 h 1295065"/>
              <a:gd name="connsiteX131" fmla="*/ 150343 w 1590358"/>
              <a:gd name="connsiteY131" fmla="*/ 1105422 h 1295065"/>
              <a:gd name="connsiteX132" fmla="*/ 222368 w 1590358"/>
              <a:gd name="connsiteY132" fmla="*/ 1108553 h 1295065"/>
              <a:gd name="connsiteX133" fmla="*/ 231762 w 1590358"/>
              <a:gd name="connsiteY133" fmla="*/ 1111685 h 1295065"/>
              <a:gd name="connsiteX134" fmla="*/ 369549 w 1590358"/>
              <a:gd name="connsiteY134" fmla="*/ 1117948 h 1295065"/>
              <a:gd name="connsiteX135" fmla="*/ 416521 w 1590358"/>
              <a:gd name="connsiteY135" fmla="*/ 1121079 h 1295065"/>
              <a:gd name="connsiteX136" fmla="*/ 447836 w 1590358"/>
              <a:gd name="connsiteY136" fmla="*/ 1127342 h 1295065"/>
              <a:gd name="connsiteX137" fmla="*/ 497940 w 1590358"/>
              <a:gd name="connsiteY137" fmla="*/ 1133605 h 1295065"/>
              <a:gd name="connsiteX138" fmla="*/ 601280 w 1590358"/>
              <a:gd name="connsiteY138" fmla="*/ 1136737 h 1295065"/>
              <a:gd name="connsiteX139" fmla="*/ 770381 w 1590358"/>
              <a:gd name="connsiteY139" fmla="*/ 1139868 h 1295065"/>
              <a:gd name="connsiteX140" fmla="*/ 786039 w 1590358"/>
              <a:gd name="connsiteY140" fmla="*/ 1143000 h 1295065"/>
              <a:gd name="connsiteX141" fmla="*/ 886247 w 1590358"/>
              <a:gd name="connsiteY141" fmla="*/ 1149263 h 1295065"/>
              <a:gd name="connsiteX142" fmla="*/ 930088 w 1590358"/>
              <a:gd name="connsiteY142" fmla="*/ 1155526 h 1295065"/>
              <a:gd name="connsiteX143" fmla="*/ 967666 w 1590358"/>
              <a:gd name="connsiteY143" fmla="*/ 1161789 h 1295065"/>
              <a:gd name="connsiteX144" fmla="*/ 992718 w 1590358"/>
              <a:gd name="connsiteY144" fmla="*/ 1164920 h 1295065"/>
              <a:gd name="connsiteX145" fmla="*/ 1036560 w 1590358"/>
              <a:gd name="connsiteY145" fmla="*/ 1171183 h 1295065"/>
              <a:gd name="connsiteX146" fmla="*/ 1058480 w 1590358"/>
              <a:gd name="connsiteY146" fmla="*/ 1174315 h 1295065"/>
              <a:gd name="connsiteX147" fmla="*/ 1067875 w 1590358"/>
              <a:gd name="connsiteY147" fmla="*/ 1177446 h 1295065"/>
              <a:gd name="connsiteX148" fmla="*/ 1099190 w 1590358"/>
              <a:gd name="connsiteY148" fmla="*/ 1183709 h 1295065"/>
              <a:gd name="connsiteX149" fmla="*/ 1236976 w 1590358"/>
              <a:gd name="connsiteY149" fmla="*/ 1149263 h 1295065"/>
              <a:gd name="connsiteX150" fmla="*/ 1233844 w 1590358"/>
              <a:gd name="connsiteY150" fmla="*/ 1136737 h 1295065"/>
              <a:gd name="connsiteX151" fmla="*/ 1230713 w 1590358"/>
              <a:gd name="connsiteY151" fmla="*/ 801665 h 1295065"/>
              <a:gd name="connsiteX152" fmla="*/ 1227581 w 1590358"/>
              <a:gd name="connsiteY152" fmla="*/ 792271 h 1295065"/>
              <a:gd name="connsiteX153" fmla="*/ 1224450 w 1590358"/>
              <a:gd name="connsiteY153" fmla="*/ 767219 h 1295065"/>
              <a:gd name="connsiteX154" fmla="*/ 1218187 w 1590358"/>
              <a:gd name="connsiteY154" fmla="*/ 729641 h 1295065"/>
              <a:gd name="connsiteX155" fmla="*/ 1221318 w 1590358"/>
              <a:gd name="connsiteY155" fmla="*/ 667011 h 1295065"/>
              <a:gd name="connsiteX156" fmla="*/ 1227581 w 1590358"/>
              <a:gd name="connsiteY156" fmla="*/ 657616 h 1295065"/>
              <a:gd name="connsiteX157" fmla="*/ 1230713 w 1590358"/>
              <a:gd name="connsiteY157" fmla="*/ 648222 h 1295065"/>
              <a:gd name="connsiteX158" fmla="*/ 1240107 w 1590358"/>
              <a:gd name="connsiteY158" fmla="*/ 635695 h 1295065"/>
              <a:gd name="connsiteX159" fmla="*/ 1246371 w 1590358"/>
              <a:gd name="connsiteY159" fmla="*/ 626301 h 1295065"/>
              <a:gd name="connsiteX160" fmla="*/ 1249502 w 1590358"/>
              <a:gd name="connsiteY160" fmla="*/ 616906 h 1295065"/>
              <a:gd name="connsiteX161" fmla="*/ 1271423 w 1590358"/>
              <a:gd name="connsiteY161" fmla="*/ 588723 h 1295065"/>
              <a:gd name="connsiteX162" fmla="*/ 1290212 w 1590358"/>
              <a:gd name="connsiteY162" fmla="*/ 576197 h 1295065"/>
              <a:gd name="connsiteX163" fmla="*/ 1299606 w 1590358"/>
              <a:gd name="connsiteY163" fmla="*/ 569934 h 1295065"/>
              <a:gd name="connsiteX164" fmla="*/ 1318395 w 1590358"/>
              <a:gd name="connsiteY164" fmla="*/ 554276 h 1295065"/>
              <a:gd name="connsiteX165" fmla="*/ 1327790 w 1590358"/>
              <a:gd name="connsiteY165" fmla="*/ 544882 h 1295065"/>
              <a:gd name="connsiteX166" fmla="*/ 1340316 w 1590358"/>
              <a:gd name="connsiteY166" fmla="*/ 538619 h 1295065"/>
              <a:gd name="connsiteX167" fmla="*/ 1362236 w 1590358"/>
              <a:gd name="connsiteY167" fmla="*/ 522961 h 1295065"/>
              <a:gd name="connsiteX168" fmla="*/ 1371631 w 1590358"/>
              <a:gd name="connsiteY168" fmla="*/ 519830 h 1295065"/>
              <a:gd name="connsiteX169" fmla="*/ 1381025 w 1590358"/>
              <a:gd name="connsiteY169" fmla="*/ 510435 h 1295065"/>
              <a:gd name="connsiteX170" fmla="*/ 1427998 w 1590358"/>
              <a:gd name="connsiteY170" fmla="*/ 501041 h 1295065"/>
              <a:gd name="connsiteX171" fmla="*/ 1459313 w 1590358"/>
              <a:gd name="connsiteY171" fmla="*/ 491646 h 1295065"/>
              <a:gd name="connsiteX172" fmla="*/ 1468707 w 1590358"/>
              <a:gd name="connsiteY172" fmla="*/ 485383 h 1295065"/>
              <a:gd name="connsiteX173" fmla="*/ 1478102 w 1590358"/>
              <a:gd name="connsiteY173" fmla="*/ 482252 h 1295065"/>
              <a:gd name="connsiteX174" fmla="*/ 1490628 w 1590358"/>
              <a:gd name="connsiteY174" fmla="*/ 472857 h 1295065"/>
              <a:gd name="connsiteX175" fmla="*/ 1521943 w 1590358"/>
              <a:gd name="connsiteY175" fmla="*/ 460331 h 1295065"/>
              <a:gd name="connsiteX176" fmla="*/ 1540732 w 1590358"/>
              <a:gd name="connsiteY176" fmla="*/ 454068 h 1295065"/>
              <a:gd name="connsiteX177" fmla="*/ 1550127 w 1590358"/>
              <a:gd name="connsiteY177" fmla="*/ 450937 h 1295065"/>
              <a:gd name="connsiteX178" fmla="*/ 1562653 w 1590358"/>
              <a:gd name="connsiteY178" fmla="*/ 435279 h 1295065"/>
              <a:gd name="connsiteX179" fmla="*/ 1565784 w 1590358"/>
              <a:gd name="connsiteY179" fmla="*/ 272441 h 1295065"/>
              <a:gd name="connsiteX180" fmla="*/ 1575179 w 1590358"/>
              <a:gd name="connsiteY180" fmla="*/ 231731 h 1295065"/>
              <a:gd name="connsiteX181" fmla="*/ 1581442 w 1590358"/>
              <a:gd name="connsiteY181" fmla="*/ 206679 h 1295065"/>
              <a:gd name="connsiteX182" fmla="*/ 1584573 w 1590358"/>
              <a:gd name="connsiteY182" fmla="*/ 197285 h 1295065"/>
              <a:gd name="connsiteX183" fmla="*/ 1584573 w 1590358"/>
              <a:gd name="connsiteY183" fmla="*/ 93945 h 1295065"/>
              <a:gd name="connsiteX0" fmla="*/ 1584573 w 1590358"/>
              <a:gd name="connsiteY0" fmla="*/ 93945 h 1295065"/>
              <a:gd name="connsiteX1" fmla="*/ 1509417 w 1590358"/>
              <a:gd name="connsiteY1" fmla="*/ 90813 h 1295065"/>
              <a:gd name="connsiteX2" fmla="*/ 1500023 w 1590358"/>
              <a:gd name="connsiteY2" fmla="*/ 87682 h 1295065"/>
              <a:gd name="connsiteX3" fmla="*/ 1449918 w 1590358"/>
              <a:gd name="connsiteY3" fmla="*/ 90813 h 1295065"/>
              <a:gd name="connsiteX4" fmla="*/ 1355973 w 1590358"/>
              <a:gd name="connsiteY4" fmla="*/ 87682 h 1295065"/>
              <a:gd name="connsiteX5" fmla="*/ 1321527 w 1590358"/>
              <a:gd name="connsiteY5" fmla="*/ 78287 h 1295065"/>
              <a:gd name="connsiteX6" fmla="*/ 1299606 w 1590358"/>
              <a:gd name="connsiteY6" fmla="*/ 72024 h 1295065"/>
              <a:gd name="connsiteX7" fmla="*/ 1290212 w 1590358"/>
              <a:gd name="connsiteY7" fmla="*/ 68893 h 1295065"/>
              <a:gd name="connsiteX8" fmla="*/ 1218187 w 1590358"/>
              <a:gd name="connsiteY8" fmla="*/ 65761 h 1295065"/>
              <a:gd name="connsiteX9" fmla="*/ 1158688 w 1590358"/>
              <a:gd name="connsiteY9" fmla="*/ 59499 h 1295065"/>
              <a:gd name="connsiteX10" fmla="*/ 1139899 w 1590358"/>
              <a:gd name="connsiteY10" fmla="*/ 81419 h 1295065"/>
              <a:gd name="connsiteX11" fmla="*/ 1133637 w 1590358"/>
              <a:gd name="connsiteY11" fmla="*/ 75156 h 1295065"/>
              <a:gd name="connsiteX12" fmla="*/ 1092927 w 1590358"/>
              <a:gd name="connsiteY12" fmla="*/ 72024 h 1295065"/>
              <a:gd name="connsiteX13" fmla="*/ 1077269 w 1590358"/>
              <a:gd name="connsiteY13" fmla="*/ 81419 h 1295065"/>
              <a:gd name="connsiteX14" fmla="*/ 1058480 w 1590358"/>
              <a:gd name="connsiteY14" fmla="*/ 72024 h 1295065"/>
              <a:gd name="connsiteX15" fmla="*/ 1039691 w 1590358"/>
              <a:gd name="connsiteY15" fmla="*/ 65761 h 1295065"/>
              <a:gd name="connsiteX16" fmla="*/ 1020902 w 1590358"/>
              <a:gd name="connsiteY16" fmla="*/ 53235 h 1295065"/>
              <a:gd name="connsiteX17" fmla="*/ 986455 w 1590358"/>
              <a:gd name="connsiteY17" fmla="*/ 46972 h 1295065"/>
              <a:gd name="connsiteX18" fmla="*/ 970798 w 1590358"/>
              <a:gd name="connsiteY18" fmla="*/ 43841 h 1295065"/>
              <a:gd name="connsiteX19" fmla="*/ 942614 w 1590358"/>
              <a:gd name="connsiteY19" fmla="*/ 46972 h 1295065"/>
              <a:gd name="connsiteX20" fmla="*/ 933220 w 1590358"/>
              <a:gd name="connsiteY20" fmla="*/ 50104 h 1295065"/>
              <a:gd name="connsiteX21" fmla="*/ 920694 w 1590358"/>
              <a:gd name="connsiteY21" fmla="*/ 53235 h 1295065"/>
              <a:gd name="connsiteX22" fmla="*/ 911299 w 1590358"/>
              <a:gd name="connsiteY22" fmla="*/ 56367 h 1295065"/>
              <a:gd name="connsiteX23" fmla="*/ 867458 w 1590358"/>
              <a:gd name="connsiteY23" fmla="*/ 59498 h 1295065"/>
              <a:gd name="connsiteX24" fmla="*/ 858064 w 1590358"/>
              <a:gd name="connsiteY24" fmla="*/ 65761 h 1295065"/>
              <a:gd name="connsiteX25" fmla="*/ 814223 w 1590358"/>
              <a:gd name="connsiteY25" fmla="*/ 65761 h 1295065"/>
              <a:gd name="connsiteX26" fmla="*/ 795434 w 1590358"/>
              <a:gd name="connsiteY26" fmla="*/ 50104 h 1295065"/>
              <a:gd name="connsiteX27" fmla="*/ 801697 w 1590358"/>
              <a:gd name="connsiteY27" fmla="*/ 34446 h 1295065"/>
              <a:gd name="connsiteX28" fmla="*/ 798565 w 1590358"/>
              <a:gd name="connsiteY28" fmla="*/ 15657 h 1295065"/>
              <a:gd name="connsiteX29" fmla="*/ 786038 w 1590358"/>
              <a:gd name="connsiteY29" fmla="*/ 18789 h 1295065"/>
              <a:gd name="connsiteX30" fmla="*/ 757855 w 1590358"/>
              <a:gd name="connsiteY30" fmla="*/ 18789 h 1295065"/>
              <a:gd name="connsiteX31" fmla="*/ 748461 w 1590358"/>
              <a:gd name="connsiteY31" fmla="*/ 12526 h 1295065"/>
              <a:gd name="connsiteX32" fmla="*/ 739066 w 1590358"/>
              <a:gd name="connsiteY32" fmla="*/ 3131 h 1295065"/>
              <a:gd name="connsiteX33" fmla="*/ 729672 w 1590358"/>
              <a:gd name="connsiteY33" fmla="*/ 0 h 1295065"/>
              <a:gd name="connsiteX34" fmla="*/ 720277 w 1590358"/>
              <a:gd name="connsiteY34" fmla="*/ 3131 h 1295065"/>
              <a:gd name="connsiteX35" fmla="*/ 707751 w 1590358"/>
              <a:gd name="connsiteY35" fmla="*/ 21920 h 1295065"/>
              <a:gd name="connsiteX36" fmla="*/ 695225 w 1590358"/>
              <a:gd name="connsiteY36" fmla="*/ 37578 h 1295065"/>
              <a:gd name="connsiteX37" fmla="*/ 676436 w 1590358"/>
              <a:gd name="connsiteY37" fmla="*/ 53235 h 1295065"/>
              <a:gd name="connsiteX38" fmla="*/ 657647 w 1590358"/>
              <a:gd name="connsiteY38" fmla="*/ 59498 h 1295065"/>
              <a:gd name="connsiteX39" fmla="*/ 648253 w 1590358"/>
              <a:gd name="connsiteY39" fmla="*/ 65761 h 1295065"/>
              <a:gd name="connsiteX40" fmla="*/ 638858 w 1590358"/>
              <a:gd name="connsiteY40" fmla="*/ 68893 h 1295065"/>
              <a:gd name="connsiteX41" fmla="*/ 635727 w 1590358"/>
              <a:gd name="connsiteY41" fmla="*/ 78287 h 1295065"/>
              <a:gd name="connsiteX42" fmla="*/ 626332 w 1590358"/>
              <a:gd name="connsiteY42" fmla="*/ 87682 h 1295065"/>
              <a:gd name="connsiteX43" fmla="*/ 613806 w 1590358"/>
              <a:gd name="connsiteY43" fmla="*/ 106471 h 1295065"/>
              <a:gd name="connsiteX44" fmla="*/ 604412 w 1590358"/>
              <a:gd name="connsiteY44" fmla="*/ 109602 h 1295065"/>
              <a:gd name="connsiteX45" fmla="*/ 595017 w 1590358"/>
              <a:gd name="connsiteY45" fmla="*/ 115865 h 1295065"/>
              <a:gd name="connsiteX46" fmla="*/ 585623 w 1590358"/>
              <a:gd name="connsiteY46" fmla="*/ 118997 h 1295065"/>
              <a:gd name="connsiteX47" fmla="*/ 566834 w 1590358"/>
              <a:gd name="connsiteY47" fmla="*/ 131523 h 1295065"/>
              <a:gd name="connsiteX48" fmla="*/ 557439 w 1590358"/>
              <a:gd name="connsiteY48" fmla="*/ 137786 h 1295065"/>
              <a:gd name="connsiteX49" fmla="*/ 544913 w 1590358"/>
              <a:gd name="connsiteY49" fmla="*/ 156575 h 1295065"/>
              <a:gd name="connsiteX50" fmla="*/ 532387 w 1590358"/>
              <a:gd name="connsiteY50" fmla="*/ 184759 h 1295065"/>
              <a:gd name="connsiteX51" fmla="*/ 522992 w 1590358"/>
              <a:gd name="connsiteY51" fmla="*/ 194153 h 1295065"/>
              <a:gd name="connsiteX52" fmla="*/ 513598 w 1590358"/>
              <a:gd name="connsiteY52" fmla="*/ 197285 h 1295065"/>
              <a:gd name="connsiteX53" fmla="*/ 504203 w 1590358"/>
              <a:gd name="connsiteY53" fmla="*/ 203548 h 1295065"/>
              <a:gd name="connsiteX54" fmla="*/ 466625 w 1590358"/>
              <a:gd name="connsiteY54" fmla="*/ 209811 h 1295065"/>
              <a:gd name="connsiteX55" fmla="*/ 457231 w 1590358"/>
              <a:gd name="connsiteY55" fmla="*/ 216074 h 1295065"/>
              <a:gd name="connsiteX56" fmla="*/ 438442 w 1590358"/>
              <a:gd name="connsiteY56" fmla="*/ 234863 h 1295065"/>
              <a:gd name="connsiteX57" fmla="*/ 429047 w 1590358"/>
              <a:gd name="connsiteY57" fmla="*/ 241126 h 1295065"/>
              <a:gd name="connsiteX58" fmla="*/ 413390 w 1590358"/>
              <a:gd name="connsiteY58" fmla="*/ 259915 h 1295065"/>
              <a:gd name="connsiteX59" fmla="*/ 410258 w 1590358"/>
              <a:gd name="connsiteY59" fmla="*/ 269309 h 1295065"/>
              <a:gd name="connsiteX60" fmla="*/ 397732 w 1590358"/>
              <a:gd name="connsiteY60" fmla="*/ 288098 h 1295065"/>
              <a:gd name="connsiteX61" fmla="*/ 394601 w 1590358"/>
              <a:gd name="connsiteY61" fmla="*/ 316282 h 1295065"/>
              <a:gd name="connsiteX62" fmla="*/ 413390 w 1590358"/>
              <a:gd name="connsiteY62" fmla="*/ 310019 h 1295065"/>
              <a:gd name="connsiteX63" fmla="*/ 422784 w 1590358"/>
              <a:gd name="connsiteY63" fmla="*/ 288098 h 1295065"/>
              <a:gd name="connsiteX64" fmla="*/ 441573 w 1590358"/>
              <a:gd name="connsiteY64" fmla="*/ 259915 h 1295065"/>
              <a:gd name="connsiteX65" fmla="*/ 450968 w 1590358"/>
              <a:gd name="connsiteY65" fmla="*/ 253652 h 1295065"/>
              <a:gd name="connsiteX66" fmla="*/ 469757 w 1590358"/>
              <a:gd name="connsiteY66" fmla="*/ 241126 h 1295065"/>
              <a:gd name="connsiteX67" fmla="*/ 476020 w 1590358"/>
              <a:gd name="connsiteY67" fmla="*/ 250520 h 1295065"/>
              <a:gd name="connsiteX68" fmla="*/ 469757 w 1590358"/>
              <a:gd name="connsiteY68" fmla="*/ 278704 h 1295065"/>
              <a:gd name="connsiteX69" fmla="*/ 460362 w 1590358"/>
              <a:gd name="connsiteY69" fmla="*/ 284967 h 1295065"/>
              <a:gd name="connsiteX70" fmla="*/ 447836 w 1590358"/>
              <a:gd name="connsiteY70" fmla="*/ 294361 h 1295065"/>
              <a:gd name="connsiteX71" fmla="*/ 441573 w 1590358"/>
              <a:gd name="connsiteY71" fmla="*/ 303756 h 1295065"/>
              <a:gd name="connsiteX72" fmla="*/ 419653 w 1590358"/>
              <a:gd name="connsiteY72" fmla="*/ 328808 h 1295065"/>
              <a:gd name="connsiteX73" fmla="*/ 413390 w 1590358"/>
              <a:gd name="connsiteY73" fmla="*/ 347597 h 1295065"/>
              <a:gd name="connsiteX74" fmla="*/ 397732 w 1590358"/>
              <a:gd name="connsiteY74" fmla="*/ 403964 h 1295065"/>
              <a:gd name="connsiteX75" fmla="*/ 378943 w 1590358"/>
              <a:gd name="connsiteY75" fmla="*/ 422753 h 1295065"/>
              <a:gd name="connsiteX76" fmla="*/ 375812 w 1590358"/>
              <a:gd name="connsiteY76" fmla="*/ 432148 h 1295065"/>
              <a:gd name="connsiteX77" fmla="*/ 363286 w 1590358"/>
              <a:gd name="connsiteY77" fmla="*/ 450937 h 1295065"/>
              <a:gd name="connsiteX78" fmla="*/ 350760 w 1590358"/>
              <a:gd name="connsiteY78" fmla="*/ 469726 h 1295065"/>
              <a:gd name="connsiteX79" fmla="*/ 338234 w 1590358"/>
              <a:gd name="connsiteY79" fmla="*/ 488515 h 1295065"/>
              <a:gd name="connsiteX80" fmla="*/ 331971 w 1590358"/>
              <a:gd name="connsiteY80" fmla="*/ 551145 h 1295065"/>
              <a:gd name="connsiteX81" fmla="*/ 325707 w 1590358"/>
              <a:gd name="connsiteY81" fmla="*/ 557408 h 1295065"/>
              <a:gd name="connsiteX82" fmla="*/ 300655 w 1590358"/>
              <a:gd name="connsiteY82" fmla="*/ 557407 h 1295065"/>
              <a:gd name="connsiteX83" fmla="*/ 284998 w 1590358"/>
              <a:gd name="connsiteY83" fmla="*/ 591854 h 1295065"/>
              <a:gd name="connsiteX84" fmla="*/ 278735 w 1590358"/>
              <a:gd name="connsiteY84" fmla="*/ 610643 h 1295065"/>
              <a:gd name="connsiteX85" fmla="*/ 259946 w 1590358"/>
              <a:gd name="connsiteY85" fmla="*/ 626301 h 1295065"/>
              <a:gd name="connsiteX86" fmla="*/ 253683 w 1590358"/>
              <a:gd name="connsiteY86" fmla="*/ 673274 h 1295065"/>
              <a:gd name="connsiteX87" fmla="*/ 247420 w 1590358"/>
              <a:gd name="connsiteY87" fmla="*/ 692063 h 1295065"/>
              <a:gd name="connsiteX88" fmla="*/ 244288 w 1590358"/>
              <a:gd name="connsiteY88" fmla="*/ 701457 h 1295065"/>
              <a:gd name="connsiteX89" fmla="*/ 228631 w 1590358"/>
              <a:gd name="connsiteY89" fmla="*/ 720246 h 1295065"/>
              <a:gd name="connsiteX90" fmla="*/ 222368 w 1590358"/>
              <a:gd name="connsiteY90" fmla="*/ 739035 h 1295065"/>
              <a:gd name="connsiteX91" fmla="*/ 219236 w 1590358"/>
              <a:gd name="connsiteY91" fmla="*/ 748430 h 1295065"/>
              <a:gd name="connsiteX92" fmla="*/ 209842 w 1590358"/>
              <a:gd name="connsiteY92" fmla="*/ 767219 h 1295065"/>
              <a:gd name="connsiteX93" fmla="*/ 200447 w 1590358"/>
              <a:gd name="connsiteY93" fmla="*/ 770350 h 1295065"/>
              <a:gd name="connsiteX94" fmla="*/ 166001 w 1590358"/>
              <a:gd name="connsiteY94" fmla="*/ 760956 h 1295065"/>
              <a:gd name="connsiteX95" fmla="*/ 134686 w 1590358"/>
              <a:gd name="connsiteY95" fmla="*/ 795402 h 1295065"/>
              <a:gd name="connsiteX96" fmla="*/ 131554 w 1590358"/>
              <a:gd name="connsiteY96" fmla="*/ 804797 h 1295065"/>
              <a:gd name="connsiteX97" fmla="*/ 112765 w 1590358"/>
              <a:gd name="connsiteY97" fmla="*/ 820454 h 1295065"/>
              <a:gd name="connsiteX98" fmla="*/ 103371 w 1590358"/>
              <a:gd name="connsiteY98" fmla="*/ 823586 h 1295065"/>
              <a:gd name="connsiteX99" fmla="*/ 87713 w 1590358"/>
              <a:gd name="connsiteY99" fmla="*/ 839243 h 1295065"/>
              <a:gd name="connsiteX100" fmla="*/ 78318 w 1590358"/>
              <a:gd name="connsiteY100" fmla="*/ 873690 h 1295065"/>
              <a:gd name="connsiteX101" fmla="*/ 78318 w 1590358"/>
              <a:gd name="connsiteY101" fmla="*/ 873690 h 1295065"/>
              <a:gd name="connsiteX102" fmla="*/ 75187 w 1590358"/>
              <a:gd name="connsiteY102" fmla="*/ 886216 h 1295065"/>
              <a:gd name="connsiteX103" fmla="*/ 65792 w 1590358"/>
              <a:gd name="connsiteY103" fmla="*/ 914400 h 1295065"/>
              <a:gd name="connsiteX104" fmla="*/ 62661 w 1590358"/>
              <a:gd name="connsiteY104" fmla="*/ 923794 h 1295065"/>
              <a:gd name="connsiteX105" fmla="*/ 59529 w 1590358"/>
              <a:gd name="connsiteY105" fmla="*/ 933189 h 1295065"/>
              <a:gd name="connsiteX106" fmla="*/ 62661 w 1590358"/>
              <a:gd name="connsiteY106" fmla="*/ 945715 h 1295065"/>
              <a:gd name="connsiteX107" fmla="*/ 65792 w 1590358"/>
              <a:gd name="connsiteY107" fmla="*/ 955109 h 1295065"/>
              <a:gd name="connsiteX108" fmla="*/ 53266 w 1590358"/>
              <a:gd name="connsiteY108" fmla="*/ 973898 h 1295065"/>
              <a:gd name="connsiteX109" fmla="*/ 50135 w 1590358"/>
              <a:gd name="connsiteY109" fmla="*/ 983293 h 1295065"/>
              <a:gd name="connsiteX110" fmla="*/ 43872 w 1590358"/>
              <a:gd name="connsiteY110" fmla="*/ 1036528 h 1295065"/>
              <a:gd name="connsiteX111" fmla="*/ 34477 w 1590358"/>
              <a:gd name="connsiteY111" fmla="*/ 1064712 h 1295065"/>
              <a:gd name="connsiteX112" fmla="*/ 31346 w 1590358"/>
              <a:gd name="connsiteY112" fmla="*/ 1074106 h 1295065"/>
              <a:gd name="connsiteX113" fmla="*/ 21951 w 1590358"/>
              <a:gd name="connsiteY113" fmla="*/ 1136737 h 1295065"/>
              <a:gd name="connsiteX114" fmla="*/ 18820 w 1590358"/>
              <a:gd name="connsiteY114" fmla="*/ 1149263 h 1295065"/>
              <a:gd name="connsiteX115" fmla="*/ 12557 w 1590358"/>
              <a:gd name="connsiteY115" fmla="*/ 1196235 h 1295065"/>
              <a:gd name="connsiteX116" fmla="*/ 9425 w 1590358"/>
              <a:gd name="connsiteY116" fmla="*/ 1205630 h 1295065"/>
              <a:gd name="connsiteX117" fmla="*/ 6294 w 1590358"/>
              <a:gd name="connsiteY117" fmla="*/ 1221287 h 1295065"/>
              <a:gd name="connsiteX118" fmla="*/ 31 w 1590358"/>
              <a:gd name="connsiteY118" fmla="*/ 1240076 h 1295065"/>
              <a:gd name="connsiteX119" fmla="*/ 3162 w 1590358"/>
              <a:gd name="connsiteY119" fmla="*/ 1293312 h 1295065"/>
              <a:gd name="connsiteX120" fmla="*/ 15688 w 1590358"/>
              <a:gd name="connsiteY120" fmla="*/ 1290180 h 1295065"/>
              <a:gd name="connsiteX121" fmla="*/ 21951 w 1590358"/>
              <a:gd name="connsiteY121" fmla="*/ 1271391 h 1295065"/>
              <a:gd name="connsiteX122" fmla="*/ 25083 w 1590358"/>
              <a:gd name="connsiteY122" fmla="*/ 1261997 h 1295065"/>
              <a:gd name="connsiteX123" fmla="*/ 28214 w 1590358"/>
              <a:gd name="connsiteY123" fmla="*/ 1211893 h 1295065"/>
              <a:gd name="connsiteX124" fmla="*/ 37609 w 1590358"/>
              <a:gd name="connsiteY124" fmla="*/ 1183709 h 1295065"/>
              <a:gd name="connsiteX125" fmla="*/ 43872 w 1590358"/>
              <a:gd name="connsiteY125" fmla="*/ 1161789 h 1295065"/>
              <a:gd name="connsiteX126" fmla="*/ 50135 w 1590358"/>
              <a:gd name="connsiteY126" fmla="*/ 1143000 h 1295065"/>
              <a:gd name="connsiteX127" fmla="*/ 53266 w 1590358"/>
              <a:gd name="connsiteY127" fmla="*/ 1121079 h 1295065"/>
              <a:gd name="connsiteX128" fmla="*/ 56398 w 1590358"/>
              <a:gd name="connsiteY128" fmla="*/ 1111685 h 1295065"/>
              <a:gd name="connsiteX129" fmla="*/ 75187 w 1590358"/>
              <a:gd name="connsiteY129" fmla="*/ 1099159 h 1295065"/>
              <a:gd name="connsiteX130" fmla="*/ 119028 w 1590358"/>
              <a:gd name="connsiteY130" fmla="*/ 1102290 h 1295065"/>
              <a:gd name="connsiteX131" fmla="*/ 150343 w 1590358"/>
              <a:gd name="connsiteY131" fmla="*/ 1105422 h 1295065"/>
              <a:gd name="connsiteX132" fmla="*/ 222368 w 1590358"/>
              <a:gd name="connsiteY132" fmla="*/ 1108553 h 1295065"/>
              <a:gd name="connsiteX133" fmla="*/ 231762 w 1590358"/>
              <a:gd name="connsiteY133" fmla="*/ 1111685 h 1295065"/>
              <a:gd name="connsiteX134" fmla="*/ 369549 w 1590358"/>
              <a:gd name="connsiteY134" fmla="*/ 1117948 h 1295065"/>
              <a:gd name="connsiteX135" fmla="*/ 416521 w 1590358"/>
              <a:gd name="connsiteY135" fmla="*/ 1121079 h 1295065"/>
              <a:gd name="connsiteX136" fmla="*/ 447836 w 1590358"/>
              <a:gd name="connsiteY136" fmla="*/ 1127342 h 1295065"/>
              <a:gd name="connsiteX137" fmla="*/ 497940 w 1590358"/>
              <a:gd name="connsiteY137" fmla="*/ 1133605 h 1295065"/>
              <a:gd name="connsiteX138" fmla="*/ 601280 w 1590358"/>
              <a:gd name="connsiteY138" fmla="*/ 1136737 h 1295065"/>
              <a:gd name="connsiteX139" fmla="*/ 770381 w 1590358"/>
              <a:gd name="connsiteY139" fmla="*/ 1139868 h 1295065"/>
              <a:gd name="connsiteX140" fmla="*/ 786039 w 1590358"/>
              <a:gd name="connsiteY140" fmla="*/ 1143000 h 1295065"/>
              <a:gd name="connsiteX141" fmla="*/ 886247 w 1590358"/>
              <a:gd name="connsiteY141" fmla="*/ 1149263 h 1295065"/>
              <a:gd name="connsiteX142" fmla="*/ 930088 w 1590358"/>
              <a:gd name="connsiteY142" fmla="*/ 1155526 h 1295065"/>
              <a:gd name="connsiteX143" fmla="*/ 967666 w 1590358"/>
              <a:gd name="connsiteY143" fmla="*/ 1161789 h 1295065"/>
              <a:gd name="connsiteX144" fmla="*/ 992718 w 1590358"/>
              <a:gd name="connsiteY144" fmla="*/ 1164920 h 1295065"/>
              <a:gd name="connsiteX145" fmla="*/ 1036560 w 1590358"/>
              <a:gd name="connsiteY145" fmla="*/ 1171183 h 1295065"/>
              <a:gd name="connsiteX146" fmla="*/ 1058480 w 1590358"/>
              <a:gd name="connsiteY146" fmla="*/ 1174315 h 1295065"/>
              <a:gd name="connsiteX147" fmla="*/ 1067875 w 1590358"/>
              <a:gd name="connsiteY147" fmla="*/ 1177446 h 1295065"/>
              <a:gd name="connsiteX148" fmla="*/ 1099190 w 1590358"/>
              <a:gd name="connsiteY148" fmla="*/ 1183709 h 1295065"/>
              <a:gd name="connsiteX149" fmla="*/ 1236976 w 1590358"/>
              <a:gd name="connsiteY149" fmla="*/ 1149263 h 1295065"/>
              <a:gd name="connsiteX150" fmla="*/ 1233844 w 1590358"/>
              <a:gd name="connsiteY150" fmla="*/ 1136737 h 1295065"/>
              <a:gd name="connsiteX151" fmla="*/ 1230713 w 1590358"/>
              <a:gd name="connsiteY151" fmla="*/ 801665 h 1295065"/>
              <a:gd name="connsiteX152" fmla="*/ 1227581 w 1590358"/>
              <a:gd name="connsiteY152" fmla="*/ 792271 h 1295065"/>
              <a:gd name="connsiteX153" fmla="*/ 1224450 w 1590358"/>
              <a:gd name="connsiteY153" fmla="*/ 767219 h 1295065"/>
              <a:gd name="connsiteX154" fmla="*/ 1218187 w 1590358"/>
              <a:gd name="connsiteY154" fmla="*/ 729641 h 1295065"/>
              <a:gd name="connsiteX155" fmla="*/ 1221318 w 1590358"/>
              <a:gd name="connsiteY155" fmla="*/ 667011 h 1295065"/>
              <a:gd name="connsiteX156" fmla="*/ 1227581 w 1590358"/>
              <a:gd name="connsiteY156" fmla="*/ 657616 h 1295065"/>
              <a:gd name="connsiteX157" fmla="*/ 1230713 w 1590358"/>
              <a:gd name="connsiteY157" fmla="*/ 648222 h 1295065"/>
              <a:gd name="connsiteX158" fmla="*/ 1240107 w 1590358"/>
              <a:gd name="connsiteY158" fmla="*/ 635695 h 1295065"/>
              <a:gd name="connsiteX159" fmla="*/ 1246371 w 1590358"/>
              <a:gd name="connsiteY159" fmla="*/ 626301 h 1295065"/>
              <a:gd name="connsiteX160" fmla="*/ 1249502 w 1590358"/>
              <a:gd name="connsiteY160" fmla="*/ 616906 h 1295065"/>
              <a:gd name="connsiteX161" fmla="*/ 1271423 w 1590358"/>
              <a:gd name="connsiteY161" fmla="*/ 588723 h 1295065"/>
              <a:gd name="connsiteX162" fmla="*/ 1290212 w 1590358"/>
              <a:gd name="connsiteY162" fmla="*/ 576197 h 1295065"/>
              <a:gd name="connsiteX163" fmla="*/ 1299606 w 1590358"/>
              <a:gd name="connsiteY163" fmla="*/ 569934 h 1295065"/>
              <a:gd name="connsiteX164" fmla="*/ 1318395 w 1590358"/>
              <a:gd name="connsiteY164" fmla="*/ 554276 h 1295065"/>
              <a:gd name="connsiteX165" fmla="*/ 1327790 w 1590358"/>
              <a:gd name="connsiteY165" fmla="*/ 544882 h 1295065"/>
              <a:gd name="connsiteX166" fmla="*/ 1340316 w 1590358"/>
              <a:gd name="connsiteY166" fmla="*/ 538619 h 1295065"/>
              <a:gd name="connsiteX167" fmla="*/ 1362236 w 1590358"/>
              <a:gd name="connsiteY167" fmla="*/ 522961 h 1295065"/>
              <a:gd name="connsiteX168" fmla="*/ 1371631 w 1590358"/>
              <a:gd name="connsiteY168" fmla="*/ 519830 h 1295065"/>
              <a:gd name="connsiteX169" fmla="*/ 1381025 w 1590358"/>
              <a:gd name="connsiteY169" fmla="*/ 510435 h 1295065"/>
              <a:gd name="connsiteX170" fmla="*/ 1427998 w 1590358"/>
              <a:gd name="connsiteY170" fmla="*/ 501041 h 1295065"/>
              <a:gd name="connsiteX171" fmla="*/ 1459313 w 1590358"/>
              <a:gd name="connsiteY171" fmla="*/ 491646 h 1295065"/>
              <a:gd name="connsiteX172" fmla="*/ 1468707 w 1590358"/>
              <a:gd name="connsiteY172" fmla="*/ 485383 h 1295065"/>
              <a:gd name="connsiteX173" fmla="*/ 1478102 w 1590358"/>
              <a:gd name="connsiteY173" fmla="*/ 482252 h 1295065"/>
              <a:gd name="connsiteX174" fmla="*/ 1490628 w 1590358"/>
              <a:gd name="connsiteY174" fmla="*/ 472857 h 1295065"/>
              <a:gd name="connsiteX175" fmla="*/ 1521943 w 1590358"/>
              <a:gd name="connsiteY175" fmla="*/ 460331 h 1295065"/>
              <a:gd name="connsiteX176" fmla="*/ 1540732 w 1590358"/>
              <a:gd name="connsiteY176" fmla="*/ 454068 h 1295065"/>
              <a:gd name="connsiteX177" fmla="*/ 1550127 w 1590358"/>
              <a:gd name="connsiteY177" fmla="*/ 450937 h 1295065"/>
              <a:gd name="connsiteX178" fmla="*/ 1562653 w 1590358"/>
              <a:gd name="connsiteY178" fmla="*/ 435279 h 1295065"/>
              <a:gd name="connsiteX179" fmla="*/ 1565784 w 1590358"/>
              <a:gd name="connsiteY179" fmla="*/ 272441 h 1295065"/>
              <a:gd name="connsiteX180" fmla="*/ 1575179 w 1590358"/>
              <a:gd name="connsiteY180" fmla="*/ 231731 h 1295065"/>
              <a:gd name="connsiteX181" fmla="*/ 1581442 w 1590358"/>
              <a:gd name="connsiteY181" fmla="*/ 206679 h 1295065"/>
              <a:gd name="connsiteX182" fmla="*/ 1584573 w 1590358"/>
              <a:gd name="connsiteY182" fmla="*/ 197285 h 1295065"/>
              <a:gd name="connsiteX183" fmla="*/ 1584573 w 1590358"/>
              <a:gd name="connsiteY183" fmla="*/ 93945 h 1295065"/>
              <a:gd name="connsiteX0" fmla="*/ 1584573 w 1590358"/>
              <a:gd name="connsiteY0" fmla="*/ 93945 h 1295065"/>
              <a:gd name="connsiteX1" fmla="*/ 1509417 w 1590358"/>
              <a:gd name="connsiteY1" fmla="*/ 90813 h 1295065"/>
              <a:gd name="connsiteX2" fmla="*/ 1500023 w 1590358"/>
              <a:gd name="connsiteY2" fmla="*/ 87682 h 1295065"/>
              <a:gd name="connsiteX3" fmla="*/ 1449918 w 1590358"/>
              <a:gd name="connsiteY3" fmla="*/ 90813 h 1295065"/>
              <a:gd name="connsiteX4" fmla="*/ 1355973 w 1590358"/>
              <a:gd name="connsiteY4" fmla="*/ 87682 h 1295065"/>
              <a:gd name="connsiteX5" fmla="*/ 1321527 w 1590358"/>
              <a:gd name="connsiteY5" fmla="*/ 78287 h 1295065"/>
              <a:gd name="connsiteX6" fmla="*/ 1299606 w 1590358"/>
              <a:gd name="connsiteY6" fmla="*/ 72024 h 1295065"/>
              <a:gd name="connsiteX7" fmla="*/ 1290212 w 1590358"/>
              <a:gd name="connsiteY7" fmla="*/ 68893 h 1295065"/>
              <a:gd name="connsiteX8" fmla="*/ 1218187 w 1590358"/>
              <a:gd name="connsiteY8" fmla="*/ 65761 h 1295065"/>
              <a:gd name="connsiteX9" fmla="*/ 1158688 w 1590358"/>
              <a:gd name="connsiteY9" fmla="*/ 59499 h 1295065"/>
              <a:gd name="connsiteX10" fmla="*/ 1139899 w 1590358"/>
              <a:gd name="connsiteY10" fmla="*/ 81419 h 1295065"/>
              <a:gd name="connsiteX11" fmla="*/ 1133637 w 1590358"/>
              <a:gd name="connsiteY11" fmla="*/ 75156 h 1295065"/>
              <a:gd name="connsiteX12" fmla="*/ 1092927 w 1590358"/>
              <a:gd name="connsiteY12" fmla="*/ 72024 h 1295065"/>
              <a:gd name="connsiteX13" fmla="*/ 1077269 w 1590358"/>
              <a:gd name="connsiteY13" fmla="*/ 81419 h 1295065"/>
              <a:gd name="connsiteX14" fmla="*/ 1058480 w 1590358"/>
              <a:gd name="connsiteY14" fmla="*/ 72024 h 1295065"/>
              <a:gd name="connsiteX15" fmla="*/ 1039691 w 1590358"/>
              <a:gd name="connsiteY15" fmla="*/ 65761 h 1295065"/>
              <a:gd name="connsiteX16" fmla="*/ 1020902 w 1590358"/>
              <a:gd name="connsiteY16" fmla="*/ 53235 h 1295065"/>
              <a:gd name="connsiteX17" fmla="*/ 986455 w 1590358"/>
              <a:gd name="connsiteY17" fmla="*/ 46972 h 1295065"/>
              <a:gd name="connsiteX18" fmla="*/ 970798 w 1590358"/>
              <a:gd name="connsiteY18" fmla="*/ 43841 h 1295065"/>
              <a:gd name="connsiteX19" fmla="*/ 942614 w 1590358"/>
              <a:gd name="connsiteY19" fmla="*/ 46972 h 1295065"/>
              <a:gd name="connsiteX20" fmla="*/ 933220 w 1590358"/>
              <a:gd name="connsiteY20" fmla="*/ 50104 h 1295065"/>
              <a:gd name="connsiteX21" fmla="*/ 920694 w 1590358"/>
              <a:gd name="connsiteY21" fmla="*/ 53235 h 1295065"/>
              <a:gd name="connsiteX22" fmla="*/ 911299 w 1590358"/>
              <a:gd name="connsiteY22" fmla="*/ 56367 h 1295065"/>
              <a:gd name="connsiteX23" fmla="*/ 867458 w 1590358"/>
              <a:gd name="connsiteY23" fmla="*/ 59498 h 1295065"/>
              <a:gd name="connsiteX24" fmla="*/ 858064 w 1590358"/>
              <a:gd name="connsiteY24" fmla="*/ 65761 h 1295065"/>
              <a:gd name="connsiteX25" fmla="*/ 814223 w 1590358"/>
              <a:gd name="connsiteY25" fmla="*/ 65761 h 1295065"/>
              <a:gd name="connsiteX26" fmla="*/ 811091 w 1590358"/>
              <a:gd name="connsiteY26" fmla="*/ 43841 h 1295065"/>
              <a:gd name="connsiteX27" fmla="*/ 801697 w 1590358"/>
              <a:gd name="connsiteY27" fmla="*/ 34446 h 1295065"/>
              <a:gd name="connsiteX28" fmla="*/ 798565 w 1590358"/>
              <a:gd name="connsiteY28" fmla="*/ 15657 h 1295065"/>
              <a:gd name="connsiteX29" fmla="*/ 786038 w 1590358"/>
              <a:gd name="connsiteY29" fmla="*/ 18789 h 1295065"/>
              <a:gd name="connsiteX30" fmla="*/ 757855 w 1590358"/>
              <a:gd name="connsiteY30" fmla="*/ 18789 h 1295065"/>
              <a:gd name="connsiteX31" fmla="*/ 748461 w 1590358"/>
              <a:gd name="connsiteY31" fmla="*/ 12526 h 1295065"/>
              <a:gd name="connsiteX32" fmla="*/ 739066 w 1590358"/>
              <a:gd name="connsiteY32" fmla="*/ 3131 h 1295065"/>
              <a:gd name="connsiteX33" fmla="*/ 729672 w 1590358"/>
              <a:gd name="connsiteY33" fmla="*/ 0 h 1295065"/>
              <a:gd name="connsiteX34" fmla="*/ 720277 w 1590358"/>
              <a:gd name="connsiteY34" fmla="*/ 3131 h 1295065"/>
              <a:gd name="connsiteX35" fmla="*/ 707751 w 1590358"/>
              <a:gd name="connsiteY35" fmla="*/ 21920 h 1295065"/>
              <a:gd name="connsiteX36" fmla="*/ 695225 w 1590358"/>
              <a:gd name="connsiteY36" fmla="*/ 37578 h 1295065"/>
              <a:gd name="connsiteX37" fmla="*/ 676436 w 1590358"/>
              <a:gd name="connsiteY37" fmla="*/ 53235 h 1295065"/>
              <a:gd name="connsiteX38" fmla="*/ 657647 w 1590358"/>
              <a:gd name="connsiteY38" fmla="*/ 59498 h 1295065"/>
              <a:gd name="connsiteX39" fmla="*/ 648253 w 1590358"/>
              <a:gd name="connsiteY39" fmla="*/ 65761 h 1295065"/>
              <a:gd name="connsiteX40" fmla="*/ 638858 w 1590358"/>
              <a:gd name="connsiteY40" fmla="*/ 68893 h 1295065"/>
              <a:gd name="connsiteX41" fmla="*/ 635727 w 1590358"/>
              <a:gd name="connsiteY41" fmla="*/ 78287 h 1295065"/>
              <a:gd name="connsiteX42" fmla="*/ 626332 w 1590358"/>
              <a:gd name="connsiteY42" fmla="*/ 87682 h 1295065"/>
              <a:gd name="connsiteX43" fmla="*/ 613806 w 1590358"/>
              <a:gd name="connsiteY43" fmla="*/ 106471 h 1295065"/>
              <a:gd name="connsiteX44" fmla="*/ 604412 w 1590358"/>
              <a:gd name="connsiteY44" fmla="*/ 109602 h 1295065"/>
              <a:gd name="connsiteX45" fmla="*/ 595017 w 1590358"/>
              <a:gd name="connsiteY45" fmla="*/ 115865 h 1295065"/>
              <a:gd name="connsiteX46" fmla="*/ 585623 w 1590358"/>
              <a:gd name="connsiteY46" fmla="*/ 118997 h 1295065"/>
              <a:gd name="connsiteX47" fmla="*/ 566834 w 1590358"/>
              <a:gd name="connsiteY47" fmla="*/ 131523 h 1295065"/>
              <a:gd name="connsiteX48" fmla="*/ 557439 w 1590358"/>
              <a:gd name="connsiteY48" fmla="*/ 137786 h 1295065"/>
              <a:gd name="connsiteX49" fmla="*/ 544913 w 1590358"/>
              <a:gd name="connsiteY49" fmla="*/ 156575 h 1295065"/>
              <a:gd name="connsiteX50" fmla="*/ 532387 w 1590358"/>
              <a:gd name="connsiteY50" fmla="*/ 184759 h 1295065"/>
              <a:gd name="connsiteX51" fmla="*/ 522992 w 1590358"/>
              <a:gd name="connsiteY51" fmla="*/ 194153 h 1295065"/>
              <a:gd name="connsiteX52" fmla="*/ 513598 w 1590358"/>
              <a:gd name="connsiteY52" fmla="*/ 197285 h 1295065"/>
              <a:gd name="connsiteX53" fmla="*/ 504203 w 1590358"/>
              <a:gd name="connsiteY53" fmla="*/ 203548 h 1295065"/>
              <a:gd name="connsiteX54" fmla="*/ 466625 w 1590358"/>
              <a:gd name="connsiteY54" fmla="*/ 209811 h 1295065"/>
              <a:gd name="connsiteX55" fmla="*/ 457231 w 1590358"/>
              <a:gd name="connsiteY55" fmla="*/ 216074 h 1295065"/>
              <a:gd name="connsiteX56" fmla="*/ 438442 w 1590358"/>
              <a:gd name="connsiteY56" fmla="*/ 234863 h 1295065"/>
              <a:gd name="connsiteX57" fmla="*/ 429047 w 1590358"/>
              <a:gd name="connsiteY57" fmla="*/ 241126 h 1295065"/>
              <a:gd name="connsiteX58" fmla="*/ 413390 w 1590358"/>
              <a:gd name="connsiteY58" fmla="*/ 259915 h 1295065"/>
              <a:gd name="connsiteX59" fmla="*/ 410258 w 1590358"/>
              <a:gd name="connsiteY59" fmla="*/ 269309 h 1295065"/>
              <a:gd name="connsiteX60" fmla="*/ 397732 w 1590358"/>
              <a:gd name="connsiteY60" fmla="*/ 288098 h 1295065"/>
              <a:gd name="connsiteX61" fmla="*/ 394601 w 1590358"/>
              <a:gd name="connsiteY61" fmla="*/ 316282 h 1295065"/>
              <a:gd name="connsiteX62" fmla="*/ 413390 w 1590358"/>
              <a:gd name="connsiteY62" fmla="*/ 310019 h 1295065"/>
              <a:gd name="connsiteX63" fmla="*/ 422784 w 1590358"/>
              <a:gd name="connsiteY63" fmla="*/ 288098 h 1295065"/>
              <a:gd name="connsiteX64" fmla="*/ 441573 w 1590358"/>
              <a:gd name="connsiteY64" fmla="*/ 259915 h 1295065"/>
              <a:gd name="connsiteX65" fmla="*/ 450968 w 1590358"/>
              <a:gd name="connsiteY65" fmla="*/ 253652 h 1295065"/>
              <a:gd name="connsiteX66" fmla="*/ 469757 w 1590358"/>
              <a:gd name="connsiteY66" fmla="*/ 241126 h 1295065"/>
              <a:gd name="connsiteX67" fmla="*/ 476020 w 1590358"/>
              <a:gd name="connsiteY67" fmla="*/ 250520 h 1295065"/>
              <a:gd name="connsiteX68" fmla="*/ 469757 w 1590358"/>
              <a:gd name="connsiteY68" fmla="*/ 278704 h 1295065"/>
              <a:gd name="connsiteX69" fmla="*/ 460362 w 1590358"/>
              <a:gd name="connsiteY69" fmla="*/ 284967 h 1295065"/>
              <a:gd name="connsiteX70" fmla="*/ 447836 w 1590358"/>
              <a:gd name="connsiteY70" fmla="*/ 294361 h 1295065"/>
              <a:gd name="connsiteX71" fmla="*/ 441573 w 1590358"/>
              <a:gd name="connsiteY71" fmla="*/ 303756 h 1295065"/>
              <a:gd name="connsiteX72" fmla="*/ 419653 w 1590358"/>
              <a:gd name="connsiteY72" fmla="*/ 328808 h 1295065"/>
              <a:gd name="connsiteX73" fmla="*/ 413390 w 1590358"/>
              <a:gd name="connsiteY73" fmla="*/ 347597 h 1295065"/>
              <a:gd name="connsiteX74" fmla="*/ 397732 w 1590358"/>
              <a:gd name="connsiteY74" fmla="*/ 403964 h 1295065"/>
              <a:gd name="connsiteX75" fmla="*/ 378943 w 1590358"/>
              <a:gd name="connsiteY75" fmla="*/ 422753 h 1295065"/>
              <a:gd name="connsiteX76" fmla="*/ 375812 w 1590358"/>
              <a:gd name="connsiteY76" fmla="*/ 432148 h 1295065"/>
              <a:gd name="connsiteX77" fmla="*/ 363286 w 1590358"/>
              <a:gd name="connsiteY77" fmla="*/ 450937 h 1295065"/>
              <a:gd name="connsiteX78" fmla="*/ 350760 w 1590358"/>
              <a:gd name="connsiteY78" fmla="*/ 469726 h 1295065"/>
              <a:gd name="connsiteX79" fmla="*/ 338234 w 1590358"/>
              <a:gd name="connsiteY79" fmla="*/ 488515 h 1295065"/>
              <a:gd name="connsiteX80" fmla="*/ 331971 w 1590358"/>
              <a:gd name="connsiteY80" fmla="*/ 551145 h 1295065"/>
              <a:gd name="connsiteX81" fmla="*/ 325707 w 1590358"/>
              <a:gd name="connsiteY81" fmla="*/ 557408 h 1295065"/>
              <a:gd name="connsiteX82" fmla="*/ 300655 w 1590358"/>
              <a:gd name="connsiteY82" fmla="*/ 557407 h 1295065"/>
              <a:gd name="connsiteX83" fmla="*/ 284998 w 1590358"/>
              <a:gd name="connsiteY83" fmla="*/ 591854 h 1295065"/>
              <a:gd name="connsiteX84" fmla="*/ 278735 w 1590358"/>
              <a:gd name="connsiteY84" fmla="*/ 610643 h 1295065"/>
              <a:gd name="connsiteX85" fmla="*/ 259946 w 1590358"/>
              <a:gd name="connsiteY85" fmla="*/ 626301 h 1295065"/>
              <a:gd name="connsiteX86" fmla="*/ 253683 w 1590358"/>
              <a:gd name="connsiteY86" fmla="*/ 673274 h 1295065"/>
              <a:gd name="connsiteX87" fmla="*/ 247420 w 1590358"/>
              <a:gd name="connsiteY87" fmla="*/ 692063 h 1295065"/>
              <a:gd name="connsiteX88" fmla="*/ 244288 w 1590358"/>
              <a:gd name="connsiteY88" fmla="*/ 701457 h 1295065"/>
              <a:gd name="connsiteX89" fmla="*/ 228631 w 1590358"/>
              <a:gd name="connsiteY89" fmla="*/ 720246 h 1295065"/>
              <a:gd name="connsiteX90" fmla="*/ 222368 w 1590358"/>
              <a:gd name="connsiteY90" fmla="*/ 739035 h 1295065"/>
              <a:gd name="connsiteX91" fmla="*/ 219236 w 1590358"/>
              <a:gd name="connsiteY91" fmla="*/ 748430 h 1295065"/>
              <a:gd name="connsiteX92" fmla="*/ 209842 w 1590358"/>
              <a:gd name="connsiteY92" fmla="*/ 767219 h 1295065"/>
              <a:gd name="connsiteX93" fmla="*/ 200447 w 1590358"/>
              <a:gd name="connsiteY93" fmla="*/ 770350 h 1295065"/>
              <a:gd name="connsiteX94" fmla="*/ 166001 w 1590358"/>
              <a:gd name="connsiteY94" fmla="*/ 760956 h 1295065"/>
              <a:gd name="connsiteX95" fmla="*/ 134686 w 1590358"/>
              <a:gd name="connsiteY95" fmla="*/ 795402 h 1295065"/>
              <a:gd name="connsiteX96" fmla="*/ 131554 w 1590358"/>
              <a:gd name="connsiteY96" fmla="*/ 804797 h 1295065"/>
              <a:gd name="connsiteX97" fmla="*/ 112765 w 1590358"/>
              <a:gd name="connsiteY97" fmla="*/ 820454 h 1295065"/>
              <a:gd name="connsiteX98" fmla="*/ 103371 w 1590358"/>
              <a:gd name="connsiteY98" fmla="*/ 823586 h 1295065"/>
              <a:gd name="connsiteX99" fmla="*/ 87713 w 1590358"/>
              <a:gd name="connsiteY99" fmla="*/ 839243 h 1295065"/>
              <a:gd name="connsiteX100" fmla="*/ 78318 w 1590358"/>
              <a:gd name="connsiteY100" fmla="*/ 873690 h 1295065"/>
              <a:gd name="connsiteX101" fmla="*/ 78318 w 1590358"/>
              <a:gd name="connsiteY101" fmla="*/ 873690 h 1295065"/>
              <a:gd name="connsiteX102" fmla="*/ 75187 w 1590358"/>
              <a:gd name="connsiteY102" fmla="*/ 886216 h 1295065"/>
              <a:gd name="connsiteX103" fmla="*/ 65792 w 1590358"/>
              <a:gd name="connsiteY103" fmla="*/ 914400 h 1295065"/>
              <a:gd name="connsiteX104" fmla="*/ 62661 w 1590358"/>
              <a:gd name="connsiteY104" fmla="*/ 923794 h 1295065"/>
              <a:gd name="connsiteX105" fmla="*/ 59529 w 1590358"/>
              <a:gd name="connsiteY105" fmla="*/ 933189 h 1295065"/>
              <a:gd name="connsiteX106" fmla="*/ 62661 w 1590358"/>
              <a:gd name="connsiteY106" fmla="*/ 945715 h 1295065"/>
              <a:gd name="connsiteX107" fmla="*/ 65792 w 1590358"/>
              <a:gd name="connsiteY107" fmla="*/ 955109 h 1295065"/>
              <a:gd name="connsiteX108" fmla="*/ 53266 w 1590358"/>
              <a:gd name="connsiteY108" fmla="*/ 973898 h 1295065"/>
              <a:gd name="connsiteX109" fmla="*/ 50135 w 1590358"/>
              <a:gd name="connsiteY109" fmla="*/ 983293 h 1295065"/>
              <a:gd name="connsiteX110" fmla="*/ 43872 w 1590358"/>
              <a:gd name="connsiteY110" fmla="*/ 1036528 h 1295065"/>
              <a:gd name="connsiteX111" fmla="*/ 34477 w 1590358"/>
              <a:gd name="connsiteY111" fmla="*/ 1064712 h 1295065"/>
              <a:gd name="connsiteX112" fmla="*/ 31346 w 1590358"/>
              <a:gd name="connsiteY112" fmla="*/ 1074106 h 1295065"/>
              <a:gd name="connsiteX113" fmla="*/ 21951 w 1590358"/>
              <a:gd name="connsiteY113" fmla="*/ 1136737 h 1295065"/>
              <a:gd name="connsiteX114" fmla="*/ 18820 w 1590358"/>
              <a:gd name="connsiteY114" fmla="*/ 1149263 h 1295065"/>
              <a:gd name="connsiteX115" fmla="*/ 12557 w 1590358"/>
              <a:gd name="connsiteY115" fmla="*/ 1196235 h 1295065"/>
              <a:gd name="connsiteX116" fmla="*/ 9425 w 1590358"/>
              <a:gd name="connsiteY116" fmla="*/ 1205630 h 1295065"/>
              <a:gd name="connsiteX117" fmla="*/ 6294 w 1590358"/>
              <a:gd name="connsiteY117" fmla="*/ 1221287 h 1295065"/>
              <a:gd name="connsiteX118" fmla="*/ 31 w 1590358"/>
              <a:gd name="connsiteY118" fmla="*/ 1240076 h 1295065"/>
              <a:gd name="connsiteX119" fmla="*/ 3162 w 1590358"/>
              <a:gd name="connsiteY119" fmla="*/ 1293312 h 1295065"/>
              <a:gd name="connsiteX120" fmla="*/ 15688 w 1590358"/>
              <a:gd name="connsiteY120" fmla="*/ 1290180 h 1295065"/>
              <a:gd name="connsiteX121" fmla="*/ 21951 w 1590358"/>
              <a:gd name="connsiteY121" fmla="*/ 1271391 h 1295065"/>
              <a:gd name="connsiteX122" fmla="*/ 25083 w 1590358"/>
              <a:gd name="connsiteY122" fmla="*/ 1261997 h 1295065"/>
              <a:gd name="connsiteX123" fmla="*/ 28214 w 1590358"/>
              <a:gd name="connsiteY123" fmla="*/ 1211893 h 1295065"/>
              <a:gd name="connsiteX124" fmla="*/ 37609 w 1590358"/>
              <a:gd name="connsiteY124" fmla="*/ 1183709 h 1295065"/>
              <a:gd name="connsiteX125" fmla="*/ 43872 w 1590358"/>
              <a:gd name="connsiteY125" fmla="*/ 1161789 h 1295065"/>
              <a:gd name="connsiteX126" fmla="*/ 50135 w 1590358"/>
              <a:gd name="connsiteY126" fmla="*/ 1143000 h 1295065"/>
              <a:gd name="connsiteX127" fmla="*/ 53266 w 1590358"/>
              <a:gd name="connsiteY127" fmla="*/ 1121079 h 1295065"/>
              <a:gd name="connsiteX128" fmla="*/ 56398 w 1590358"/>
              <a:gd name="connsiteY128" fmla="*/ 1111685 h 1295065"/>
              <a:gd name="connsiteX129" fmla="*/ 75187 w 1590358"/>
              <a:gd name="connsiteY129" fmla="*/ 1099159 h 1295065"/>
              <a:gd name="connsiteX130" fmla="*/ 119028 w 1590358"/>
              <a:gd name="connsiteY130" fmla="*/ 1102290 h 1295065"/>
              <a:gd name="connsiteX131" fmla="*/ 150343 w 1590358"/>
              <a:gd name="connsiteY131" fmla="*/ 1105422 h 1295065"/>
              <a:gd name="connsiteX132" fmla="*/ 222368 w 1590358"/>
              <a:gd name="connsiteY132" fmla="*/ 1108553 h 1295065"/>
              <a:gd name="connsiteX133" fmla="*/ 231762 w 1590358"/>
              <a:gd name="connsiteY133" fmla="*/ 1111685 h 1295065"/>
              <a:gd name="connsiteX134" fmla="*/ 369549 w 1590358"/>
              <a:gd name="connsiteY134" fmla="*/ 1117948 h 1295065"/>
              <a:gd name="connsiteX135" fmla="*/ 416521 w 1590358"/>
              <a:gd name="connsiteY135" fmla="*/ 1121079 h 1295065"/>
              <a:gd name="connsiteX136" fmla="*/ 447836 w 1590358"/>
              <a:gd name="connsiteY136" fmla="*/ 1127342 h 1295065"/>
              <a:gd name="connsiteX137" fmla="*/ 497940 w 1590358"/>
              <a:gd name="connsiteY137" fmla="*/ 1133605 h 1295065"/>
              <a:gd name="connsiteX138" fmla="*/ 601280 w 1590358"/>
              <a:gd name="connsiteY138" fmla="*/ 1136737 h 1295065"/>
              <a:gd name="connsiteX139" fmla="*/ 770381 w 1590358"/>
              <a:gd name="connsiteY139" fmla="*/ 1139868 h 1295065"/>
              <a:gd name="connsiteX140" fmla="*/ 786039 w 1590358"/>
              <a:gd name="connsiteY140" fmla="*/ 1143000 h 1295065"/>
              <a:gd name="connsiteX141" fmla="*/ 886247 w 1590358"/>
              <a:gd name="connsiteY141" fmla="*/ 1149263 h 1295065"/>
              <a:gd name="connsiteX142" fmla="*/ 930088 w 1590358"/>
              <a:gd name="connsiteY142" fmla="*/ 1155526 h 1295065"/>
              <a:gd name="connsiteX143" fmla="*/ 967666 w 1590358"/>
              <a:gd name="connsiteY143" fmla="*/ 1161789 h 1295065"/>
              <a:gd name="connsiteX144" fmla="*/ 992718 w 1590358"/>
              <a:gd name="connsiteY144" fmla="*/ 1164920 h 1295065"/>
              <a:gd name="connsiteX145" fmla="*/ 1036560 w 1590358"/>
              <a:gd name="connsiteY145" fmla="*/ 1171183 h 1295065"/>
              <a:gd name="connsiteX146" fmla="*/ 1058480 w 1590358"/>
              <a:gd name="connsiteY146" fmla="*/ 1174315 h 1295065"/>
              <a:gd name="connsiteX147" fmla="*/ 1067875 w 1590358"/>
              <a:gd name="connsiteY147" fmla="*/ 1177446 h 1295065"/>
              <a:gd name="connsiteX148" fmla="*/ 1099190 w 1590358"/>
              <a:gd name="connsiteY148" fmla="*/ 1183709 h 1295065"/>
              <a:gd name="connsiteX149" fmla="*/ 1236976 w 1590358"/>
              <a:gd name="connsiteY149" fmla="*/ 1149263 h 1295065"/>
              <a:gd name="connsiteX150" fmla="*/ 1233844 w 1590358"/>
              <a:gd name="connsiteY150" fmla="*/ 1136737 h 1295065"/>
              <a:gd name="connsiteX151" fmla="*/ 1230713 w 1590358"/>
              <a:gd name="connsiteY151" fmla="*/ 801665 h 1295065"/>
              <a:gd name="connsiteX152" fmla="*/ 1227581 w 1590358"/>
              <a:gd name="connsiteY152" fmla="*/ 792271 h 1295065"/>
              <a:gd name="connsiteX153" fmla="*/ 1224450 w 1590358"/>
              <a:gd name="connsiteY153" fmla="*/ 767219 h 1295065"/>
              <a:gd name="connsiteX154" fmla="*/ 1218187 w 1590358"/>
              <a:gd name="connsiteY154" fmla="*/ 729641 h 1295065"/>
              <a:gd name="connsiteX155" fmla="*/ 1221318 w 1590358"/>
              <a:gd name="connsiteY155" fmla="*/ 667011 h 1295065"/>
              <a:gd name="connsiteX156" fmla="*/ 1227581 w 1590358"/>
              <a:gd name="connsiteY156" fmla="*/ 657616 h 1295065"/>
              <a:gd name="connsiteX157" fmla="*/ 1230713 w 1590358"/>
              <a:gd name="connsiteY157" fmla="*/ 648222 h 1295065"/>
              <a:gd name="connsiteX158" fmla="*/ 1240107 w 1590358"/>
              <a:gd name="connsiteY158" fmla="*/ 635695 h 1295065"/>
              <a:gd name="connsiteX159" fmla="*/ 1246371 w 1590358"/>
              <a:gd name="connsiteY159" fmla="*/ 626301 h 1295065"/>
              <a:gd name="connsiteX160" fmla="*/ 1249502 w 1590358"/>
              <a:gd name="connsiteY160" fmla="*/ 616906 h 1295065"/>
              <a:gd name="connsiteX161" fmla="*/ 1271423 w 1590358"/>
              <a:gd name="connsiteY161" fmla="*/ 588723 h 1295065"/>
              <a:gd name="connsiteX162" fmla="*/ 1290212 w 1590358"/>
              <a:gd name="connsiteY162" fmla="*/ 576197 h 1295065"/>
              <a:gd name="connsiteX163" fmla="*/ 1299606 w 1590358"/>
              <a:gd name="connsiteY163" fmla="*/ 569934 h 1295065"/>
              <a:gd name="connsiteX164" fmla="*/ 1318395 w 1590358"/>
              <a:gd name="connsiteY164" fmla="*/ 554276 h 1295065"/>
              <a:gd name="connsiteX165" fmla="*/ 1327790 w 1590358"/>
              <a:gd name="connsiteY165" fmla="*/ 544882 h 1295065"/>
              <a:gd name="connsiteX166" fmla="*/ 1340316 w 1590358"/>
              <a:gd name="connsiteY166" fmla="*/ 538619 h 1295065"/>
              <a:gd name="connsiteX167" fmla="*/ 1362236 w 1590358"/>
              <a:gd name="connsiteY167" fmla="*/ 522961 h 1295065"/>
              <a:gd name="connsiteX168" fmla="*/ 1371631 w 1590358"/>
              <a:gd name="connsiteY168" fmla="*/ 519830 h 1295065"/>
              <a:gd name="connsiteX169" fmla="*/ 1381025 w 1590358"/>
              <a:gd name="connsiteY169" fmla="*/ 510435 h 1295065"/>
              <a:gd name="connsiteX170" fmla="*/ 1427998 w 1590358"/>
              <a:gd name="connsiteY170" fmla="*/ 501041 h 1295065"/>
              <a:gd name="connsiteX171" fmla="*/ 1459313 w 1590358"/>
              <a:gd name="connsiteY171" fmla="*/ 491646 h 1295065"/>
              <a:gd name="connsiteX172" fmla="*/ 1468707 w 1590358"/>
              <a:gd name="connsiteY172" fmla="*/ 485383 h 1295065"/>
              <a:gd name="connsiteX173" fmla="*/ 1478102 w 1590358"/>
              <a:gd name="connsiteY173" fmla="*/ 482252 h 1295065"/>
              <a:gd name="connsiteX174" fmla="*/ 1490628 w 1590358"/>
              <a:gd name="connsiteY174" fmla="*/ 472857 h 1295065"/>
              <a:gd name="connsiteX175" fmla="*/ 1521943 w 1590358"/>
              <a:gd name="connsiteY175" fmla="*/ 460331 h 1295065"/>
              <a:gd name="connsiteX176" fmla="*/ 1540732 w 1590358"/>
              <a:gd name="connsiteY176" fmla="*/ 454068 h 1295065"/>
              <a:gd name="connsiteX177" fmla="*/ 1550127 w 1590358"/>
              <a:gd name="connsiteY177" fmla="*/ 450937 h 1295065"/>
              <a:gd name="connsiteX178" fmla="*/ 1562653 w 1590358"/>
              <a:gd name="connsiteY178" fmla="*/ 435279 h 1295065"/>
              <a:gd name="connsiteX179" fmla="*/ 1565784 w 1590358"/>
              <a:gd name="connsiteY179" fmla="*/ 272441 h 1295065"/>
              <a:gd name="connsiteX180" fmla="*/ 1575179 w 1590358"/>
              <a:gd name="connsiteY180" fmla="*/ 231731 h 1295065"/>
              <a:gd name="connsiteX181" fmla="*/ 1581442 w 1590358"/>
              <a:gd name="connsiteY181" fmla="*/ 206679 h 1295065"/>
              <a:gd name="connsiteX182" fmla="*/ 1584573 w 1590358"/>
              <a:gd name="connsiteY182" fmla="*/ 197285 h 1295065"/>
              <a:gd name="connsiteX183" fmla="*/ 1584573 w 1590358"/>
              <a:gd name="connsiteY183" fmla="*/ 93945 h 1295065"/>
              <a:gd name="connsiteX0" fmla="*/ 1584573 w 1590358"/>
              <a:gd name="connsiteY0" fmla="*/ 93945 h 1295065"/>
              <a:gd name="connsiteX1" fmla="*/ 1509417 w 1590358"/>
              <a:gd name="connsiteY1" fmla="*/ 90813 h 1295065"/>
              <a:gd name="connsiteX2" fmla="*/ 1500023 w 1590358"/>
              <a:gd name="connsiteY2" fmla="*/ 87682 h 1295065"/>
              <a:gd name="connsiteX3" fmla="*/ 1449918 w 1590358"/>
              <a:gd name="connsiteY3" fmla="*/ 90813 h 1295065"/>
              <a:gd name="connsiteX4" fmla="*/ 1355973 w 1590358"/>
              <a:gd name="connsiteY4" fmla="*/ 87682 h 1295065"/>
              <a:gd name="connsiteX5" fmla="*/ 1321527 w 1590358"/>
              <a:gd name="connsiteY5" fmla="*/ 78287 h 1295065"/>
              <a:gd name="connsiteX6" fmla="*/ 1299606 w 1590358"/>
              <a:gd name="connsiteY6" fmla="*/ 72024 h 1295065"/>
              <a:gd name="connsiteX7" fmla="*/ 1290212 w 1590358"/>
              <a:gd name="connsiteY7" fmla="*/ 68893 h 1295065"/>
              <a:gd name="connsiteX8" fmla="*/ 1218187 w 1590358"/>
              <a:gd name="connsiteY8" fmla="*/ 65761 h 1295065"/>
              <a:gd name="connsiteX9" fmla="*/ 1158688 w 1590358"/>
              <a:gd name="connsiteY9" fmla="*/ 59499 h 1295065"/>
              <a:gd name="connsiteX10" fmla="*/ 1139899 w 1590358"/>
              <a:gd name="connsiteY10" fmla="*/ 81419 h 1295065"/>
              <a:gd name="connsiteX11" fmla="*/ 1133637 w 1590358"/>
              <a:gd name="connsiteY11" fmla="*/ 75156 h 1295065"/>
              <a:gd name="connsiteX12" fmla="*/ 1092927 w 1590358"/>
              <a:gd name="connsiteY12" fmla="*/ 72024 h 1295065"/>
              <a:gd name="connsiteX13" fmla="*/ 1077269 w 1590358"/>
              <a:gd name="connsiteY13" fmla="*/ 81419 h 1295065"/>
              <a:gd name="connsiteX14" fmla="*/ 1058480 w 1590358"/>
              <a:gd name="connsiteY14" fmla="*/ 72024 h 1295065"/>
              <a:gd name="connsiteX15" fmla="*/ 1039691 w 1590358"/>
              <a:gd name="connsiteY15" fmla="*/ 65761 h 1295065"/>
              <a:gd name="connsiteX16" fmla="*/ 1020902 w 1590358"/>
              <a:gd name="connsiteY16" fmla="*/ 53235 h 1295065"/>
              <a:gd name="connsiteX17" fmla="*/ 986455 w 1590358"/>
              <a:gd name="connsiteY17" fmla="*/ 46972 h 1295065"/>
              <a:gd name="connsiteX18" fmla="*/ 970798 w 1590358"/>
              <a:gd name="connsiteY18" fmla="*/ 43841 h 1295065"/>
              <a:gd name="connsiteX19" fmla="*/ 942614 w 1590358"/>
              <a:gd name="connsiteY19" fmla="*/ 46972 h 1295065"/>
              <a:gd name="connsiteX20" fmla="*/ 933220 w 1590358"/>
              <a:gd name="connsiteY20" fmla="*/ 50104 h 1295065"/>
              <a:gd name="connsiteX21" fmla="*/ 920694 w 1590358"/>
              <a:gd name="connsiteY21" fmla="*/ 53235 h 1295065"/>
              <a:gd name="connsiteX22" fmla="*/ 911299 w 1590358"/>
              <a:gd name="connsiteY22" fmla="*/ 56367 h 1295065"/>
              <a:gd name="connsiteX23" fmla="*/ 867458 w 1590358"/>
              <a:gd name="connsiteY23" fmla="*/ 59498 h 1295065"/>
              <a:gd name="connsiteX24" fmla="*/ 858064 w 1590358"/>
              <a:gd name="connsiteY24" fmla="*/ 65761 h 1295065"/>
              <a:gd name="connsiteX25" fmla="*/ 814223 w 1590358"/>
              <a:gd name="connsiteY25" fmla="*/ 65761 h 1295065"/>
              <a:gd name="connsiteX26" fmla="*/ 811091 w 1590358"/>
              <a:gd name="connsiteY26" fmla="*/ 43841 h 1295065"/>
              <a:gd name="connsiteX27" fmla="*/ 811092 w 1590358"/>
              <a:gd name="connsiteY27" fmla="*/ 37578 h 1295065"/>
              <a:gd name="connsiteX28" fmla="*/ 798565 w 1590358"/>
              <a:gd name="connsiteY28" fmla="*/ 15657 h 1295065"/>
              <a:gd name="connsiteX29" fmla="*/ 786038 w 1590358"/>
              <a:gd name="connsiteY29" fmla="*/ 18789 h 1295065"/>
              <a:gd name="connsiteX30" fmla="*/ 757855 w 1590358"/>
              <a:gd name="connsiteY30" fmla="*/ 18789 h 1295065"/>
              <a:gd name="connsiteX31" fmla="*/ 748461 w 1590358"/>
              <a:gd name="connsiteY31" fmla="*/ 12526 h 1295065"/>
              <a:gd name="connsiteX32" fmla="*/ 739066 w 1590358"/>
              <a:gd name="connsiteY32" fmla="*/ 3131 h 1295065"/>
              <a:gd name="connsiteX33" fmla="*/ 729672 w 1590358"/>
              <a:gd name="connsiteY33" fmla="*/ 0 h 1295065"/>
              <a:gd name="connsiteX34" fmla="*/ 720277 w 1590358"/>
              <a:gd name="connsiteY34" fmla="*/ 3131 h 1295065"/>
              <a:gd name="connsiteX35" fmla="*/ 707751 w 1590358"/>
              <a:gd name="connsiteY35" fmla="*/ 21920 h 1295065"/>
              <a:gd name="connsiteX36" fmla="*/ 695225 w 1590358"/>
              <a:gd name="connsiteY36" fmla="*/ 37578 h 1295065"/>
              <a:gd name="connsiteX37" fmla="*/ 676436 w 1590358"/>
              <a:gd name="connsiteY37" fmla="*/ 53235 h 1295065"/>
              <a:gd name="connsiteX38" fmla="*/ 657647 w 1590358"/>
              <a:gd name="connsiteY38" fmla="*/ 59498 h 1295065"/>
              <a:gd name="connsiteX39" fmla="*/ 648253 w 1590358"/>
              <a:gd name="connsiteY39" fmla="*/ 65761 h 1295065"/>
              <a:gd name="connsiteX40" fmla="*/ 638858 w 1590358"/>
              <a:gd name="connsiteY40" fmla="*/ 68893 h 1295065"/>
              <a:gd name="connsiteX41" fmla="*/ 635727 w 1590358"/>
              <a:gd name="connsiteY41" fmla="*/ 78287 h 1295065"/>
              <a:gd name="connsiteX42" fmla="*/ 626332 w 1590358"/>
              <a:gd name="connsiteY42" fmla="*/ 87682 h 1295065"/>
              <a:gd name="connsiteX43" fmla="*/ 613806 w 1590358"/>
              <a:gd name="connsiteY43" fmla="*/ 106471 h 1295065"/>
              <a:gd name="connsiteX44" fmla="*/ 604412 w 1590358"/>
              <a:gd name="connsiteY44" fmla="*/ 109602 h 1295065"/>
              <a:gd name="connsiteX45" fmla="*/ 595017 w 1590358"/>
              <a:gd name="connsiteY45" fmla="*/ 115865 h 1295065"/>
              <a:gd name="connsiteX46" fmla="*/ 585623 w 1590358"/>
              <a:gd name="connsiteY46" fmla="*/ 118997 h 1295065"/>
              <a:gd name="connsiteX47" fmla="*/ 566834 w 1590358"/>
              <a:gd name="connsiteY47" fmla="*/ 131523 h 1295065"/>
              <a:gd name="connsiteX48" fmla="*/ 557439 w 1590358"/>
              <a:gd name="connsiteY48" fmla="*/ 137786 h 1295065"/>
              <a:gd name="connsiteX49" fmla="*/ 544913 w 1590358"/>
              <a:gd name="connsiteY49" fmla="*/ 156575 h 1295065"/>
              <a:gd name="connsiteX50" fmla="*/ 532387 w 1590358"/>
              <a:gd name="connsiteY50" fmla="*/ 184759 h 1295065"/>
              <a:gd name="connsiteX51" fmla="*/ 522992 w 1590358"/>
              <a:gd name="connsiteY51" fmla="*/ 194153 h 1295065"/>
              <a:gd name="connsiteX52" fmla="*/ 513598 w 1590358"/>
              <a:gd name="connsiteY52" fmla="*/ 197285 h 1295065"/>
              <a:gd name="connsiteX53" fmla="*/ 504203 w 1590358"/>
              <a:gd name="connsiteY53" fmla="*/ 203548 h 1295065"/>
              <a:gd name="connsiteX54" fmla="*/ 466625 w 1590358"/>
              <a:gd name="connsiteY54" fmla="*/ 209811 h 1295065"/>
              <a:gd name="connsiteX55" fmla="*/ 457231 w 1590358"/>
              <a:gd name="connsiteY55" fmla="*/ 216074 h 1295065"/>
              <a:gd name="connsiteX56" fmla="*/ 438442 w 1590358"/>
              <a:gd name="connsiteY56" fmla="*/ 234863 h 1295065"/>
              <a:gd name="connsiteX57" fmla="*/ 429047 w 1590358"/>
              <a:gd name="connsiteY57" fmla="*/ 241126 h 1295065"/>
              <a:gd name="connsiteX58" fmla="*/ 413390 w 1590358"/>
              <a:gd name="connsiteY58" fmla="*/ 259915 h 1295065"/>
              <a:gd name="connsiteX59" fmla="*/ 410258 w 1590358"/>
              <a:gd name="connsiteY59" fmla="*/ 269309 h 1295065"/>
              <a:gd name="connsiteX60" fmla="*/ 397732 w 1590358"/>
              <a:gd name="connsiteY60" fmla="*/ 288098 h 1295065"/>
              <a:gd name="connsiteX61" fmla="*/ 394601 w 1590358"/>
              <a:gd name="connsiteY61" fmla="*/ 316282 h 1295065"/>
              <a:gd name="connsiteX62" fmla="*/ 413390 w 1590358"/>
              <a:gd name="connsiteY62" fmla="*/ 310019 h 1295065"/>
              <a:gd name="connsiteX63" fmla="*/ 422784 w 1590358"/>
              <a:gd name="connsiteY63" fmla="*/ 288098 h 1295065"/>
              <a:gd name="connsiteX64" fmla="*/ 441573 w 1590358"/>
              <a:gd name="connsiteY64" fmla="*/ 259915 h 1295065"/>
              <a:gd name="connsiteX65" fmla="*/ 450968 w 1590358"/>
              <a:gd name="connsiteY65" fmla="*/ 253652 h 1295065"/>
              <a:gd name="connsiteX66" fmla="*/ 469757 w 1590358"/>
              <a:gd name="connsiteY66" fmla="*/ 241126 h 1295065"/>
              <a:gd name="connsiteX67" fmla="*/ 476020 w 1590358"/>
              <a:gd name="connsiteY67" fmla="*/ 250520 h 1295065"/>
              <a:gd name="connsiteX68" fmla="*/ 469757 w 1590358"/>
              <a:gd name="connsiteY68" fmla="*/ 278704 h 1295065"/>
              <a:gd name="connsiteX69" fmla="*/ 460362 w 1590358"/>
              <a:gd name="connsiteY69" fmla="*/ 284967 h 1295065"/>
              <a:gd name="connsiteX70" fmla="*/ 447836 w 1590358"/>
              <a:gd name="connsiteY70" fmla="*/ 294361 h 1295065"/>
              <a:gd name="connsiteX71" fmla="*/ 441573 w 1590358"/>
              <a:gd name="connsiteY71" fmla="*/ 303756 h 1295065"/>
              <a:gd name="connsiteX72" fmla="*/ 419653 w 1590358"/>
              <a:gd name="connsiteY72" fmla="*/ 328808 h 1295065"/>
              <a:gd name="connsiteX73" fmla="*/ 413390 w 1590358"/>
              <a:gd name="connsiteY73" fmla="*/ 347597 h 1295065"/>
              <a:gd name="connsiteX74" fmla="*/ 397732 w 1590358"/>
              <a:gd name="connsiteY74" fmla="*/ 403964 h 1295065"/>
              <a:gd name="connsiteX75" fmla="*/ 378943 w 1590358"/>
              <a:gd name="connsiteY75" fmla="*/ 422753 h 1295065"/>
              <a:gd name="connsiteX76" fmla="*/ 375812 w 1590358"/>
              <a:gd name="connsiteY76" fmla="*/ 432148 h 1295065"/>
              <a:gd name="connsiteX77" fmla="*/ 363286 w 1590358"/>
              <a:gd name="connsiteY77" fmla="*/ 450937 h 1295065"/>
              <a:gd name="connsiteX78" fmla="*/ 350760 w 1590358"/>
              <a:gd name="connsiteY78" fmla="*/ 469726 h 1295065"/>
              <a:gd name="connsiteX79" fmla="*/ 338234 w 1590358"/>
              <a:gd name="connsiteY79" fmla="*/ 488515 h 1295065"/>
              <a:gd name="connsiteX80" fmla="*/ 331971 w 1590358"/>
              <a:gd name="connsiteY80" fmla="*/ 551145 h 1295065"/>
              <a:gd name="connsiteX81" fmla="*/ 325707 w 1590358"/>
              <a:gd name="connsiteY81" fmla="*/ 557408 h 1295065"/>
              <a:gd name="connsiteX82" fmla="*/ 300655 w 1590358"/>
              <a:gd name="connsiteY82" fmla="*/ 557407 h 1295065"/>
              <a:gd name="connsiteX83" fmla="*/ 284998 w 1590358"/>
              <a:gd name="connsiteY83" fmla="*/ 591854 h 1295065"/>
              <a:gd name="connsiteX84" fmla="*/ 278735 w 1590358"/>
              <a:gd name="connsiteY84" fmla="*/ 610643 h 1295065"/>
              <a:gd name="connsiteX85" fmla="*/ 259946 w 1590358"/>
              <a:gd name="connsiteY85" fmla="*/ 626301 h 1295065"/>
              <a:gd name="connsiteX86" fmla="*/ 253683 w 1590358"/>
              <a:gd name="connsiteY86" fmla="*/ 673274 h 1295065"/>
              <a:gd name="connsiteX87" fmla="*/ 247420 w 1590358"/>
              <a:gd name="connsiteY87" fmla="*/ 692063 h 1295065"/>
              <a:gd name="connsiteX88" fmla="*/ 244288 w 1590358"/>
              <a:gd name="connsiteY88" fmla="*/ 701457 h 1295065"/>
              <a:gd name="connsiteX89" fmla="*/ 228631 w 1590358"/>
              <a:gd name="connsiteY89" fmla="*/ 720246 h 1295065"/>
              <a:gd name="connsiteX90" fmla="*/ 222368 w 1590358"/>
              <a:gd name="connsiteY90" fmla="*/ 739035 h 1295065"/>
              <a:gd name="connsiteX91" fmla="*/ 219236 w 1590358"/>
              <a:gd name="connsiteY91" fmla="*/ 748430 h 1295065"/>
              <a:gd name="connsiteX92" fmla="*/ 209842 w 1590358"/>
              <a:gd name="connsiteY92" fmla="*/ 767219 h 1295065"/>
              <a:gd name="connsiteX93" fmla="*/ 200447 w 1590358"/>
              <a:gd name="connsiteY93" fmla="*/ 770350 h 1295065"/>
              <a:gd name="connsiteX94" fmla="*/ 166001 w 1590358"/>
              <a:gd name="connsiteY94" fmla="*/ 760956 h 1295065"/>
              <a:gd name="connsiteX95" fmla="*/ 134686 w 1590358"/>
              <a:gd name="connsiteY95" fmla="*/ 795402 h 1295065"/>
              <a:gd name="connsiteX96" fmla="*/ 131554 w 1590358"/>
              <a:gd name="connsiteY96" fmla="*/ 804797 h 1295065"/>
              <a:gd name="connsiteX97" fmla="*/ 112765 w 1590358"/>
              <a:gd name="connsiteY97" fmla="*/ 820454 h 1295065"/>
              <a:gd name="connsiteX98" fmla="*/ 103371 w 1590358"/>
              <a:gd name="connsiteY98" fmla="*/ 823586 h 1295065"/>
              <a:gd name="connsiteX99" fmla="*/ 87713 w 1590358"/>
              <a:gd name="connsiteY99" fmla="*/ 839243 h 1295065"/>
              <a:gd name="connsiteX100" fmla="*/ 78318 w 1590358"/>
              <a:gd name="connsiteY100" fmla="*/ 873690 h 1295065"/>
              <a:gd name="connsiteX101" fmla="*/ 78318 w 1590358"/>
              <a:gd name="connsiteY101" fmla="*/ 873690 h 1295065"/>
              <a:gd name="connsiteX102" fmla="*/ 75187 w 1590358"/>
              <a:gd name="connsiteY102" fmla="*/ 886216 h 1295065"/>
              <a:gd name="connsiteX103" fmla="*/ 65792 w 1590358"/>
              <a:gd name="connsiteY103" fmla="*/ 914400 h 1295065"/>
              <a:gd name="connsiteX104" fmla="*/ 62661 w 1590358"/>
              <a:gd name="connsiteY104" fmla="*/ 923794 h 1295065"/>
              <a:gd name="connsiteX105" fmla="*/ 59529 w 1590358"/>
              <a:gd name="connsiteY105" fmla="*/ 933189 h 1295065"/>
              <a:gd name="connsiteX106" fmla="*/ 62661 w 1590358"/>
              <a:gd name="connsiteY106" fmla="*/ 945715 h 1295065"/>
              <a:gd name="connsiteX107" fmla="*/ 65792 w 1590358"/>
              <a:gd name="connsiteY107" fmla="*/ 955109 h 1295065"/>
              <a:gd name="connsiteX108" fmla="*/ 53266 w 1590358"/>
              <a:gd name="connsiteY108" fmla="*/ 973898 h 1295065"/>
              <a:gd name="connsiteX109" fmla="*/ 50135 w 1590358"/>
              <a:gd name="connsiteY109" fmla="*/ 983293 h 1295065"/>
              <a:gd name="connsiteX110" fmla="*/ 43872 w 1590358"/>
              <a:gd name="connsiteY110" fmla="*/ 1036528 h 1295065"/>
              <a:gd name="connsiteX111" fmla="*/ 34477 w 1590358"/>
              <a:gd name="connsiteY111" fmla="*/ 1064712 h 1295065"/>
              <a:gd name="connsiteX112" fmla="*/ 31346 w 1590358"/>
              <a:gd name="connsiteY112" fmla="*/ 1074106 h 1295065"/>
              <a:gd name="connsiteX113" fmla="*/ 21951 w 1590358"/>
              <a:gd name="connsiteY113" fmla="*/ 1136737 h 1295065"/>
              <a:gd name="connsiteX114" fmla="*/ 18820 w 1590358"/>
              <a:gd name="connsiteY114" fmla="*/ 1149263 h 1295065"/>
              <a:gd name="connsiteX115" fmla="*/ 12557 w 1590358"/>
              <a:gd name="connsiteY115" fmla="*/ 1196235 h 1295065"/>
              <a:gd name="connsiteX116" fmla="*/ 9425 w 1590358"/>
              <a:gd name="connsiteY116" fmla="*/ 1205630 h 1295065"/>
              <a:gd name="connsiteX117" fmla="*/ 6294 w 1590358"/>
              <a:gd name="connsiteY117" fmla="*/ 1221287 h 1295065"/>
              <a:gd name="connsiteX118" fmla="*/ 31 w 1590358"/>
              <a:gd name="connsiteY118" fmla="*/ 1240076 h 1295065"/>
              <a:gd name="connsiteX119" fmla="*/ 3162 w 1590358"/>
              <a:gd name="connsiteY119" fmla="*/ 1293312 h 1295065"/>
              <a:gd name="connsiteX120" fmla="*/ 15688 w 1590358"/>
              <a:gd name="connsiteY120" fmla="*/ 1290180 h 1295065"/>
              <a:gd name="connsiteX121" fmla="*/ 21951 w 1590358"/>
              <a:gd name="connsiteY121" fmla="*/ 1271391 h 1295065"/>
              <a:gd name="connsiteX122" fmla="*/ 25083 w 1590358"/>
              <a:gd name="connsiteY122" fmla="*/ 1261997 h 1295065"/>
              <a:gd name="connsiteX123" fmla="*/ 28214 w 1590358"/>
              <a:gd name="connsiteY123" fmla="*/ 1211893 h 1295065"/>
              <a:gd name="connsiteX124" fmla="*/ 37609 w 1590358"/>
              <a:gd name="connsiteY124" fmla="*/ 1183709 h 1295065"/>
              <a:gd name="connsiteX125" fmla="*/ 43872 w 1590358"/>
              <a:gd name="connsiteY125" fmla="*/ 1161789 h 1295065"/>
              <a:gd name="connsiteX126" fmla="*/ 50135 w 1590358"/>
              <a:gd name="connsiteY126" fmla="*/ 1143000 h 1295065"/>
              <a:gd name="connsiteX127" fmla="*/ 53266 w 1590358"/>
              <a:gd name="connsiteY127" fmla="*/ 1121079 h 1295065"/>
              <a:gd name="connsiteX128" fmla="*/ 56398 w 1590358"/>
              <a:gd name="connsiteY128" fmla="*/ 1111685 h 1295065"/>
              <a:gd name="connsiteX129" fmla="*/ 75187 w 1590358"/>
              <a:gd name="connsiteY129" fmla="*/ 1099159 h 1295065"/>
              <a:gd name="connsiteX130" fmla="*/ 119028 w 1590358"/>
              <a:gd name="connsiteY130" fmla="*/ 1102290 h 1295065"/>
              <a:gd name="connsiteX131" fmla="*/ 150343 w 1590358"/>
              <a:gd name="connsiteY131" fmla="*/ 1105422 h 1295065"/>
              <a:gd name="connsiteX132" fmla="*/ 222368 w 1590358"/>
              <a:gd name="connsiteY132" fmla="*/ 1108553 h 1295065"/>
              <a:gd name="connsiteX133" fmla="*/ 231762 w 1590358"/>
              <a:gd name="connsiteY133" fmla="*/ 1111685 h 1295065"/>
              <a:gd name="connsiteX134" fmla="*/ 369549 w 1590358"/>
              <a:gd name="connsiteY134" fmla="*/ 1117948 h 1295065"/>
              <a:gd name="connsiteX135" fmla="*/ 416521 w 1590358"/>
              <a:gd name="connsiteY135" fmla="*/ 1121079 h 1295065"/>
              <a:gd name="connsiteX136" fmla="*/ 447836 w 1590358"/>
              <a:gd name="connsiteY136" fmla="*/ 1127342 h 1295065"/>
              <a:gd name="connsiteX137" fmla="*/ 497940 w 1590358"/>
              <a:gd name="connsiteY137" fmla="*/ 1133605 h 1295065"/>
              <a:gd name="connsiteX138" fmla="*/ 601280 w 1590358"/>
              <a:gd name="connsiteY138" fmla="*/ 1136737 h 1295065"/>
              <a:gd name="connsiteX139" fmla="*/ 770381 w 1590358"/>
              <a:gd name="connsiteY139" fmla="*/ 1139868 h 1295065"/>
              <a:gd name="connsiteX140" fmla="*/ 786039 w 1590358"/>
              <a:gd name="connsiteY140" fmla="*/ 1143000 h 1295065"/>
              <a:gd name="connsiteX141" fmla="*/ 886247 w 1590358"/>
              <a:gd name="connsiteY141" fmla="*/ 1149263 h 1295065"/>
              <a:gd name="connsiteX142" fmla="*/ 930088 w 1590358"/>
              <a:gd name="connsiteY142" fmla="*/ 1155526 h 1295065"/>
              <a:gd name="connsiteX143" fmla="*/ 967666 w 1590358"/>
              <a:gd name="connsiteY143" fmla="*/ 1161789 h 1295065"/>
              <a:gd name="connsiteX144" fmla="*/ 992718 w 1590358"/>
              <a:gd name="connsiteY144" fmla="*/ 1164920 h 1295065"/>
              <a:gd name="connsiteX145" fmla="*/ 1036560 w 1590358"/>
              <a:gd name="connsiteY145" fmla="*/ 1171183 h 1295065"/>
              <a:gd name="connsiteX146" fmla="*/ 1058480 w 1590358"/>
              <a:gd name="connsiteY146" fmla="*/ 1174315 h 1295065"/>
              <a:gd name="connsiteX147" fmla="*/ 1067875 w 1590358"/>
              <a:gd name="connsiteY147" fmla="*/ 1177446 h 1295065"/>
              <a:gd name="connsiteX148" fmla="*/ 1099190 w 1590358"/>
              <a:gd name="connsiteY148" fmla="*/ 1183709 h 1295065"/>
              <a:gd name="connsiteX149" fmla="*/ 1236976 w 1590358"/>
              <a:gd name="connsiteY149" fmla="*/ 1149263 h 1295065"/>
              <a:gd name="connsiteX150" fmla="*/ 1233844 w 1590358"/>
              <a:gd name="connsiteY150" fmla="*/ 1136737 h 1295065"/>
              <a:gd name="connsiteX151" fmla="*/ 1230713 w 1590358"/>
              <a:gd name="connsiteY151" fmla="*/ 801665 h 1295065"/>
              <a:gd name="connsiteX152" fmla="*/ 1227581 w 1590358"/>
              <a:gd name="connsiteY152" fmla="*/ 792271 h 1295065"/>
              <a:gd name="connsiteX153" fmla="*/ 1224450 w 1590358"/>
              <a:gd name="connsiteY153" fmla="*/ 767219 h 1295065"/>
              <a:gd name="connsiteX154" fmla="*/ 1218187 w 1590358"/>
              <a:gd name="connsiteY154" fmla="*/ 729641 h 1295065"/>
              <a:gd name="connsiteX155" fmla="*/ 1221318 w 1590358"/>
              <a:gd name="connsiteY155" fmla="*/ 667011 h 1295065"/>
              <a:gd name="connsiteX156" fmla="*/ 1227581 w 1590358"/>
              <a:gd name="connsiteY156" fmla="*/ 657616 h 1295065"/>
              <a:gd name="connsiteX157" fmla="*/ 1230713 w 1590358"/>
              <a:gd name="connsiteY157" fmla="*/ 648222 h 1295065"/>
              <a:gd name="connsiteX158" fmla="*/ 1240107 w 1590358"/>
              <a:gd name="connsiteY158" fmla="*/ 635695 h 1295065"/>
              <a:gd name="connsiteX159" fmla="*/ 1246371 w 1590358"/>
              <a:gd name="connsiteY159" fmla="*/ 626301 h 1295065"/>
              <a:gd name="connsiteX160" fmla="*/ 1249502 w 1590358"/>
              <a:gd name="connsiteY160" fmla="*/ 616906 h 1295065"/>
              <a:gd name="connsiteX161" fmla="*/ 1271423 w 1590358"/>
              <a:gd name="connsiteY161" fmla="*/ 588723 h 1295065"/>
              <a:gd name="connsiteX162" fmla="*/ 1290212 w 1590358"/>
              <a:gd name="connsiteY162" fmla="*/ 576197 h 1295065"/>
              <a:gd name="connsiteX163" fmla="*/ 1299606 w 1590358"/>
              <a:gd name="connsiteY163" fmla="*/ 569934 h 1295065"/>
              <a:gd name="connsiteX164" fmla="*/ 1318395 w 1590358"/>
              <a:gd name="connsiteY164" fmla="*/ 554276 h 1295065"/>
              <a:gd name="connsiteX165" fmla="*/ 1327790 w 1590358"/>
              <a:gd name="connsiteY165" fmla="*/ 544882 h 1295065"/>
              <a:gd name="connsiteX166" fmla="*/ 1340316 w 1590358"/>
              <a:gd name="connsiteY166" fmla="*/ 538619 h 1295065"/>
              <a:gd name="connsiteX167" fmla="*/ 1362236 w 1590358"/>
              <a:gd name="connsiteY167" fmla="*/ 522961 h 1295065"/>
              <a:gd name="connsiteX168" fmla="*/ 1371631 w 1590358"/>
              <a:gd name="connsiteY168" fmla="*/ 519830 h 1295065"/>
              <a:gd name="connsiteX169" fmla="*/ 1381025 w 1590358"/>
              <a:gd name="connsiteY169" fmla="*/ 510435 h 1295065"/>
              <a:gd name="connsiteX170" fmla="*/ 1427998 w 1590358"/>
              <a:gd name="connsiteY170" fmla="*/ 501041 h 1295065"/>
              <a:gd name="connsiteX171" fmla="*/ 1459313 w 1590358"/>
              <a:gd name="connsiteY171" fmla="*/ 491646 h 1295065"/>
              <a:gd name="connsiteX172" fmla="*/ 1468707 w 1590358"/>
              <a:gd name="connsiteY172" fmla="*/ 485383 h 1295065"/>
              <a:gd name="connsiteX173" fmla="*/ 1478102 w 1590358"/>
              <a:gd name="connsiteY173" fmla="*/ 482252 h 1295065"/>
              <a:gd name="connsiteX174" fmla="*/ 1490628 w 1590358"/>
              <a:gd name="connsiteY174" fmla="*/ 472857 h 1295065"/>
              <a:gd name="connsiteX175" fmla="*/ 1521943 w 1590358"/>
              <a:gd name="connsiteY175" fmla="*/ 460331 h 1295065"/>
              <a:gd name="connsiteX176" fmla="*/ 1540732 w 1590358"/>
              <a:gd name="connsiteY176" fmla="*/ 454068 h 1295065"/>
              <a:gd name="connsiteX177" fmla="*/ 1550127 w 1590358"/>
              <a:gd name="connsiteY177" fmla="*/ 450937 h 1295065"/>
              <a:gd name="connsiteX178" fmla="*/ 1562653 w 1590358"/>
              <a:gd name="connsiteY178" fmla="*/ 435279 h 1295065"/>
              <a:gd name="connsiteX179" fmla="*/ 1565784 w 1590358"/>
              <a:gd name="connsiteY179" fmla="*/ 272441 h 1295065"/>
              <a:gd name="connsiteX180" fmla="*/ 1575179 w 1590358"/>
              <a:gd name="connsiteY180" fmla="*/ 231731 h 1295065"/>
              <a:gd name="connsiteX181" fmla="*/ 1581442 w 1590358"/>
              <a:gd name="connsiteY181" fmla="*/ 206679 h 1295065"/>
              <a:gd name="connsiteX182" fmla="*/ 1584573 w 1590358"/>
              <a:gd name="connsiteY182" fmla="*/ 197285 h 1295065"/>
              <a:gd name="connsiteX183" fmla="*/ 1584573 w 1590358"/>
              <a:gd name="connsiteY183" fmla="*/ 93945 h 1295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</a:cxnLst>
            <a:rect l="l" t="t" r="r" b="b"/>
            <a:pathLst>
              <a:path w="1590358" h="1295065">
                <a:moveTo>
                  <a:pt x="1584573" y="93945"/>
                </a:moveTo>
                <a:cubicBezTo>
                  <a:pt x="1572047" y="76200"/>
                  <a:pt x="1534422" y="92665"/>
                  <a:pt x="1509417" y="90813"/>
                </a:cubicBezTo>
                <a:cubicBezTo>
                  <a:pt x="1506125" y="90569"/>
                  <a:pt x="1503324" y="87682"/>
                  <a:pt x="1500023" y="87682"/>
                </a:cubicBezTo>
                <a:cubicBezTo>
                  <a:pt x="1483289" y="87682"/>
                  <a:pt x="1466620" y="89769"/>
                  <a:pt x="1449918" y="90813"/>
                </a:cubicBezTo>
                <a:cubicBezTo>
                  <a:pt x="1418603" y="89769"/>
                  <a:pt x="1387254" y="89470"/>
                  <a:pt x="1355973" y="87682"/>
                </a:cubicBezTo>
                <a:cubicBezTo>
                  <a:pt x="1345292" y="87072"/>
                  <a:pt x="1331164" y="81499"/>
                  <a:pt x="1321527" y="78287"/>
                </a:cubicBezTo>
                <a:cubicBezTo>
                  <a:pt x="1299017" y="70784"/>
                  <a:pt x="1327110" y="79882"/>
                  <a:pt x="1299606" y="72024"/>
                </a:cubicBezTo>
                <a:cubicBezTo>
                  <a:pt x="1296432" y="71117"/>
                  <a:pt x="1293503" y="69146"/>
                  <a:pt x="1290212" y="68893"/>
                </a:cubicBezTo>
                <a:cubicBezTo>
                  <a:pt x="1266252" y="67050"/>
                  <a:pt x="1242195" y="66805"/>
                  <a:pt x="1218187" y="65761"/>
                </a:cubicBezTo>
                <a:cubicBezTo>
                  <a:pt x="1198354" y="66805"/>
                  <a:pt x="1178163" y="55604"/>
                  <a:pt x="1158688" y="59499"/>
                </a:cubicBezTo>
                <a:cubicBezTo>
                  <a:pt x="1151307" y="60975"/>
                  <a:pt x="1144074" y="78810"/>
                  <a:pt x="1139899" y="81419"/>
                </a:cubicBezTo>
                <a:cubicBezTo>
                  <a:pt x="1135724" y="84028"/>
                  <a:pt x="1135724" y="77244"/>
                  <a:pt x="1133637" y="75156"/>
                </a:cubicBezTo>
                <a:cubicBezTo>
                  <a:pt x="1125808" y="75156"/>
                  <a:pt x="1101800" y="72546"/>
                  <a:pt x="1092927" y="72024"/>
                </a:cubicBezTo>
                <a:cubicBezTo>
                  <a:pt x="1084054" y="71502"/>
                  <a:pt x="1083010" y="81419"/>
                  <a:pt x="1077269" y="81419"/>
                </a:cubicBezTo>
                <a:cubicBezTo>
                  <a:pt x="1071528" y="81419"/>
                  <a:pt x="1068436" y="76449"/>
                  <a:pt x="1058480" y="72024"/>
                </a:cubicBezTo>
                <a:cubicBezTo>
                  <a:pt x="1052447" y="69343"/>
                  <a:pt x="1045954" y="67849"/>
                  <a:pt x="1039691" y="65761"/>
                </a:cubicBezTo>
                <a:cubicBezTo>
                  <a:pt x="1032550" y="63381"/>
                  <a:pt x="1028043" y="55615"/>
                  <a:pt x="1020902" y="53235"/>
                </a:cubicBezTo>
                <a:cubicBezTo>
                  <a:pt x="1001738" y="46848"/>
                  <a:pt x="1019334" y="52030"/>
                  <a:pt x="986455" y="46972"/>
                </a:cubicBezTo>
                <a:cubicBezTo>
                  <a:pt x="981195" y="46163"/>
                  <a:pt x="976017" y="44885"/>
                  <a:pt x="970798" y="43841"/>
                </a:cubicBezTo>
                <a:cubicBezTo>
                  <a:pt x="961403" y="44885"/>
                  <a:pt x="951938" y="45418"/>
                  <a:pt x="942614" y="46972"/>
                </a:cubicBezTo>
                <a:cubicBezTo>
                  <a:pt x="939358" y="47515"/>
                  <a:pt x="936394" y="49197"/>
                  <a:pt x="933220" y="50104"/>
                </a:cubicBezTo>
                <a:cubicBezTo>
                  <a:pt x="929082" y="51286"/>
                  <a:pt x="924832" y="52053"/>
                  <a:pt x="920694" y="53235"/>
                </a:cubicBezTo>
                <a:cubicBezTo>
                  <a:pt x="917520" y="54142"/>
                  <a:pt x="914577" y="55981"/>
                  <a:pt x="911299" y="56367"/>
                </a:cubicBezTo>
                <a:cubicBezTo>
                  <a:pt x="896748" y="58079"/>
                  <a:pt x="882072" y="58454"/>
                  <a:pt x="867458" y="59498"/>
                </a:cubicBezTo>
                <a:cubicBezTo>
                  <a:pt x="864327" y="61586"/>
                  <a:pt x="861430" y="64078"/>
                  <a:pt x="858064" y="65761"/>
                </a:cubicBezTo>
                <a:cubicBezTo>
                  <a:pt x="843466" y="73061"/>
                  <a:pt x="831930" y="67371"/>
                  <a:pt x="814223" y="65761"/>
                </a:cubicBezTo>
                <a:cubicBezTo>
                  <a:pt x="804986" y="59603"/>
                  <a:pt x="811613" y="48538"/>
                  <a:pt x="811091" y="43841"/>
                </a:cubicBezTo>
                <a:cubicBezTo>
                  <a:pt x="810569" y="39144"/>
                  <a:pt x="813180" y="42275"/>
                  <a:pt x="811092" y="37578"/>
                </a:cubicBezTo>
                <a:cubicBezTo>
                  <a:pt x="809004" y="32881"/>
                  <a:pt x="802741" y="18788"/>
                  <a:pt x="798565" y="15657"/>
                </a:cubicBezTo>
                <a:cubicBezTo>
                  <a:pt x="794389" y="12526"/>
                  <a:pt x="792823" y="18267"/>
                  <a:pt x="786038" y="18789"/>
                </a:cubicBezTo>
                <a:cubicBezTo>
                  <a:pt x="779253" y="19311"/>
                  <a:pt x="764118" y="19833"/>
                  <a:pt x="757855" y="18789"/>
                </a:cubicBezTo>
                <a:cubicBezTo>
                  <a:pt x="751592" y="17745"/>
                  <a:pt x="751352" y="14935"/>
                  <a:pt x="748461" y="12526"/>
                </a:cubicBezTo>
                <a:cubicBezTo>
                  <a:pt x="745059" y="9691"/>
                  <a:pt x="742751" y="5588"/>
                  <a:pt x="739066" y="3131"/>
                </a:cubicBezTo>
                <a:cubicBezTo>
                  <a:pt x="736320" y="1300"/>
                  <a:pt x="732803" y="1044"/>
                  <a:pt x="729672" y="0"/>
                </a:cubicBezTo>
                <a:cubicBezTo>
                  <a:pt x="726540" y="1044"/>
                  <a:pt x="722611" y="797"/>
                  <a:pt x="720277" y="3131"/>
                </a:cubicBezTo>
                <a:cubicBezTo>
                  <a:pt x="714954" y="8453"/>
                  <a:pt x="707751" y="21920"/>
                  <a:pt x="707751" y="21920"/>
                </a:cubicBezTo>
                <a:cubicBezTo>
                  <a:pt x="702611" y="37343"/>
                  <a:pt x="708300" y="26682"/>
                  <a:pt x="695225" y="37578"/>
                </a:cubicBezTo>
                <a:cubicBezTo>
                  <a:pt x="686795" y="44603"/>
                  <a:pt x="686434" y="48791"/>
                  <a:pt x="676436" y="53235"/>
                </a:cubicBezTo>
                <a:cubicBezTo>
                  <a:pt x="670403" y="55916"/>
                  <a:pt x="657647" y="59498"/>
                  <a:pt x="657647" y="59498"/>
                </a:cubicBezTo>
                <a:cubicBezTo>
                  <a:pt x="654516" y="61586"/>
                  <a:pt x="651619" y="64078"/>
                  <a:pt x="648253" y="65761"/>
                </a:cubicBezTo>
                <a:cubicBezTo>
                  <a:pt x="645300" y="67237"/>
                  <a:pt x="641192" y="66559"/>
                  <a:pt x="638858" y="68893"/>
                </a:cubicBezTo>
                <a:cubicBezTo>
                  <a:pt x="636524" y="71227"/>
                  <a:pt x="637558" y="75541"/>
                  <a:pt x="635727" y="78287"/>
                </a:cubicBezTo>
                <a:cubicBezTo>
                  <a:pt x="633270" y="81972"/>
                  <a:pt x="629464" y="84550"/>
                  <a:pt x="626332" y="87682"/>
                </a:cubicBezTo>
                <a:cubicBezTo>
                  <a:pt x="623049" y="97531"/>
                  <a:pt x="623860" y="99769"/>
                  <a:pt x="613806" y="106471"/>
                </a:cubicBezTo>
                <a:cubicBezTo>
                  <a:pt x="611060" y="108302"/>
                  <a:pt x="607543" y="108558"/>
                  <a:pt x="604412" y="109602"/>
                </a:cubicBezTo>
                <a:cubicBezTo>
                  <a:pt x="601280" y="111690"/>
                  <a:pt x="598383" y="114182"/>
                  <a:pt x="595017" y="115865"/>
                </a:cubicBezTo>
                <a:cubicBezTo>
                  <a:pt x="592065" y="117341"/>
                  <a:pt x="588508" y="117394"/>
                  <a:pt x="585623" y="118997"/>
                </a:cubicBezTo>
                <a:cubicBezTo>
                  <a:pt x="579043" y="122653"/>
                  <a:pt x="573097" y="127348"/>
                  <a:pt x="566834" y="131523"/>
                </a:cubicBezTo>
                <a:lnTo>
                  <a:pt x="557439" y="137786"/>
                </a:lnTo>
                <a:cubicBezTo>
                  <a:pt x="553264" y="144049"/>
                  <a:pt x="547293" y="149434"/>
                  <a:pt x="544913" y="156575"/>
                </a:cubicBezTo>
                <a:cubicBezTo>
                  <a:pt x="540362" y="170227"/>
                  <a:pt x="540657" y="174835"/>
                  <a:pt x="532387" y="184759"/>
                </a:cubicBezTo>
                <a:cubicBezTo>
                  <a:pt x="529552" y="188161"/>
                  <a:pt x="526677" y="191696"/>
                  <a:pt x="522992" y="194153"/>
                </a:cubicBezTo>
                <a:cubicBezTo>
                  <a:pt x="520246" y="195984"/>
                  <a:pt x="516550" y="195809"/>
                  <a:pt x="513598" y="197285"/>
                </a:cubicBezTo>
                <a:cubicBezTo>
                  <a:pt x="510232" y="198968"/>
                  <a:pt x="507840" y="202578"/>
                  <a:pt x="504203" y="203548"/>
                </a:cubicBezTo>
                <a:cubicBezTo>
                  <a:pt x="491933" y="206820"/>
                  <a:pt x="466625" y="209811"/>
                  <a:pt x="466625" y="209811"/>
                </a:cubicBezTo>
                <a:cubicBezTo>
                  <a:pt x="463494" y="211899"/>
                  <a:pt x="460044" y="213574"/>
                  <a:pt x="457231" y="216074"/>
                </a:cubicBezTo>
                <a:cubicBezTo>
                  <a:pt x="450611" y="221958"/>
                  <a:pt x="445812" y="229950"/>
                  <a:pt x="438442" y="234863"/>
                </a:cubicBezTo>
                <a:cubicBezTo>
                  <a:pt x="435310" y="236951"/>
                  <a:pt x="431938" y="238717"/>
                  <a:pt x="429047" y="241126"/>
                </a:cubicBezTo>
                <a:cubicBezTo>
                  <a:pt x="423110" y="246074"/>
                  <a:pt x="416910" y="252876"/>
                  <a:pt x="413390" y="259915"/>
                </a:cubicBezTo>
                <a:cubicBezTo>
                  <a:pt x="411914" y="262867"/>
                  <a:pt x="411861" y="266424"/>
                  <a:pt x="410258" y="269309"/>
                </a:cubicBezTo>
                <a:cubicBezTo>
                  <a:pt x="406602" y="275889"/>
                  <a:pt x="397732" y="288098"/>
                  <a:pt x="397732" y="288098"/>
                </a:cubicBezTo>
                <a:cubicBezTo>
                  <a:pt x="390425" y="310019"/>
                  <a:pt x="389381" y="300624"/>
                  <a:pt x="394601" y="316282"/>
                </a:cubicBezTo>
                <a:lnTo>
                  <a:pt x="413390" y="310019"/>
                </a:lnTo>
                <a:cubicBezTo>
                  <a:pt x="417668" y="308593"/>
                  <a:pt x="420625" y="291985"/>
                  <a:pt x="422784" y="288098"/>
                </a:cubicBezTo>
                <a:cubicBezTo>
                  <a:pt x="422788" y="288091"/>
                  <a:pt x="438439" y="264616"/>
                  <a:pt x="441573" y="259915"/>
                </a:cubicBezTo>
                <a:cubicBezTo>
                  <a:pt x="443661" y="256783"/>
                  <a:pt x="448077" y="256062"/>
                  <a:pt x="450968" y="253652"/>
                </a:cubicBezTo>
                <a:cubicBezTo>
                  <a:pt x="466606" y="240620"/>
                  <a:pt x="453246" y="246629"/>
                  <a:pt x="469757" y="241126"/>
                </a:cubicBezTo>
                <a:cubicBezTo>
                  <a:pt x="471845" y="244257"/>
                  <a:pt x="475604" y="246780"/>
                  <a:pt x="476020" y="250520"/>
                </a:cubicBezTo>
                <a:cubicBezTo>
                  <a:pt x="476035" y="250651"/>
                  <a:pt x="472977" y="274678"/>
                  <a:pt x="469757" y="278704"/>
                </a:cubicBezTo>
                <a:cubicBezTo>
                  <a:pt x="467406" y="281643"/>
                  <a:pt x="463425" y="282779"/>
                  <a:pt x="460362" y="284967"/>
                </a:cubicBezTo>
                <a:cubicBezTo>
                  <a:pt x="456115" y="288000"/>
                  <a:pt x="452011" y="291230"/>
                  <a:pt x="447836" y="294361"/>
                </a:cubicBezTo>
                <a:cubicBezTo>
                  <a:pt x="445748" y="297493"/>
                  <a:pt x="444234" y="301095"/>
                  <a:pt x="441573" y="303756"/>
                </a:cubicBezTo>
                <a:cubicBezTo>
                  <a:pt x="428786" y="316543"/>
                  <a:pt x="428526" y="302190"/>
                  <a:pt x="419653" y="328808"/>
                </a:cubicBezTo>
                <a:lnTo>
                  <a:pt x="413390" y="347597"/>
                </a:lnTo>
                <a:cubicBezTo>
                  <a:pt x="409633" y="392676"/>
                  <a:pt x="417230" y="374717"/>
                  <a:pt x="397732" y="403964"/>
                </a:cubicBezTo>
                <a:cubicBezTo>
                  <a:pt x="392819" y="411334"/>
                  <a:pt x="378943" y="422753"/>
                  <a:pt x="378943" y="422753"/>
                </a:cubicBezTo>
                <a:cubicBezTo>
                  <a:pt x="377899" y="425885"/>
                  <a:pt x="377415" y="429262"/>
                  <a:pt x="375812" y="432148"/>
                </a:cubicBezTo>
                <a:cubicBezTo>
                  <a:pt x="372157" y="438728"/>
                  <a:pt x="367461" y="444674"/>
                  <a:pt x="363286" y="450937"/>
                </a:cubicBezTo>
                <a:lnTo>
                  <a:pt x="350760" y="469726"/>
                </a:lnTo>
                <a:cubicBezTo>
                  <a:pt x="332635" y="496915"/>
                  <a:pt x="368199" y="458547"/>
                  <a:pt x="338234" y="488515"/>
                </a:cubicBezTo>
                <a:cubicBezTo>
                  <a:pt x="327504" y="520699"/>
                  <a:pt x="345937" y="462697"/>
                  <a:pt x="331971" y="551145"/>
                </a:cubicBezTo>
                <a:cubicBezTo>
                  <a:pt x="331510" y="554062"/>
                  <a:pt x="330926" y="556364"/>
                  <a:pt x="325707" y="557408"/>
                </a:cubicBezTo>
                <a:cubicBezTo>
                  <a:pt x="320488" y="558452"/>
                  <a:pt x="310580" y="554100"/>
                  <a:pt x="300655" y="557407"/>
                </a:cubicBezTo>
                <a:cubicBezTo>
                  <a:pt x="284998" y="567845"/>
                  <a:pt x="288651" y="582981"/>
                  <a:pt x="284998" y="591854"/>
                </a:cubicBezTo>
                <a:cubicBezTo>
                  <a:pt x="281345" y="600727"/>
                  <a:pt x="284228" y="606981"/>
                  <a:pt x="278735" y="610643"/>
                </a:cubicBezTo>
                <a:cubicBezTo>
                  <a:pt x="265655" y="619362"/>
                  <a:pt x="272001" y="614244"/>
                  <a:pt x="259946" y="626301"/>
                </a:cubicBezTo>
                <a:cubicBezTo>
                  <a:pt x="251050" y="652983"/>
                  <a:pt x="263898" y="611981"/>
                  <a:pt x="253683" y="673274"/>
                </a:cubicBezTo>
                <a:cubicBezTo>
                  <a:pt x="252598" y="679786"/>
                  <a:pt x="249508" y="685800"/>
                  <a:pt x="247420" y="692063"/>
                </a:cubicBezTo>
                <a:cubicBezTo>
                  <a:pt x="246376" y="695194"/>
                  <a:pt x="246622" y="699123"/>
                  <a:pt x="244288" y="701457"/>
                </a:cubicBezTo>
                <a:cubicBezTo>
                  <a:pt x="238390" y="707355"/>
                  <a:pt x="232118" y="712400"/>
                  <a:pt x="228631" y="720246"/>
                </a:cubicBezTo>
                <a:cubicBezTo>
                  <a:pt x="225950" y="726279"/>
                  <a:pt x="224456" y="732772"/>
                  <a:pt x="222368" y="739035"/>
                </a:cubicBezTo>
                <a:lnTo>
                  <a:pt x="219236" y="748430"/>
                </a:lnTo>
                <a:cubicBezTo>
                  <a:pt x="217173" y="754619"/>
                  <a:pt x="215361" y="762804"/>
                  <a:pt x="209842" y="767219"/>
                </a:cubicBezTo>
                <a:cubicBezTo>
                  <a:pt x="207264" y="769281"/>
                  <a:pt x="207754" y="771394"/>
                  <a:pt x="200447" y="770350"/>
                </a:cubicBezTo>
                <a:cubicBezTo>
                  <a:pt x="193140" y="769306"/>
                  <a:pt x="182702" y="759912"/>
                  <a:pt x="166001" y="760956"/>
                </a:cubicBezTo>
                <a:cubicBezTo>
                  <a:pt x="163876" y="763789"/>
                  <a:pt x="140427" y="788095"/>
                  <a:pt x="134686" y="795402"/>
                </a:cubicBezTo>
                <a:cubicBezTo>
                  <a:pt x="128945" y="802709"/>
                  <a:pt x="133385" y="802050"/>
                  <a:pt x="131554" y="804797"/>
                </a:cubicBezTo>
                <a:cubicBezTo>
                  <a:pt x="128090" y="809992"/>
                  <a:pt x="118542" y="817565"/>
                  <a:pt x="112765" y="820454"/>
                </a:cubicBezTo>
                <a:cubicBezTo>
                  <a:pt x="109813" y="821930"/>
                  <a:pt x="106502" y="822542"/>
                  <a:pt x="103371" y="823586"/>
                </a:cubicBezTo>
                <a:cubicBezTo>
                  <a:pt x="98152" y="828805"/>
                  <a:pt x="89161" y="832005"/>
                  <a:pt x="87713" y="839243"/>
                </a:cubicBezTo>
                <a:cubicBezTo>
                  <a:pt x="83286" y="861375"/>
                  <a:pt x="86264" y="849851"/>
                  <a:pt x="78318" y="873690"/>
                </a:cubicBezTo>
                <a:lnTo>
                  <a:pt x="78318" y="873690"/>
                </a:lnTo>
                <a:cubicBezTo>
                  <a:pt x="77274" y="877865"/>
                  <a:pt x="76424" y="882094"/>
                  <a:pt x="75187" y="886216"/>
                </a:cubicBezTo>
                <a:cubicBezTo>
                  <a:pt x="75177" y="886249"/>
                  <a:pt x="67363" y="909686"/>
                  <a:pt x="65792" y="914400"/>
                </a:cubicBezTo>
                <a:lnTo>
                  <a:pt x="62661" y="923794"/>
                </a:lnTo>
                <a:lnTo>
                  <a:pt x="59529" y="933189"/>
                </a:lnTo>
                <a:cubicBezTo>
                  <a:pt x="60573" y="937364"/>
                  <a:pt x="61479" y="941577"/>
                  <a:pt x="62661" y="945715"/>
                </a:cubicBezTo>
                <a:cubicBezTo>
                  <a:pt x="63568" y="948889"/>
                  <a:pt x="66836" y="951978"/>
                  <a:pt x="65792" y="955109"/>
                </a:cubicBezTo>
                <a:cubicBezTo>
                  <a:pt x="63412" y="962250"/>
                  <a:pt x="53266" y="973898"/>
                  <a:pt x="53266" y="973898"/>
                </a:cubicBezTo>
                <a:cubicBezTo>
                  <a:pt x="52222" y="977030"/>
                  <a:pt x="50544" y="980017"/>
                  <a:pt x="50135" y="983293"/>
                </a:cubicBezTo>
                <a:cubicBezTo>
                  <a:pt x="45872" y="1017393"/>
                  <a:pt x="50556" y="1014245"/>
                  <a:pt x="43872" y="1036528"/>
                </a:cubicBezTo>
                <a:cubicBezTo>
                  <a:pt x="43862" y="1036561"/>
                  <a:pt x="36048" y="1059998"/>
                  <a:pt x="34477" y="1064712"/>
                </a:cubicBezTo>
                <a:lnTo>
                  <a:pt x="31346" y="1074106"/>
                </a:lnTo>
                <a:cubicBezTo>
                  <a:pt x="30641" y="1079041"/>
                  <a:pt x="24734" y="1122824"/>
                  <a:pt x="21951" y="1136737"/>
                </a:cubicBezTo>
                <a:cubicBezTo>
                  <a:pt x="21107" y="1140957"/>
                  <a:pt x="19864" y="1145088"/>
                  <a:pt x="18820" y="1149263"/>
                </a:cubicBezTo>
                <a:cubicBezTo>
                  <a:pt x="17314" y="1162818"/>
                  <a:pt x="15679" y="1182187"/>
                  <a:pt x="12557" y="1196235"/>
                </a:cubicBezTo>
                <a:cubicBezTo>
                  <a:pt x="11841" y="1199457"/>
                  <a:pt x="10226" y="1202427"/>
                  <a:pt x="9425" y="1205630"/>
                </a:cubicBezTo>
                <a:cubicBezTo>
                  <a:pt x="8134" y="1210793"/>
                  <a:pt x="7694" y="1216152"/>
                  <a:pt x="6294" y="1221287"/>
                </a:cubicBezTo>
                <a:cubicBezTo>
                  <a:pt x="4557" y="1227656"/>
                  <a:pt x="31" y="1240076"/>
                  <a:pt x="31" y="1240076"/>
                </a:cubicBezTo>
                <a:cubicBezTo>
                  <a:pt x="1075" y="1257821"/>
                  <a:pt x="-2140" y="1276345"/>
                  <a:pt x="3162" y="1293312"/>
                </a:cubicBezTo>
                <a:cubicBezTo>
                  <a:pt x="4446" y="1297420"/>
                  <a:pt x="12887" y="1293448"/>
                  <a:pt x="15688" y="1290180"/>
                </a:cubicBezTo>
                <a:cubicBezTo>
                  <a:pt x="19984" y="1285168"/>
                  <a:pt x="19863" y="1277654"/>
                  <a:pt x="21951" y="1271391"/>
                </a:cubicBezTo>
                <a:lnTo>
                  <a:pt x="25083" y="1261997"/>
                </a:lnTo>
                <a:cubicBezTo>
                  <a:pt x="26127" y="1245296"/>
                  <a:pt x="25953" y="1228473"/>
                  <a:pt x="28214" y="1211893"/>
                </a:cubicBezTo>
                <a:cubicBezTo>
                  <a:pt x="28215" y="1211887"/>
                  <a:pt x="36042" y="1188409"/>
                  <a:pt x="37609" y="1183709"/>
                </a:cubicBezTo>
                <a:cubicBezTo>
                  <a:pt x="48128" y="1152153"/>
                  <a:pt x="32081" y="1201091"/>
                  <a:pt x="43872" y="1161789"/>
                </a:cubicBezTo>
                <a:cubicBezTo>
                  <a:pt x="45769" y="1155466"/>
                  <a:pt x="50135" y="1143000"/>
                  <a:pt x="50135" y="1143000"/>
                </a:cubicBezTo>
                <a:cubicBezTo>
                  <a:pt x="51179" y="1135693"/>
                  <a:pt x="51818" y="1128317"/>
                  <a:pt x="53266" y="1121079"/>
                </a:cubicBezTo>
                <a:cubicBezTo>
                  <a:pt x="53913" y="1117842"/>
                  <a:pt x="54064" y="1114019"/>
                  <a:pt x="56398" y="1111685"/>
                </a:cubicBezTo>
                <a:cubicBezTo>
                  <a:pt x="61721" y="1106363"/>
                  <a:pt x="75187" y="1099159"/>
                  <a:pt x="75187" y="1099159"/>
                </a:cubicBezTo>
                <a:lnTo>
                  <a:pt x="119028" y="1102290"/>
                </a:lnTo>
                <a:cubicBezTo>
                  <a:pt x="129482" y="1103161"/>
                  <a:pt x="139872" y="1104787"/>
                  <a:pt x="150343" y="1105422"/>
                </a:cubicBezTo>
                <a:cubicBezTo>
                  <a:pt x="174330" y="1106876"/>
                  <a:pt x="198360" y="1107509"/>
                  <a:pt x="222368" y="1108553"/>
                </a:cubicBezTo>
                <a:cubicBezTo>
                  <a:pt x="225499" y="1109597"/>
                  <a:pt x="228525" y="1111038"/>
                  <a:pt x="231762" y="1111685"/>
                </a:cubicBezTo>
                <a:cubicBezTo>
                  <a:pt x="272044" y="1119741"/>
                  <a:pt x="350400" y="1117430"/>
                  <a:pt x="369549" y="1117948"/>
                </a:cubicBezTo>
                <a:cubicBezTo>
                  <a:pt x="385206" y="1118992"/>
                  <a:pt x="400893" y="1119658"/>
                  <a:pt x="416521" y="1121079"/>
                </a:cubicBezTo>
                <a:cubicBezTo>
                  <a:pt x="518193" y="1130322"/>
                  <a:pt x="397238" y="1119353"/>
                  <a:pt x="447836" y="1127342"/>
                </a:cubicBezTo>
                <a:cubicBezTo>
                  <a:pt x="464461" y="1129967"/>
                  <a:pt x="481239" y="1131517"/>
                  <a:pt x="497940" y="1133605"/>
                </a:cubicBezTo>
                <a:cubicBezTo>
                  <a:pt x="532136" y="1137880"/>
                  <a:pt x="566827" y="1135945"/>
                  <a:pt x="601280" y="1136737"/>
                </a:cubicBezTo>
                <a:lnTo>
                  <a:pt x="770381" y="1139868"/>
                </a:lnTo>
                <a:cubicBezTo>
                  <a:pt x="775600" y="1140912"/>
                  <a:pt x="780749" y="1142412"/>
                  <a:pt x="786039" y="1143000"/>
                </a:cubicBezTo>
                <a:cubicBezTo>
                  <a:pt x="811156" y="1145791"/>
                  <a:pt x="864806" y="1148134"/>
                  <a:pt x="886247" y="1149263"/>
                </a:cubicBezTo>
                <a:cubicBezTo>
                  <a:pt x="914661" y="1154945"/>
                  <a:pt x="890422" y="1150568"/>
                  <a:pt x="930088" y="1155526"/>
                </a:cubicBezTo>
                <a:cubicBezTo>
                  <a:pt x="991310" y="1163179"/>
                  <a:pt x="920232" y="1154491"/>
                  <a:pt x="967666" y="1161789"/>
                </a:cubicBezTo>
                <a:cubicBezTo>
                  <a:pt x="975984" y="1163069"/>
                  <a:pt x="984367" y="1163876"/>
                  <a:pt x="992718" y="1164920"/>
                </a:cubicBezTo>
                <a:cubicBezTo>
                  <a:pt x="1014034" y="1172026"/>
                  <a:pt x="995393" y="1166609"/>
                  <a:pt x="1036560" y="1171183"/>
                </a:cubicBezTo>
                <a:cubicBezTo>
                  <a:pt x="1043896" y="1171998"/>
                  <a:pt x="1051173" y="1173271"/>
                  <a:pt x="1058480" y="1174315"/>
                </a:cubicBezTo>
                <a:cubicBezTo>
                  <a:pt x="1061612" y="1175359"/>
                  <a:pt x="1064638" y="1176799"/>
                  <a:pt x="1067875" y="1177446"/>
                </a:cubicBezTo>
                <a:cubicBezTo>
                  <a:pt x="1103858" y="1184643"/>
                  <a:pt x="1077965" y="1176635"/>
                  <a:pt x="1099190" y="1183709"/>
                </a:cubicBezTo>
                <a:cubicBezTo>
                  <a:pt x="1235652" y="1180677"/>
                  <a:pt x="1248118" y="1227255"/>
                  <a:pt x="1236976" y="1149263"/>
                </a:cubicBezTo>
                <a:cubicBezTo>
                  <a:pt x="1236367" y="1145002"/>
                  <a:pt x="1234888" y="1140912"/>
                  <a:pt x="1233844" y="1136737"/>
                </a:cubicBezTo>
                <a:cubicBezTo>
                  <a:pt x="1232800" y="1025046"/>
                  <a:pt x="1232743" y="913342"/>
                  <a:pt x="1230713" y="801665"/>
                </a:cubicBezTo>
                <a:cubicBezTo>
                  <a:pt x="1230653" y="798365"/>
                  <a:pt x="1228171" y="795519"/>
                  <a:pt x="1227581" y="792271"/>
                </a:cubicBezTo>
                <a:cubicBezTo>
                  <a:pt x="1226076" y="783991"/>
                  <a:pt x="1225698" y="775542"/>
                  <a:pt x="1224450" y="767219"/>
                </a:cubicBezTo>
                <a:cubicBezTo>
                  <a:pt x="1222566" y="754661"/>
                  <a:pt x="1218187" y="729641"/>
                  <a:pt x="1218187" y="729641"/>
                </a:cubicBezTo>
                <a:cubicBezTo>
                  <a:pt x="1219231" y="708764"/>
                  <a:pt x="1218615" y="687738"/>
                  <a:pt x="1221318" y="667011"/>
                </a:cubicBezTo>
                <a:cubicBezTo>
                  <a:pt x="1221805" y="663279"/>
                  <a:pt x="1225898" y="660982"/>
                  <a:pt x="1227581" y="657616"/>
                </a:cubicBezTo>
                <a:cubicBezTo>
                  <a:pt x="1229057" y="654664"/>
                  <a:pt x="1229075" y="651088"/>
                  <a:pt x="1230713" y="648222"/>
                </a:cubicBezTo>
                <a:cubicBezTo>
                  <a:pt x="1233302" y="643690"/>
                  <a:pt x="1237073" y="639942"/>
                  <a:pt x="1240107" y="635695"/>
                </a:cubicBezTo>
                <a:cubicBezTo>
                  <a:pt x="1242295" y="632632"/>
                  <a:pt x="1244283" y="629432"/>
                  <a:pt x="1246371" y="626301"/>
                </a:cubicBezTo>
                <a:cubicBezTo>
                  <a:pt x="1247415" y="623169"/>
                  <a:pt x="1247899" y="619792"/>
                  <a:pt x="1249502" y="616906"/>
                </a:cubicBezTo>
                <a:cubicBezTo>
                  <a:pt x="1254651" y="607637"/>
                  <a:pt x="1262491" y="595670"/>
                  <a:pt x="1271423" y="588723"/>
                </a:cubicBezTo>
                <a:cubicBezTo>
                  <a:pt x="1277365" y="584102"/>
                  <a:pt x="1283949" y="580372"/>
                  <a:pt x="1290212" y="576197"/>
                </a:cubicBezTo>
                <a:cubicBezTo>
                  <a:pt x="1293343" y="574109"/>
                  <a:pt x="1296945" y="572595"/>
                  <a:pt x="1299606" y="569934"/>
                </a:cubicBezTo>
                <a:cubicBezTo>
                  <a:pt x="1327045" y="542495"/>
                  <a:pt x="1292244" y="576068"/>
                  <a:pt x="1318395" y="554276"/>
                </a:cubicBezTo>
                <a:cubicBezTo>
                  <a:pt x="1321797" y="551441"/>
                  <a:pt x="1324186" y="547456"/>
                  <a:pt x="1327790" y="544882"/>
                </a:cubicBezTo>
                <a:cubicBezTo>
                  <a:pt x="1331589" y="542169"/>
                  <a:pt x="1336357" y="541093"/>
                  <a:pt x="1340316" y="538619"/>
                </a:cubicBezTo>
                <a:cubicBezTo>
                  <a:pt x="1345986" y="535075"/>
                  <a:pt x="1355614" y="526272"/>
                  <a:pt x="1362236" y="522961"/>
                </a:cubicBezTo>
                <a:cubicBezTo>
                  <a:pt x="1365189" y="521485"/>
                  <a:pt x="1368499" y="520874"/>
                  <a:pt x="1371631" y="519830"/>
                </a:cubicBezTo>
                <a:cubicBezTo>
                  <a:pt x="1374762" y="516698"/>
                  <a:pt x="1377154" y="512586"/>
                  <a:pt x="1381025" y="510435"/>
                </a:cubicBezTo>
                <a:cubicBezTo>
                  <a:pt x="1394903" y="502725"/>
                  <a:pt x="1413124" y="502693"/>
                  <a:pt x="1427998" y="501041"/>
                </a:cubicBezTo>
                <a:cubicBezTo>
                  <a:pt x="1446929" y="496308"/>
                  <a:pt x="1436441" y="499270"/>
                  <a:pt x="1459313" y="491646"/>
                </a:cubicBezTo>
                <a:cubicBezTo>
                  <a:pt x="1462883" y="490456"/>
                  <a:pt x="1465341" y="487066"/>
                  <a:pt x="1468707" y="485383"/>
                </a:cubicBezTo>
                <a:cubicBezTo>
                  <a:pt x="1471660" y="483907"/>
                  <a:pt x="1474970" y="483296"/>
                  <a:pt x="1478102" y="482252"/>
                </a:cubicBezTo>
                <a:cubicBezTo>
                  <a:pt x="1482277" y="479120"/>
                  <a:pt x="1486202" y="475623"/>
                  <a:pt x="1490628" y="472857"/>
                </a:cubicBezTo>
                <a:cubicBezTo>
                  <a:pt x="1501158" y="466275"/>
                  <a:pt x="1509898" y="464346"/>
                  <a:pt x="1521943" y="460331"/>
                </a:cubicBezTo>
                <a:lnTo>
                  <a:pt x="1540732" y="454068"/>
                </a:lnTo>
                <a:lnTo>
                  <a:pt x="1550127" y="450937"/>
                </a:lnTo>
                <a:cubicBezTo>
                  <a:pt x="1557768" y="445842"/>
                  <a:pt x="1562277" y="445613"/>
                  <a:pt x="1562653" y="435279"/>
                </a:cubicBezTo>
                <a:cubicBezTo>
                  <a:pt x="1564626" y="381025"/>
                  <a:pt x="1563160" y="326667"/>
                  <a:pt x="1565784" y="272441"/>
                </a:cubicBezTo>
                <a:cubicBezTo>
                  <a:pt x="1567148" y="244251"/>
                  <a:pt x="1570400" y="249252"/>
                  <a:pt x="1575179" y="231731"/>
                </a:cubicBezTo>
                <a:cubicBezTo>
                  <a:pt x="1577444" y="223427"/>
                  <a:pt x="1579354" y="215030"/>
                  <a:pt x="1581442" y="206679"/>
                </a:cubicBezTo>
                <a:cubicBezTo>
                  <a:pt x="1582243" y="203477"/>
                  <a:pt x="1584481" y="200584"/>
                  <a:pt x="1584573" y="197285"/>
                </a:cubicBezTo>
                <a:cubicBezTo>
                  <a:pt x="1585529" y="162852"/>
                  <a:pt x="1597099" y="111690"/>
                  <a:pt x="1584573" y="93945"/>
                </a:cubicBezTo>
                <a:close/>
              </a:path>
            </a:pathLst>
          </a:custGeom>
          <a:solidFill>
            <a:srgbClr val="FF6600"/>
          </a:solidFill>
          <a:ln w="19050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fr-FR" sz="1200">
              <a:solidFill>
                <a:srgbClr val="182F4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53B64C7-951D-43C2-AEC8-86B1806EA7A3}"/>
              </a:ext>
            </a:extLst>
          </p:cNvPr>
          <p:cNvSpPr/>
          <p:nvPr/>
        </p:nvSpPr>
        <p:spPr bwMode="auto">
          <a:xfrm>
            <a:off x="3515948" y="5021346"/>
            <a:ext cx="541126" cy="246073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 anchor="ctr"/>
          <a:lstStyle/>
          <a:p>
            <a:pPr algn="ctr" eaLnBrk="1" hangingPunct="1"/>
            <a:endParaRPr lang="fr-FR">
              <a:latin typeface="Gill San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E274523-E4C8-431E-A1A6-858BAA612E36}"/>
              </a:ext>
            </a:extLst>
          </p:cNvPr>
          <p:cNvSpPr/>
          <p:nvPr/>
        </p:nvSpPr>
        <p:spPr bwMode="auto">
          <a:xfrm>
            <a:off x="4169300" y="5021346"/>
            <a:ext cx="871488" cy="2460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 anchor="ctr"/>
          <a:lstStyle/>
          <a:p>
            <a:pPr eaLnBrk="1" hangingPunct="1"/>
            <a:r>
              <a:rPr lang="fr-FR" sz="900" dirty="0">
                <a:solidFill>
                  <a:schemeClr val="tx2"/>
                </a:solidFill>
                <a:latin typeface="+mj-lt"/>
              </a:rPr>
              <a:t>&gt; 150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FE6E2207-5AD6-48AF-955B-92DA29306C07}"/>
              </a:ext>
            </a:extLst>
          </p:cNvPr>
          <p:cNvSpPr/>
          <p:nvPr/>
        </p:nvSpPr>
        <p:spPr bwMode="auto">
          <a:xfrm>
            <a:off x="3515948" y="5722683"/>
            <a:ext cx="541126" cy="246073"/>
          </a:xfrm>
          <a:prstGeom prst="rect">
            <a:avLst/>
          </a:prstGeom>
          <a:solidFill>
            <a:srgbClr val="F8C7A3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algn="ctr" eaLnBrk="1" hangingPunct="1"/>
            <a:endParaRPr lang="fr-FR">
              <a:latin typeface="Gill San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06CE2FC9-2EEC-4809-A1A5-D2A901C7BBDF}"/>
              </a:ext>
            </a:extLst>
          </p:cNvPr>
          <p:cNvSpPr/>
          <p:nvPr/>
        </p:nvSpPr>
        <p:spPr bwMode="auto">
          <a:xfrm>
            <a:off x="4169300" y="5722683"/>
            <a:ext cx="871488" cy="2460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 anchor="ctr"/>
          <a:lstStyle/>
          <a:p>
            <a:r>
              <a:rPr lang="fr-FR" sz="900" dirty="0">
                <a:solidFill>
                  <a:schemeClr val="tx2"/>
                </a:solidFill>
                <a:latin typeface="+mj-lt"/>
              </a:rPr>
              <a:t>50-90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01DB684-31DB-4646-BE6A-433D71C13C30}"/>
              </a:ext>
            </a:extLst>
          </p:cNvPr>
          <p:cNvSpPr/>
          <p:nvPr/>
        </p:nvSpPr>
        <p:spPr bwMode="auto">
          <a:xfrm>
            <a:off x="4169300" y="5367878"/>
            <a:ext cx="871488" cy="2460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 anchor="ctr"/>
          <a:lstStyle/>
          <a:p>
            <a:r>
              <a:rPr lang="fr-FR" sz="900" dirty="0">
                <a:solidFill>
                  <a:schemeClr val="tx2"/>
                </a:solidFill>
                <a:latin typeface="+mj-lt"/>
              </a:rPr>
              <a:t>90-150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93A1A30-835C-4C76-86AD-73890E3B4DFE}"/>
              </a:ext>
            </a:extLst>
          </p:cNvPr>
          <p:cNvSpPr/>
          <p:nvPr/>
        </p:nvSpPr>
        <p:spPr bwMode="auto">
          <a:xfrm>
            <a:off x="3515948" y="5367878"/>
            <a:ext cx="541126" cy="24607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algn="ctr" eaLnBrk="1" hangingPunct="1"/>
            <a:endParaRPr lang="fr-FR">
              <a:latin typeface="Gill San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E3B535D-9298-4F31-ACA6-B7AB9D1CBF29}"/>
              </a:ext>
            </a:extLst>
          </p:cNvPr>
          <p:cNvSpPr/>
          <p:nvPr/>
        </p:nvSpPr>
        <p:spPr bwMode="auto">
          <a:xfrm>
            <a:off x="3515948" y="6077490"/>
            <a:ext cx="541126" cy="246073"/>
          </a:xfrm>
          <a:prstGeom prst="rect">
            <a:avLst/>
          </a:prstGeom>
          <a:solidFill>
            <a:srgbClr val="FDECD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algn="ctr" eaLnBrk="1" hangingPunct="1"/>
            <a:endParaRPr lang="fr-FR">
              <a:latin typeface="Gill San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99D3E12-6901-4BC0-8B49-5B97684D9635}"/>
              </a:ext>
            </a:extLst>
          </p:cNvPr>
          <p:cNvSpPr/>
          <p:nvPr/>
        </p:nvSpPr>
        <p:spPr bwMode="auto">
          <a:xfrm>
            <a:off x="4169300" y="6077490"/>
            <a:ext cx="871488" cy="2460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 anchor="ctr"/>
          <a:lstStyle/>
          <a:p>
            <a:r>
              <a:rPr lang="fr-FR" sz="900" dirty="0">
                <a:solidFill>
                  <a:schemeClr val="tx2"/>
                </a:solidFill>
                <a:latin typeface="+mj-lt"/>
              </a:rPr>
              <a:t>&lt; 50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9F43551-1849-400C-845A-07B074031C99}"/>
              </a:ext>
            </a:extLst>
          </p:cNvPr>
          <p:cNvSpPr/>
          <p:nvPr/>
        </p:nvSpPr>
        <p:spPr bwMode="auto">
          <a:xfrm>
            <a:off x="3515948" y="4598740"/>
            <a:ext cx="1748124" cy="2965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ctr"/>
          <a:lstStyle/>
          <a:p>
            <a:r>
              <a:rPr lang="fr-FR" sz="900" dirty="0">
                <a:solidFill>
                  <a:schemeClr val="tx2"/>
                </a:solidFill>
                <a:latin typeface="+mj-lt"/>
              </a:rPr>
              <a:t>Nombre de cas cumulés au 15 octobre 2020 par 10.000 habitants </a:t>
            </a:r>
            <a:endParaRPr lang="fr-FR" sz="900" i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8E748E1-78C5-49D0-9598-9A8798326154}"/>
              </a:ext>
            </a:extLst>
          </p:cNvPr>
          <p:cNvSpPr/>
          <p:nvPr/>
        </p:nvSpPr>
        <p:spPr bwMode="auto">
          <a:xfrm>
            <a:off x="3432402" y="4537544"/>
            <a:ext cx="1890486" cy="1857935"/>
          </a:xfrm>
          <a:prstGeom prst="rect">
            <a:avLst/>
          </a:prstGeom>
          <a:noFill/>
          <a:ln w="9525" algn="ctr">
            <a:solidFill>
              <a:srgbClr val="FFA36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rtlCol="0" anchor="ctr"/>
          <a:lstStyle/>
          <a:p>
            <a:pPr algn="ctr" eaLnBrk="1" hangingPunct="1"/>
            <a:endParaRPr lang="fr-FR">
              <a:latin typeface="Gill Sans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C862640D-84E1-456A-AD9F-E21221B0AE32}"/>
              </a:ext>
            </a:extLst>
          </p:cNvPr>
          <p:cNvSpPr txBox="1"/>
          <p:nvPr/>
        </p:nvSpPr>
        <p:spPr>
          <a:xfrm>
            <a:off x="3376740" y="1016000"/>
            <a:ext cx="1525559" cy="407737"/>
          </a:xfrm>
          <a:prstGeom prst="rect">
            <a:avLst/>
          </a:prstGeom>
          <a:noFill/>
          <a:ln w="9525">
            <a:noFill/>
            <a:prstDash val="solid"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prstDash val="solid"/>
              </a14:hiddenLine>
            </a:ext>
          </a:extLst>
        </p:spPr>
        <p:txBody>
          <a:bodyPr wrap="square" rtlCol="0">
            <a:noAutofit/>
          </a:bodyPr>
          <a:lstStyle/>
          <a:p>
            <a:r>
              <a:rPr lang="fr-MA" sz="900" b="1" dirty="0">
                <a:solidFill>
                  <a:srgbClr val="213258"/>
                </a:solidFill>
                <a:latin typeface="Gill Sans"/>
              </a:rPr>
              <a:t>Tanger-Tétouan-Al </a:t>
            </a:r>
            <a:r>
              <a:rPr lang="fr-MA" sz="900" b="1" dirty="0" err="1">
                <a:solidFill>
                  <a:srgbClr val="213258"/>
                </a:solidFill>
                <a:latin typeface="Gill Sans"/>
              </a:rPr>
              <a:t>Hoceïma</a:t>
            </a:r>
            <a:endParaRPr lang="fr-MA" sz="900" b="1" dirty="0">
              <a:solidFill>
                <a:srgbClr val="213258"/>
              </a:solidFill>
              <a:latin typeface="Gill Sans"/>
            </a:endParaRPr>
          </a:p>
        </p:txBody>
      </p:sp>
      <p:sp>
        <p:nvSpPr>
          <p:cNvPr id="74" name="ZoneTexte 73">
            <a:extLst>
              <a:ext uri="{FF2B5EF4-FFF2-40B4-BE49-F238E27FC236}">
                <a16:creationId xmlns:a16="http://schemas.microsoft.com/office/drawing/2014/main" id="{71B6CA14-70D4-44CF-8BE6-2CC6B0A088C6}"/>
              </a:ext>
            </a:extLst>
          </p:cNvPr>
          <p:cNvSpPr txBox="1"/>
          <p:nvPr/>
        </p:nvSpPr>
        <p:spPr>
          <a:xfrm>
            <a:off x="1781176" y="2015935"/>
            <a:ext cx="1187450" cy="4108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fr-MA" sz="900" b="1" dirty="0">
                <a:solidFill>
                  <a:srgbClr val="213258"/>
                </a:solidFill>
                <a:latin typeface="Gill Sans"/>
              </a:rPr>
              <a:t>Casablanca-Settat</a:t>
            </a:r>
          </a:p>
        </p:txBody>
      </p:sp>
      <p:sp>
        <p:nvSpPr>
          <p:cNvPr id="75" name="ZoneTexte 74">
            <a:extLst>
              <a:ext uri="{FF2B5EF4-FFF2-40B4-BE49-F238E27FC236}">
                <a16:creationId xmlns:a16="http://schemas.microsoft.com/office/drawing/2014/main" id="{5A968EEA-519C-4B93-9455-8868554DC1BD}"/>
              </a:ext>
            </a:extLst>
          </p:cNvPr>
          <p:cNvSpPr txBox="1"/>
          <p:nvPr/>
        </p:nvSpPr>
        <p:spPr>
          <a:xfrm>
            <a:off x="2314292" y="1654613"/>
            <a:ext cx="1193800" cy="269161"/>
          </a:xfrm>
          <a:prstGeom prst="rect">
            <a:avLst/>
          </a:prstGeom>
          <a:noFill/>
          <a:ln w="9525">
            <a:noFill/>
            <a:prstDash val="solid"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prstDash val="solid"/>
              </a14:hiddenLine>
            </a:ext>
          </a:extLst>
        </p:spPr>
        <p:txBody>
          <a:bodyPr wrap="square" rtlCol="0">
            <a:noAutofit/>
          </a:bodyPr>
          <a:lstStyle/>
          <a:p>
            <a:r>
              <a:rPr lang="fr-MA" sz="900" b="1" dirty="0">
                <a:solidFill>
                  <a:srgbClr val="213258"/>
                </a:solidFill>
                <a:latin typeface="Gill Sans"/>
              </a:rPr>
              <a:t>Rabat-Salé-Kénitra</a:t>
            </a:r>
          </a:p>
        </p:txBody>
      </p:sp>
      <p:sp>
        <p:nvSpPr>
          <p:cNvPr id="86" name="ZoneTexte 85">
            <a:extLst>
              <a:ext uri="{FF2B5EF4-FFF2-40B4-BE49-F238E27FC236}">
                <a16:creationId xmlns:a16="http://schemas.microsoft.com/office/drawing/2014/main" id="{4924D5CD-6070-40FA-8DE6-E22DAEFB5BF3}"/>
              </a:ext>
            </a:extLst>
          </p:cNvPr>
          <p:cNvSpPr txBox="1"/>
          <p:nvPr/>
        </p:nvSpPr>
        <p:spPr>
          <a:xfrm>
            <a:off x="4053682" y="1793066"/>
            <a:ext cx="673100" cy="26578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fr-MA" sz="900" b="1" dirty="0">
                <a:solidFill>
                  <a:srgbClr val="213258"/>
                </a:solidFill>
                <a:latin typeface="Gill Sans"/>
              </a:rPr>
              <a:t>Oriental</a:t>
            </a:r>
          </a:p>
        </p:txBody>
      </p:sp>
      <p:sp>
        <p:nvSpPr>
          <p:cNvPr id="123" name="ZoneTexte 122">
            <a:extLst>
              <a:ext uri="{FF2B5EF4-FFF2-40B4-BE49-F238E27FC236}">
                <a16:creationId xmlns:a16="http://schemas.microsoft.com/office/drawing/2014/main" id="{8DAC5C3B-F588-40CB-870B-08F6AD3E9ACD}"/>
              </a:ext>
            </a:extLst>
          </p:cNvPr>
          <p:cNvSpPr txBox="1"/>
          <p:nvPr/>
        </p:nvSpPr>
        <p:spPr>
          <a:xfrm>
            <a:off x="3178175" y="2178036"/>
            <a:ext cx="1081088" cy="245297"/>
          </a:xfrm>
          <a:prstGeom prst="rect">
            <a:avLst/>
          </a:prstGeom>
          <a:noFill/>
          <a:ln w="9525">
            <a:noFill/>
            <a:prstDash val="solid"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prstDash val="solid"/>
              </a14:hiddenLine>
            </a:ext>
          </a:extLst>
        </p:spPr>
        <p:txBody>
          <a:bodyPr wrap="square" rtlCol="0">
            <a:noAutofit/>
          </a:bodyPr>
          <a:lstStyle/>
          <a:p>
            <a:r>
              <a:rPr lang="fr-MA" sz="900" b="1" dirty="0">
                <a:solidFill>
                  <a:srgbClr val="213258"/>
                </a:solidFill>
                <a:latin typeface="Gill Sans"/>
              </a:rPr>
              <a:t>Béni Mellal-</a:t>
            </a:r>
            <a:r>
              <a:rPr lang="fr-MA" sz="900" b="1" dirty="0" err="1">
                <a:solidFill>
                  <a:srgbClr val="213258"/>
                </a:solidFill>
                <a:latin typeface="Gill Sans"/>
              </a:rPr>
              <a:t>Khénifra</a:t>
            </a:r>
            <a:endParaRPr lang="fr-MA" sz="900" b="1" dirty="0">
              <a:solidFill>
                <a:srgbClr val="213258"/>
              </a:solidFill>
              <a:latin typeface="Gill Sans"/>
            </a:endParaRPr>
          </a:p>
        </p:txBody>
      </p:sp>
      <p:sp>
        <p:nvSpPr>
          <p:cNvPr id="124" name="ZoneTexte 123">
            <a:extLst>
              <a:ext uri="{FF2B5EF4-FFF2-40B4-BE49-F238E27FC236}">
                <a16:creationId xmlns:a16="http://schemas.microsoft.com/office/drawing/2014/main" id="{1399559E-89B4-4F46-A3C5-2B75D23BE92C}"/>
              </a:ext>
            </a:extLst>
          </p:cNvPr>
          <p:cNvSpPr txBox="1"/>
          <p:nvPr/>
        </p:nvSpPr>
        <p:spPr>
          <a:xfrm>
            <a:off x="3592669" y="1944848"/>
            <a:ext cx="582612" cy="415638"/>
          </a:xfrm>
          <a:prstGeom prst="rect">
            <a:avLst/>
          </a:prstGeom>
          <a:noFill/>
          <a:ln w="9525">
            <a:noFill/>
            <a:prstDash val="solid"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prstDash val="solid"/>
              </a14:hiddenLine>
            </a:ext>
          </a:extLst>
        </p:spPr>
        <p:txBody>
          <a:bodyPr wrap="square" rtlCol="0">
            <a:noAutofit/>
          </a:bodyPr>
          <a:lstStyle/>
          <a:p>
            <a:r>
              <a:rPr lang="fr-MA" sz="900" b="1" dirty="0">
                <a:solidFill>
                  <a:srgbClr val="213258"/>
                </a:solidFill>
                <a:latin typeface="Gill Sans"/>
              </a:rPr>
              <a:t>Fès-Meknès</a:t>
            </a:r>
          </a:p>
        </p:txBody>
      </p:sp>
      <p:sp>
        <p:nvSpPr>
          <p:cNvPr id="133" name="ZoneTexte 132">
            <a:extLst>
              <a:ext uri="{FF2B5EF4-FFF2-40B4-BE49-F238E27FC236}">
                <a16:creationId xmlns:a16="http://schemas.microsoft.com/office/drawing/2014/main" id="{D8A3899E-3CB2-4C4F-9128-DA24B9883CBF}"/>
              </a:ext>
            </a:extLst>
          </p:cNvPr>
          <p:cNvSpPr txBox="1"/>
          <p:nvPr/>
        </p:nvSpPr>
        <p:spPr>
          <a:xfrm>
            <a:off x="3201194" y="2930217"/>
            <a:ext cx="1100138" cy="169284"/>
          </a:xfrm>
          <a:prstGeom prst="rect">
            <a:avLst/>
          </a:prstGeom>
          <a:noFill/>
          <a:ln w="9525">
            <a:noFill/>
            <a:prstDash val="solid"/>
          </a:ln>
          <a:extLs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prstDash val="solid"/>
              </a14:hiddenLine>
            </a:ext>
          </a:extLst>
        </p:spPr>
        <p:txBody>
          <a:bodyPr wrap="square" rtlCol="0">
            <a:noAutofit/>
          </a:bodyPr>
          <a:lstStyle/>
          <a:p>
            <a:r>
              <a:rPr lang="fr-MA" sz="900" b="1" dirty="0" err="1">
                <a:solidFill>
                  <a:srgbClr val="213258"/>
                </a:solidFill>
                <a:latin typeface="Gill Sans"/>
              </a:rPr>
              <a:t>Drâa</a:t>
            </a:r>
            <a:r>
              <a:rPr lang="fr-MA" sz="900" b="1" dirty="0">
                <a:solidFill>
                  <a:srgbClr val="213258"/>
                </a:solidFill>
                <a:latin typeface="Gill Sans"/>
              </a:rPr>
              <a:t>-Tafilalet</a:t>
            </a:r>
          </a:p>
        </p:txBody>
      </p:sp>
      <p:sp>
        <p:nvSpPr>
          <p:cNvPr id="141" name="ZoneTexte 140">
            <a:extLst>
              <a:ext uri="{FF2B5EF4-FFF2-40B4-BE49-F238E27FC236}">
                <a16:creationId xmlns:a16="http://schemas.microsoft.com/office/drawing/2014/main" id="{A082509D-4837-461A-AA1E-9D5FE857E79A}"/>
              </a:ext>
            </a:extLst>
          </p:cNvPr>
          <p:cNvSpPr txBox="1"/>
          <p:nvPr/>
        </p:nvSpPr>
        <p:spPr>
          <a:xfrm>
            <a:off x="2457450" y="2736882"/>
            <a:ext cx="796925" cy="29925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fr-MA" sz="900" b="1" dirty="0">
                <a:solidFill>
                  <a:srgbClr val="213258"/>
                </a:solidFill>
                <a:latin typeface="Gill Sans"/>
              </a:rPr>
              <a:t>Marrakech-Safi</a:t>
            </a:r>
          </a:p>
        </p:txBody>
      </p:sp>
      <p:sp>
        <p:nvSpPr>
          <p:cNvPr id="149" name="ZoneTexte 148">
            <a:extLst>
              <a:ext uri="{FF2B5EF4-FFF2-40B4-BE49-F238E27FC236}">
                <a16:creationId xmlns:a16="http://schemas.microsoft.com/office/drawing/2014/main" id="{8B26E9D2-2D73-4D4E-B31D-3A06FC4185BD}"/>
              </a:ext>
            </a:extLst>
          </p:cNvPr>
          <p:cNvSpPr txBox="1"/>
          <p:nvPr/>
        </p:nvSpPr>
        <p:spPr>
          <a:xfrm>
            <a:off x="2573759" y="3089952"/>
            <a:ext cx="490222" cy="28410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fr-MA" sz="900" b="1" dirty="0">
                <a:solidFill>
                  <a:srgbClr val="213258"/>
                </a:solidFill>
                <a:latin typeface="Gill Sans"/>
              </a:rPr>
              <a:t>Souss-Massa</a:t>
            </a:r>
          </a:p>
        </p:txBody>
      </p:sp>
      <p:sp>
        <p:nvSpPr>
          <p:cNvPr id="157" name="ZoneTexte 156">
            <a:extLst>
              <a:ext uri="{FF2B5EF4-FFF2-40B4-BE49-F238E27FC236}">
                <a16:creationId xmlns:a16="http://schemas.microsoft.com/office/drawing/2014/main" id="{0434427F-504F-4656-96B6-EF5FB4394AF3}"/>
              </a:ext>
            </a:extLst>
          </p:cNvPr>
          <p:cNvSpPr txBox="1"/>
          <p:nvPr/>
        </p:nvSpPr>
        <p:spPr>
          <a:xfrm>
            <a:off x="2039652" y="3728451"/>
            <a:ext cx="643592" cy="30713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fr-MA" sz="900" b="1" dirty="0" err="1">
                <a:solidFill>
                  <a:srgbClr val="213258"/>
                </a:solidFill>
                <a:latin typeface="Gill Sans"/>
              </a:rPr>
              <a:t>Guelmim</a:t>
            </a:r>
            <a:r>
              <a:rPr lang="fr-MA" sz="900" b="1" dirty="0">
                <a:solidFill>
                  <a:srgbClr val="213258"/>
                </a:solidFill>
                <a:latin typeface="Gill Sans"/>
              </a:rPr>
              <a:t>-Oued Noun</a:t>
            </a:r>
          </a:p>
        </p:txBody>
      </p:sp>
      <p:sp>
        <p:nvSpPr>
          <p:cNvPr id="159" name="ZoneTexte 158">
            <a:extLst>
              <a:ext uri="{FF2B5EF4-FFF2-40B4-BE49-F238E27FC236}">
                <a16:creationId xmlns:a16="http://schemas.microsoft.com/office/drawing/2014/main" id="{140610CA-07D7-4ADE-AB07-137D5E512633}"/>
              </a:ext>
            </a:extLst>
          </p:cNvPr>
          <p:cNvSpPr txBox="1"/>
          <p:nvPr/>
        </p:nvSpPr>
        <p:spPr>
          <a:xfrm>
            <a:off x="1365250" y="4492232"/>
            <a:ext cx="1155700" cy="32868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fr-MA" sz="900" b="1" dirty="0">
                <a:solidFill>
                  <a:srgbClr val="213258"/>
                </a:solidFill>
                <a:latin typeface="Gill Sans"/>
              </a:rPr>
              <a:t>Laâyoune-</a:t>
            </a:r>
            <a:r>
              <a:rPr lang="fr-MA" sz="900" b="1" dirty="0" err="1">
                <a:solidFill>
                  <a:srgbClr val="213258"/>
                </a:solidFill>
                <a:latin typeface="Gill Sans"/>
              </a:rPr>
              <a:t>Sakia</a:t>
            </a:r>
            <a:r>
              <a:rPr lang="fr-MA" sz="900" b="1" dirty="0">
                <a:solidFill>
                  <a:srgbClr val="213258"/>
                </a:solidFill>
                <a:latin typeface="Gill Sans"/>
              </a:rPr>
              <a:t> El Hamra</a:t>
            </a:r>
          </a:p>
        </p:txBody>
      </p:sp>
      <p:sp>
        <p:nvSpPr>
          <p:cNvPr id="160" name="ZoneTexte 159">
            <a:extLst>
              <a:ext uri="{FF2B5EF4-FFF2-40B4-BE49-F238E27FC236}">
                <a16:creationId xmlns:a16="http://schemas.microsoft.com/office/drawing/2014/main" id="{BE74EFAA-7F59-4093-92E2-B637BFB22FBA}"/>
              </a:ext>
            </a:extLst>
          </p:cNvPr>
          <p:cNvSpPr txBox="1"/>
          <p:nvPr/>
        </p:nvSpPr>
        <p:spPr>
          <a:xfrm>
            <a:off x="487363" y="5858439"/>
            <a:ext cx="1155700" cy="32868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fr-MA" sz="900" b="1" dirty="0">
                <a:solidFill>
                  <a:srgbClr val="213258"/>
                </a:solidFill>
                <a:latin typeface="Gill Sans"/>
              </a:rPr>
              <a:t>Dakhla-Oued Ed-</a:t>
            </a:r>
            <a:r>
              <a:rPr lang="fr-MA" sz="900" b="1" dirty="0" err="1">
                <a:solidFill>
                  <a:srgbClr val="213258"/>
                </a:solidFill>
                <a:latin typeface="Gill Sans"/>
              </a:rPr>
              <a:t>Dahab</a:t>
            </a:r>
            <a:endParaRPr lang="fr-MA" sz="900" b="1" dirty="0">
              <a:solidFill>
                <a:srgbClr val="213258"/>
              </a:solidFill>
              <a:latin typeface="Gill Sans"/>
            </a:endParaRPr>
          </a:p>
        </p:txBody>
      </p:sp>
      <p:sp>
        <p:nvSpPr>
          <p:cNvPr id="248" name="Rectangle 247">
            <a:extLst>
              <a:ext uri="{FF2B5EF4-FFF2-40B4-BE49-F238E27FC236}">
                <a16:creationId xmlns:a16="http://schemas.microsoft.com/office/drawing/2014/main" id="{83C70C87-87B7-4440-BA7D-AD9AF64D07B8}"/>
              </a:ext>
            </a:extLst>
          </p:cNvPr>
          <p:cNvSpPr/>
          <p:nvPr/>
        </p:nvSpPr>
        <p:spPr bwMode="gray">
          <a:xfrm>
            <a:off x="6391275" y="4621213"/>
            <a:ext cx="2552700" cy="1323975"/>
          </a:xfrm>
          <a:prstGeom prst="rect">
            <a:avLst/>
          </a:prstGeom>
          <a:solidFill>
            <a:srgbClr val="FFFFFF"/>
          </a:solidFill>
          <a:ln w="9525">
            <a:solidFill>
              <a:srgbClr val="C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r>
              <a:rPr lang="fr-MA" sz="1100" b="1" dirty="0">
                <a:solidFill>
                  <a:srgbClr val="002960"/>
                </a:solidFill>
                <a:latin typeface="Gill Sans"/>
              </a:rPr>
              <a:t>Une situation sanitaire relativement maîtrisée à l’échelle internationale, en partie dû au confinement, mais un potentiel d’amélioration de la performance de gestion de crise sanitaire par rapport à certains pays d’Afrique du Nord (e.g. Tunisie, Egypte)</a:t>
            </a:r>
            <a:endParaRPr lang="fr-MA" sz="1100" dirty="0">
              <a:solidFill>
                <a:srgbClr val="002960"/>
              </a:solidFill>
              <a:latin typeface="Gill Sans"/>
            </a:endParaRPr>
          </a:p>
        </p:txBody>
      </p:sp>
      <p:sp>
        <p:nvSpPr>
          <p:cNvPr id="113" name="Ellipse 112">
            <a:extLst>
              <a:ext uri="{FF2B5EF4-FFF2-40B4-BE49-F238E27FC236}">
                <a16:creationId xmlns:a16="http://schemas.microsoft.com/office/drawing/2014/main" id="{B7F25F2F-0ACA-4149-A1FF-336638270913}"/>
              </a:ext>
            </a:extLst>
          </p:cNvPr>
          <p:cNvSpPr/>
          <p:nvPr/>
        </p:nvSpPr>
        <p:spPr bwMode="auto">
          <a:xfrm>
            <a:off x="2846374" y="2038333"/>
            <a:ext cx="307138" cy="307138"/>
          </a:xfrm>
          <a:prstGeom prst="ellipse">
            <a:avLst/>
          </a:prstGeom>
          <a:solidFill>
            <a:srgbClr val="A8CC25"/>
          </a:solidFill>
          <a:ln w="9525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 eaLnBrk="1" hangingPunct="1"/>
            <a:r>
              <a:rPr lang="fr-FR" sz="1200" b="1" dirty="0">
                <a:solidFill>
                  <a:schemeClr val="bg1"/>
                </a:solidFill>
                <a:latin typeface="Gill Sans" panose="020B0502020104020203"/>
              </a:rPr>
              <a:t>93</a:t>
            </a:r>
          </a:p>
        </p:txBody>
      </p:sp>
      <p:sp>
        <p:nvSpPr>
          <p:cNvPr id="114" name="Ellipse 113">
            <a:extLst>
              <a:ext uri="{FF2B5EF4-FFF2-40B4-BE49-F238E27FC236}">
                <a16:creationId xmlns:a16="http://schemas.microsoft.com/office/drawing/2014/main" id="{2037F214-409C-45DD-924E-E9F2333BE362}"/>
              </a:ext>
            </a:extLst>
          </p:cNvPr>
          <p:cNvSpPr/>
          <p:nvPr/>
        </p:nvSpPr>
        <p:spPr bwMode="auto">
          <a:xfrm>
            <a:off x="3273818" y="1763531"/>
            <a:ext cx="307138" cy="307138"/>
          </a:xfrm>
          <a:prstGeom prst="ellipse">
            <a:avLst/>
          </a:prstGeom>
          <a:solidFill>
            <a:srgbClr val="A8CC25"/>
          </a:solidFill>
          <a:ln w="9525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 eaLnBrk="1" hangingPunct="1"/>
            <a:r>
              <a:rPr lang="fr-FR" sz="1200" b="1" dirty="0">
                <a:solidFill>
                  <a:schemeClr val="bg1"/>
                </a:solidFill>
                <a:latin typeface="Gill Sans" panose="020B0502020104020203"/>
              </a:rPr>
              <a:t>38</a:t>
            </a:r>
          </a:p>
        </p:txBody>
      </p:sp>
      <p:sp>
        <p:nvSpPr>
          <p:cNvPr id="115" name="Ellipse 114">
            <a:extLst>
              <a:ext uri="{FF2B5EF4-FFF2-40B4-BE49-F238E27FC236}">
                <a16:creationId xmlns:a16="http://schemas.microsoft.com/office/drawing/2014/main" id="{D8A3E80E-F951-4690-9E81-03B4F3011BE6}"/>
              </a:ext>
            </a:extLst>
          </p:cNvPr>
          <p:cNvSpPr/>
          <p:nvPr/>
        </p:nvSpPr>
        <p:spPr bwMode="auto">
          <a:xfrm>
            <a:off x="3571442" y="1288178"/>
            <a:ext cx="307138" cy="307138"/>
          </a:xfrm>
          <a:prstGeom prst="ellipse">
            <a:avLst/>
          </a:prstGeom>
          <a:solidFill>
            <a:srgbClr val="A8CC25"/>
          </a:solidFill>
          <a:ln w="9525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 eaLnBrk="1" hangingPunct="1"/>
            <a:r>
              <a:rPr lang="fr-FR" sz="1200" b="1" dirty="0">
                <a:solidFill>
                  <a:schemeClr val="bg1"/>
                </a:solidFill>
                <a:latin typeface="Gill Sans" panose="020B0502020104020203"/>
              </a:rPr>
              <a:t>41</a:t>
            </a:r>
          </a:p>
        </p:txBody>
      </p:sp>
      <p:sp>
        <p:nvSpPr>
          <p:cNvPr id="116" name="Ellipse 115">
            <a:extLst>
              <a:ext uri="{FF2B5EF4-FFF2-40B4-BE49-F238E27FC236}">
                <a16:creationId xmlns:a16="http://schemas.microsoft.com/office/drawing/2014/main" id="{C6F4AB44-10A9-461E-92CB-848EE0383C88}"/>
              </a:ext>
            </a:extLst>
          </p:cNvPr>
          <p:cNvSpPr/>
          <p:nvPr/>
        </p:nvSpPr>
        <p:spPr bwMode="auto">
          <a:xfrm>
            <a:off x="4313812" y="2160952"/>
            <a:ext cx="307138" cy="307138"/>
          </a:xfrm>
          <a:prstGeom prst="ellipse">
            <a:avLst/>
          </a:prstGeom>
          <a:solidFill>
            <a:srgbClr val="A8CC25"/>
          </a:solidFill>
          <a:ln w="9525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 eaLnBrk="1" hangingPunct="1"/>
            <a:r>
              <a:rPr lang="fr-FR" sz="1200" b="1" dirty="0">
                <a:solidFill>
                  <a:schemeClr val="bg1"/>
                </a:solidFill>
                <a:latin typeface="Gill Sans" panose="020B0502020104020203"/>
              </a:rPr>
              <a:t>26</a:t>
            </a:r>
          </a:p>
        </p:txBody>
      </p:sp>
      <p:sp>
        <p:nvSpPr>
          <p:cNvPr id="117" name="Ellipse 116">
            <a:extLst>
              <a:ext uri="{FF2B5EF4-FFF2-40B4-BE49-F238E27FC236}">
                <a16:creationId xmlns:a16="http://schemas.microsoft.com/office/drawing/2014/main" id="{582A2F40-735E-4540-9AAE-501BC6F1E8E4}"/>
              </a:ext>
            </a:extLst>
          </p:cNvPr>
          <p:cNvSpPr/>
          <p:nvPr/>
        </p:nvSpPr>
        <p:spPr bwMode="auto">
          <a:xfrm>
            <a:off x="3746064" y="1723079"/>
            <a:ext cx="307138" cy="307138"/>
          </a:xfrm>
          <a:prstGeom prst="ellipse">
            <a:avLst/>
          </a:prstGeom>
          <a:solidFill>
            <a:srgbClr val="A8CC25"/>
          </a:solidFill>
          <a:ln w="9525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 eaLnBrk="1" hangingPunct="1"/>
            <a:r>
              <a:rPr lang="fr-FR" sz="1200" b="1" dirty="0">
                <a:solidFill>
                  <a:schemeClr val="bg1"/>
                </a:solidFill>
                <a:latin typeface="Gill Sans" panose="020B0502020104020203"/>
              </a:rPr>
              <a:t>30</a:t>
            </a:r>
          </a:p>
        </p:txBody>
      </p:sp>
      <p:sp>
        <p:nvSpPr>
          <p:cNvPr id="118" name="Ellipse 117">
            <a:extLst>
              <a:ext uri="{FF2B5EF4-FFF2-40B4-BE49-F238E27FC236}">
                <a16:creationId xmlns:a16="http://schemas.microsoft.com/office/drawing/2014/main" id="{78CF20B4-6963-4A4A-9D53-CF87334A45CC}"/>
              </a:ext>
            </a:extLst>
          </p:cNvPr>
          <p:cNvSpPr/>
          <p:nvPr/>
        </p:nvSpPr>
        <p:spPr bwMode="auto">
          <a:xfrm>
            <a:off x="3683066" y="2628470"/>
            <a:ext cx="307138" cy="307138"/>
          </a:xfrm>
          <a:prstGeom prst="ellipse">
            <a:avLst/>
          </a:prstGeom>
          <a:solidFill>
            <a:srgbClr val="A8CC25"/>
          </a:solidFill>
          <a:ln w="9525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 eaLnBrk="1" hangingPunct="1"/>
            <a:r>
              <a:rPr lang="fr-FR" sz="1200" b="1" dirty="0">
                <a:solidFill>
                  <a:schemeClr val="bg1"/>
                </a:solidFill>
                <a:latin typeface="Gill Sans" panose="020B0502020104020203"/>
              </a:rPr>
              <a:t>54</a:t>
            </a:r>
          </a:p>
        </p:txBody>
      </p:sp>
      <p:sp>
        <p:nvSpPr>
          <p:cNvPr id="119" name="Ellipse 118">
            <a:extLst>
              <a:ext uri="{FF2B5EF4-FFF2-40B4-BE49-F238E27FC236}">
                <a16:creationId xmlns:a16="http://schemas.microsoft.com/office/drawing/2014/main" id="{2D8EB4D2-9865-43FB-92E5-CDE9004B6340}"/>
              </a:ext>
            </a:extLst>
          </p:cNvPr>
          <p:cNvSpPr/>
          <p:nvPr/>
        </p:nvSpPr>
        <p:spPr bwMode="auto">
          <a:xfrm>
            <a:off x="3224224" y="2507056"/>
            <a:ext cx="307138" cy="307138"/>
          </a:xfrm>
          <a:prstGeom prst="ellipse">
            <a:avLst/>
          </a:prstGeom>
          <a:solidFill>
            <a:srgbClr val="A8CC25"/>
          </a:solidFill>
          <a:ln w="9525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 eaLnBrk="1" hangingPunct="1"/>
            <a:r>
              <a:rPr lang="fr-FR" sz="1200" b="1" dirty="0">
                <a:solidFill>
                  <a:schemeClr val="bg1"/>
                </a:solidFill>
                <a:latin typeface="Gill Sans" panose="020B0502020104020203"/>
              </a:rPr>
              <a:t>33</a:t>
            </a:r>
          </a:p>
        </p:txBody>
      </p:sp>
      <p:sp>
        <p:nvSpPr>
          <p:cNvPr id="120" name="Ellipse 119">
            <a:extLst>
              <a:ext uri="{FF2B5EF4-FFF2-40B4-BE49-F238E27FC236}">
                <a16:creationId xmlns:a16="http://schemas.microsoft.com/office/drawing/2014/main" id="{0E49D456-EB1B-45FF-A76B-EAFCB68FC9C4}"/>
              </a:ext>
            </a:extLst>
          </p:cNvPr>
          <p:cNvSpPr/>
          <p:nvPr/>
        </p:nvSpPr>
        <p:spPr bwMode="auto">
          <a:xfrm>
            <a:off x="2615868" y="2498061"/>
            <a:ext cx="307138" cy="307138"/>
          </a:xfrm>
          <a:prstGeom prst="ellipse">
            <a:avLst/>
          </a:prstGeom>
          <a:solidFill>
            <a:srgbClr val="A8CC25"/>
          </a:solidFill>
          <a:ln w="9525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 eaLnBrk="1" hangingPunct="1"/>
            <a:r>
              <a:rPr lang="fr-FR" sz="1200" b="1" dirty="0">
                <a:solidFill>
                  <a:schemeClr val="bg1"/>
                </a:solidFill>
                <a:latin typeface="Gill Sans" panose="020B0502020104020203"/>
              </a:rPr>
              <a:t>41</a:t>
            </a:r>
          </a:p>
        </p:txBody>
      </p:sp>
      <p:sp>
        <p:nvSpPr>
          <p:cNvPr id="121" name="Ellipse 120">
            <a:extLst>
              <a:ext uri="{FF2B5EF4-FFF2-40B4-BE49-F238E27FC236}">
                <a16:creationId xmlns:a16="http://schemas.microsoft.com/office/drawing/2014/main" id="{E1398BEF-2096-4EA7-BB88-44BDD229F0F8}"/>
              </a:ext>
            </a:extLst>
          </p:cNvPr>
          <p:cNvSpPr/>
          <p:nvPr/>
        </p:nvSpPr>
        <p:spPr bwMode="auto">
          <a:xfrm>
            <a:off x="2665759" y="3414262"/>
            <a:ext cx="307138" cy="307138"/>
          </a:xfrm>
          <a:prstGeom prst="ellipse">
            <a:avLst/>
          </a:prstGeom>
          <a:solidFill>
            <a:srgbClr val="A8CC25"/>
          </a:solidFill>
          <a:ln w="9525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 eaLnBrk="1" hangingPunct="1"/>
            <a:r>
              <a:rPr lang="fr-FR" sz="1200" b="1" dirty="0">
                <a:solidFill>
                  <a:schemeClr val="bg1"/>
                </a:solidFill>
                <a:latin typeface="Gill Sans" panose="020B0502020104020203"/>
              </a:rPr>
              <a:t>32</a:t>
            </a:r>
          </a:p>
        </p:txBody>
      </p:sp>
      <p:sp>
        <p:nvSpPr>
          <p:cNvPr id="122" name="Ellipse 121">
            <a:extLst>
              <a:ext uri="{FF2B5EF4-FFF2-40B4-BE49-F238E27FC236}">
                <a16:creationId xmlns:a16="http://schemas.microsoft.com/office/drawing/2014/main" id="{79ED0260-9C05-4AD0-ADA9-AB4A65E84F73}"/>
              </a:ext>
            </a:extLst>
          </p:cNvPr>
          <p:cNvSpPr/>
          <p:nvPr/>
        </p:nvSpPr>
        <p:spPr bwMode="auto">
          <a:xfrm>
            <a:off x="2420123" y="3991205"/>
            <a:ext cx="307138" cy="307138"/>
          </a:xfrm>
          <a:prstGeom prst="ellipse">
            <a:avLst/>
          </a:prstGeom>
          <a:solidFill>
            <a:srgbClr val="A8CC25"/>
          </a:solidFill>
          <a:ln w="9525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 eaLnBrk="1" hangingPunct="1"/>
            <a:r>
              <a:rPr lang="fr-FR" sz="1200" b="1" dirty="0">
                <a:solidFill>
                  <a:schemeClr val="bg1"/>
                </a:solidFill>
                <a:latin typeface="Gill Sans" panose="020B0502020104020203"/>
              </a:rPr>
              <a:t>28</a:t>
            </a:r>
          </a:p>
        </p:txBody>
      </p:sp>
      <p:sp>
        <p:nvSpPr>
          <p:cNvPr id="125" name="Ellipse 124">
            <a:extLst>
              <a:ext uri="{FF2B5EF4-FFF2-40B4-BE49-F238E27FC236}">
                <a16:creationId xmlns:a16="http://schemas.microsoft.com/office/drawing/2014/main" id="{F36F10F5-5189-4271-A9E5-EA6D8D7E8EA7}"/>
              </a:ext>
            </a:extLst>
          </p:cNvPr>
          <p:cNvSpPr/>
          <p:nvPr/>
        </p:nvSpPr>
        <p:spPr bwMode="auto">
          <a:xfrm>
            <a:off x="1570037" y="4199863"/>
            <a:ext cx="307138" cy="307138"/>
          </a:xfrm>
          <a:prstGeom prst="ellipse">
            <a:avLst/>
          </a:prstGeom>
          <a:solidFill>
            <a:srgbClr val="A8CC25"/>
          </a:solidFill>
          <a:ln w="9525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 eaLnBrk="1" hangingPunct="1"/>
            <a:r>
              <a:rPr lang="fr-FR" sz="1200" b="1" dirty="0">
                <a:solidFill>
                  <a:schemeClr val="bg1"/>
                </a:solidFill>
                <a:latin typeface="Gill Sans" panose="020B0502020104020203"/>
              </a:rPr>
              <a:t>59</a:t>
            </a:r>
          </a:p>
        </p:txBody>
      </p:sp>
      <p:sp>
        <p:nvSpPr>
          <p:cNvPr id="126" name="Ellipse 125">
            <a:extLst>
              <a:ext uri="{FF2B5EF4-FFF2-40B4-BE49-F238E27FC236}">
                <a16:creationId xmlns:a16="http://schemas.microsoft.com/office/drawing/2014/main" id="{9202851A-1658-4E36-8233-24C19870EE83}"/>
              </a:ext>
            </a:extLst>
          </p:cNvPr>
          <p:cNvSpPr/>
          <p:nvPr/>
        </p:nvSpPr>
        <p:spPr bwMode="auto">
          <a:xfrm>
            <a:off x="1065213" y="5431814"/>
            <a:ext cx="307138" cy="307138"/>
          </a:xfrm>
          <a:prstGeom prst="ellipse">
            <a:avLst/>
          </a:prstGeom>
          <a:solidFill>
            <a:srgbClr val="A8CC25"/>
          </a:solidFill>
          <a:ln w="9525" algn="ctr">
            <a:noFill/>
            <a:prstDash val="solid"/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 eaLnBrk="1" hangingPunct="1"/>
            <a:r>
              <a:rPr lang="fr-FR" sz="1200" b="1" dirty="0">
                <a:solidFill>
                  <a:schemeClr val="bg1"/>
                </a:solidFill>
                <a:latin typeface="Gill Sans" panose="020B0502020104020203"/>
              </a:rPr>
              <a:t>186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A9531ED1-0050-498C-80CF-3136C0778604}"/>
              </a:ext>
            </a:extLst>
          </p:cNvPr>
          <p:cNvSpPr/>
          <p:nvPr/>
        </p:nvSpPr>
        <p:spPr bwMode="gray">
          <a:xfrm>
            <a:off x="6391275" y="1250950"/>
            <a:ext cx="2552700" cy="3009900"/>
          </a:xfrm>
          <a:prstGeom prst="rect">
            <a:avLst/>
          </a:prstGeom>
          <a:solidFill>
            <a:srgbClr val="F3F1E9"/>
          </a:solidFill>
          <a:ln w="9525">
            <a:solidFill>
              <a:srgbClr val="F3F1E9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t"/>
          <a:lstStyle/>
          <a:p>
            <a:r>
              <a:rPr lang="fr-MA" sz="1100" b="1" dirty="0">
                <a:solidFill>
                  <a:srgbClr val="002960"/>
                </a:solidFill>
                <a:latin typeface="Gill Sans"/>
              </a:rPr>
              <a:t>Benchmark de la répartition régionale du nombre de cas cumulés de COVID par 10.000 habitants au 15/10/20 </a:t>
            </a:r>
          </a:p>
        </p:txBody>
      </p:sp>
      <p:graphicFrame>
        <p:nvGraphicFramePr>
          <p:cNvPr id="204" name="Chart 3">
            <a:extLst>
              <a:ext uri="{FF2B5EF4-FFF2-40B4-BE49-F238E27FC236}">
                <a16:creationId xmlns:a16="http://schemas.microsoft.com/office/drawing/2014/main" id="{9FE472DD-D788-4C23-BD23-8F4B7BDD6520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7123113" y="1968500"/>
          <a:ext cx="1744662" cy="1747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cxnSp>
        <p:nvCxnSpPr>
          <p:cNvPr id="162" name="Connecteur droit 161">
            <a:extLst>
              <a:ext uri="{FF2B5EF4-FFF2-40B4-BE49-F238E27FC236}">
                <a16:creationId xmlns:a16="http://schemas.microsoft.com/office/drawing/2014/main" id="{2B744FCF-9CEC-440B-B76D-1023E1C2E078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7594600" y="2051050"/>
            <a:ext cx="0" cy="854075"/>
          </a:xfrm>
          <a:prstGeom prst="line">
            <a:avLst/>
          </a:prstGeom>
          <a:ln w="19050" cap="flat" cmpd="sng" algn="ctr">
            <a:solidFill>
              <a:srgbClr val="BB1A0D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Connecteur droit 163">
            <a:extLst>
              <a:ext uri="{FF2B5EF4-FFF2-40B4-BE49-F238E27FC236}">
                <a16:creationId xmlns:a16="http://schemas.microsoft.com/office/drawing/2014/main" id="{3D8316AE-55E6-49FC-A2CB-3F26B6381565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7594600" y="3041650"/>
            <a:ext cx="0" cy="592138"/>
          </a:xfrm>
          <a:prstGeom prst="line">
            <a:avLst/>
          </a:prstGeom>
          <a:ln w="19050" cap="flat" cmpd="sng" algn="ctr">
            <a:solidFill>
              <a:srgbClr val="BB1A0D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Flèche droite 86">
            <a:extLst>
              <a:ext uri="{FF2B5EF4-FFF2-40B4-BE49-F238E27FC236}">
                <a16:creationId xmlns:a16="http://schemas.microsoft.com/office/drawing/2014/main" id="{869F28E4-83F1-4A16-BCFF-ECF4106E4965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 rot="16200000">
            <a:off x="7531100" y="3671888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BCC0B18D-CC68-4571-B7A6-130F8ED393E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6913563" y="2112963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9E1F41A-6743-4118-852C-6566A4EB15E7}" type="datetime'F''''''r''a''''''''''''''''''''''''''''''''''''n''c''''e'''">
              <a:rPr lang="fr-MA" altLang="en-US" sz="900" smtClean="0"/>
              <a:pPr/>
              <a:t>France</a:t>
            </a:fld>
            <a:endParaRPr lang="fr-MA" sz="900" dirty="0">
              <a:sym typeface="+mn-lt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CCCAB4C1-9552-4485-B5E6-B18980AEF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6818313" y="2376488"/>
            <a:ext cx="4508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7FEE429-F092-4F24-BE0A-42594820FFB3}" type="datetime'Esp''''''''''''''a''''''''''''''''''''''''''g''n''''''''''e'''">
              <a:rPr lang="fr-MA" altLang="en-US" sz="900" smtClean="0"/>
              <a:pPr/>
              <a:t>Espagne</a:t>
            </a:fld>
            <a:endParaRPr lang="fr-MA" sz="900" dirty="0">
              <a:sym typeface="+mn-lt"/>
            </a:endParaRP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799D11DD-3932-4501-9FF3-3C2E3CACC484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6843713" y="2641600"/>
            <a:ext cx="4254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92CF279-B7D5-4977-9A77-F39EFF0ABB00}" type="datetime'''P''''''''o''''rt''''ugal'''''''''''''''''">
              <a:rPr lang="fr-MA" altLang="en-US" sz="900" smtClean="0"/>
              <a:pPr/>
              <a:t>Portugal</a:t>
            </a:fld>
            <a:endParaRPr lang="fr-MA" sz="900" dirty="0">
              <a:sym typeface="+mn-lt"/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31C41CB1-1713-42FE-9525-C90852073CEF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6900863" y="2905125"/>
            <a:ext cx="368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AF5DFEB-892D-4F9C-9CA5-B9E4508B090A}" type="datetime'T''''''''un''''i''''''''''''''''s''i''e'''''''''''''''''''''''">
              <a:rPr lang="fr-MA" altLang="en-US" sz="900" smtClean="0"/>
              <a:pPr/>
              <a:t>Tunisie</a:t>
            </a:fld>
            <a:endParaRPr lang="fr-MA" sz="900" dirty="0">
              <a:sym typeface="+mn-lt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169C1CED-DF08-4E7A-B2E0-F3C524D9E1C5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531100" y="3863975"/>
            <a:ext cx="127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r>
              <a:rPr lang="fr-MA" altLang="en-US" sz="900" b="1" dirty="0">
                <a:solidFill>
                  <a:srgbClr val="000000"/>
                </a:solidFill>
              </a:rPr>
              <a:t>49</a:t>
            </a:r>
            <a:endParaRPr kumimoji="0" lang="fr-FR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sym typeface="+mn-lt"/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DB4BABCC-F485-469E-8CE4-8EAD9093D0C9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913563" y="3168650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591DAC6-0792-4E92-8FE3-75E1736A0811}" type="datetime'''''E''g''''''y''''''''''''''''p''''''''''''''''''te'''''''''">
              <a:rPr lang="fr-MA" altLang="en-US" sz="900" smtClean="0"/>
              <a:pPr/>
              <a:t>Egypte</a:t>
            </a:fld>
            <a:endParaRPr lang="fr-MA" sz="900" dirty="0">
              <a:sym typeface="+mn-lt"/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BCEB90B2-2360-4866-91B3-8FE6A841C90E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034213" y="3432175"/>
            <a:ext cx="234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D893416-E2E3-49EC-AA63-C052294C0139}" type="datetime'''''''''''US''''''A'''''''''''''''''''''">
              <a:rPr lang="fr-MA" altLang="en-US" sz="900" smtClean="0"/>
              <a:pPr/>
              <a:t>USA</a:t>
            </a:fld>
            <a:endParaRPr lang="fr-MA" sz="900" dirty="0">
              <a:sym typeface="+mn-lt"/>
            </a:endParaRPr>
          </a:p>
        </p:txBody>
      </p:sp>
      <p:pic>
        <p:nvPicPr>
          <p:cNvPr id="177" name="Picture 7" descr="RÃ©sultat de recherche d'images pour &quot;maroc round flag&quot;">
            <a:extLst>
              <a:ext uri="{FF2B5EF4-FFF2-40B4-BE49-F238E27FC236}">
                <a16:creationId xmlns:a16="http://schemas.microsoft.com/office/drawing/2014/main" id="{96FCD7F3-DB8A-4D05-A20B-335B83CD22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1225" y="3835400"/>
            <a:ext cx="185738" cy="185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8" name="Rectangle 177">
            <a:extLst>
              <a:ext uri="{FF2B5EF4-FFF2-40B4-BE49-F238E27FC236}">
                <a16:creationId xmlns:a16="http://schemas.microsoft.com/office/drawing/2014/main" id="{06B9028F-21D6-40FC-9FCC-8D87B1956F04}"/>
              </a:ext>
            </a:extLst>
          </p:cNvPr>
          <p:cNvSpPr/>
          <p:nvPr/>
        </p:nvSpPr>
        <p:spPr bwMode="gray">
          <a:xfrm>
            <a:off x="6442075" y="3762375"/>
            <a:ext cx="869950" cy="37623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t>Moyenne Maroc</a:t>
            </a:r>
          </a:p>
        </p:txBody>
      </p:sp>
      <p:pic>
        <p:nvPicPr>
          <p:cNvPr id="180" name="Picture 23">
            <a:extLst>
              <a:ext uri="{FF2B5EF4-FFF2-40B4-BE49-F238E27FC236}">
                <a16:creationId xmlns:a16="http://schemas.microsoft.com/office/drawing/2014/main" id="{ED4DF4F3-5C48-42C6-9451-3D6F1D4172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6850" y="2117725"/>
            <a:ext cx="190500" cy="12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1" name="Picture 25">
            <a:extLst>
              <a:ext uri="{FF2B5EF4-FFF2-40B4-BE49-F238E27FC236}">
                <a16:creationId xmlns:a16="http://schemas.microsoft.com/office/drawing/2014/main" id="{D910D174-01ED-4EFF-9C71-530A9AC3CE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6850" y="2387600"/>
            <a:ext cx="190500" cy="12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2" name="Picture 28">
            <a:extLst>
              <a:ext uri="{FF2B5EF4-FFF2-40B4-BE49-F238E27FC236}">
                <a16:creationId xmlns:a16="http://schemas.microsoft.com/office/drawing/2014/main" id="{17F58808-DE69-4237-AC5B-12BAA2BE08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6850" y="2657475"/>
            <a:ext cx="191273" cy="128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3" name="Picture 30">
            <a:extLst>
              <a:ext uri="{FF2B5EF4-FFF2-40B4-BE49-F238E27FC236}">
                <a16:creationId xmlns:a16="http://schemas.microsoft.com/office/drawing/2014/main" id="{16021434-8E31-44DA-8ADE-6F532878AF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6850" y="3470275"/>
            <a:ext cx="193525" cy="10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" name="Picture 32">
            <a:extLst>
              <a:ext uri="{FF2B5EF4-FFF2-40B4-BE49-F238E27FC236}">
                <a16:creationId xmlns:a16="http://schemas.microsoft.com/office/drawing/2014/main" id="{626D68B3-87E0-4BE7-A7E8-30E31F93A7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6850" y="2930525"/>
            <a:ext cx="190500" cy="12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5" name="Picture 34">
            <a:extLst>
              <a:ext uri="{FF2B5EF4-FFF2-40B4-BE49-F238E27FC236}">
                <a16:creationId xmlns:a16="http://schemas.microsoft.com/office/drawing/2014/main" id="{DB2001A8-8323-4E0A-9636-B42602ABB1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6850" y="3200400"/>
            <a:ext cx="190500" cy="12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riangle isocèle 33">
            <a:extLst>
              <a:ext uri="{FF2B5EF4-FFF2-40B4-BE49-F238E27FC236}">
                <a16:creationId xmlns:a16="http://schemas.microsoft.com/office/drawing/2014/main" id="{1FBC88B0-F0AF-4039-97A1-DBDBC7B83196}"/>
              </a:ext>
            </a:extLst>
          </p:cNvPr>
          <p:cNvSpPr/>
          <p:nvPr/>
        </p:nvSpPr>
        <p:spPr bwMode="gray">
          <a:xfrm rot="10800000">
            <a:off x="6765925" y="4391025"/>
            <a:ext cx="1803400" cy="120650"/>
          </a:xfrm>
          <a:prstGeom prst="triangle">
            <a:avLst/>
          </a:prstGeom>
          <a:solidFill>
            <a:srgbClr val="CAC2A2"/>
          </a:solidFill>
          <a:ln>
            <a:noFill/>
          </a:ln>
          <a:effectLst/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3109908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08" name="Diapositive think-cell" r:id="rId131" imgW="475" imgH="476" progId="TCLayout.ActiveDocument.1">
                  <p:embed/>
                </p:oleObj>
              </mc:Choice>
              <mc:Fallback>
                <p:oleObj name="Diapositive think-cell" r:id="rId131" imgW="475" imgH="476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1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CAC2A2"/>
          </a:solidFill>
          <a:ln>
            <a:noFill/>
          </a:ln>
          <a:effectLst>
            <a:outerShdw dist="53882" dir="2700000" algn="ctr" rotWithShape="0">
              <a:schemeClr val="tx1">
                <a:alpha val="40000"/>
              </a:schemeClr>
            </a:outerShdw>
          </a:effec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fr-MA" sz="9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24" name="Flèche : pentagone 123">
            <a:extLst>
              <a:ext uri="{FF2B5EF4-FFF2-40B4-BE49-F238E27FC236}">
                <a16:creationId xmlns:a16="http://schemas.microsoft.com/office/drawing/2014/main" id="{D024F73C-CB4C-437E-A4B5-6CA931B996B4}"/>
              </a:ext>
            </a:extLst>
          </p:cNvPr>
          <p:cNvSpPr/>
          <p:nvPr/>
        </p:nvSpPr>
        <p:spPr bwMode="gray">
          <a:xfrm>
            <a:off x="142097" y="749299"/>
            <a:ext cx="7057600" cy="5631181"/>
          </a:xfrm>
          <a:prstGeom prst="homePlate">
            <a:avLst>
              <a:gd name="adj" fmla="val 8146"/>
            </a:avLst>
          </a:prstGeom>
          <a:solidFill>
            <a:srgbClr val="FFFFFF"/>
          </a:solidFill>
          <a:ln w="9525">
            <a:solidFill>
              <a:srgbClr val="F3F1E9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t"/>
          <a:lstStyle/>
          <a:p>
            <a:r>
              <a:rPr lang="fr-MA" sz="1200" b="1" dirty="0">
                <a:solidFill>
                  <a:srgbClr val="002960"/>
                </a:solidFill>
                <a:latin typeface="Gill Sans"/>
              </a:rPr>
              <a:t>Impacts socio-économiques de la crise COVID sur les 12 régions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B8EF6C82-79CD-4A8B-B737-0605DD7B4B26}"/>
              </a:ext>
            </a:extLst>
          </p:cNvPr>
          <p:cNvSpPr/>
          <p:nvPr/>
        </p:nvSpPr>
        <p:spPr bwMode="gray">
          <a:xfrm>
            <a:off x="7287327" y="1587991"/>
            <a:ext cx="1704574" cy="4341995"/>
          </a:xfrm>
          <a:prstGeom prst="rect">
            <a:avLst/>
          </a:prstGeom>
          <a:solidFill>
            <a:srgbClr val="FFFFFF"/>
          </a:solidFill>
          <a:ln w="9525">
            <a:solidFill>
              <a:srgbClr val="C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t"/>
          <a:lstStyle/>
          <a:p>
            <a:r>
              <a:rPr lang="fr-MA" sz="1100" b="1" dirty="0">
                <a:solidFill>
                  <a:srgbClr val="002960"/>
                </a:solidFill>
                <a:latin typeface="Gill Sans"/>
              </a:rPr>
              <a:t>Un impact économique considérable face à un impact sanitaire relativement maîtrisé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MA" sz="1100" dirty="0">
                <a:solidFill>
                  <a:srgbClr val="002960"/>
                </a:solidFill>
                <a:latin typeface="Gill Sans"/>
              </a:rPr>
              <a:t>Une baisse d’activité importante recensée entre mars et mai 2020, oscillant entre 51,7% pour Béni Mellal </a:t>
            </a:r>
            <a:r>
              <a:rPr lang="fr-MA" sz="1100" dirty="0" err="1">
                <a:solidFill>
                  <a:srgbClr val="002960"/>
                </a:solidFill>
                <a:latin typeface="Gill Sans"/>
              </a:rPr>
              <a:t>Khénifra</a:t>
            </a:r>
            <a:r>
              <a:rPr lang="fr-MA" sz="1100" dirty="0">
                <a:solidFill>
                  <a:srgbClr val="002960"/>
                </a:solidFill>
                <a:latin typeface="Gill Sans"/>
              </a:rPr>
              <a:t> à 72,4% pour </a:t>
            </a:r>
            <a:r>
              <a:rPr lang="fr-MA" sz="1100" dirty="0" err="1">
                <a:solidFill>
                  <a:srgbClr val="002960"/>
                </a:solidFill>
                <a:latin typeface="Gill Sans"/>
              </a:rPr>
              <a:t>Drâa</a:t>
            </a:r>
            <a:r>
              <a:rPr lang="fr-MA" sz="1100" dirty="0">
                <a:solidFill>
                  <a:srgbClr val="002960"/>
                </a:solidFill>
                <a:latin typeface="Gill Sans"/>
              </a:rPr>
              <a:t> Tafilal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MA" sz="1100" dirty="0">
              <a:solidFill>
                <a:srgbClr val="002960"/>
              </a:solidFill>
              <a:latin typeface="Gill San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MA" sz="1100" dirty="0">
                <a:solidFill>
                  <a:srgbClr val="002960"/>
                </a:solidFill>
                <a:latin typeface="Gill Sans"/>
              </a:rPr>
              <a:t>Une baisse de l’emploi autour de 35% différenciée selon les régions avec Draa Tafilelt et Tanger </a:t>
            </a:r>
            <a:r>
              <a:rPr lang="fr-MA" sz="1100" dirty="0" err="1">
                <a:solidFill>
                  <a:srgbClr val="002960"/>
                </a:solidFill>
                <a:latin typeface="Gill Sans"/>
              </a:rPr>
              <a:t>Tetouan</a:t>
            </a:r>
            <a:r>
              <a:rPr lang="fr-MA" sz="1100" dirty="0">
                <a:solidFill>
                  <a:srgbClr val="002960"/>
                </a:solidFill>
                <a:latin typeface="Gill Sans"/>
              </a:rPr>
              <a:t> El Hoceima en tête des régions les plus touchées (respectivement 54% et 52%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MA" sz="1100" dirty="0">
              <a:solidFill>
                <a:srgbClr val="002960"/>
              </a:solidFill>
              <a:latin typeface="Gill Sans"/>
            </a:endParaRPr>
          </a:p>
        </p:txBody>
      </p:sp>
      <p:graphicFrame>
        <p:nvGraphicFramePr>
          <p:cNvPr id="59" name="Chart 3">
            <a:extLst>
              <a:ext uri="{FF2B5EF4-FFF2-40B4-BE49-F238E27FC236}">
                <a16:creationId xmlns:a16="http://schemas.microsoft.com/office/drawing/2014/main" id="{ED4EF495-77E0-4A3D-B474-346165C46AC2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1635125" y="1792288"/>
          <a:ext cx="1004888" cy="4046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3"/>
          </a:graphicData>
        </a:graphic>
      </p:graphicFrame>
      <p:cxnSp>
        <p:nvCxnSpPr>
          <p:cNvPr id="7" name="Connecteur droit 6"/>
          <p:cNvCxnSpPr/>
          <p:nvPr>
            <p:custDataLst>
              <p:tags r:id="rId5"/>
            </p:custDataLst>
          </p:nvPr>
        </p:nvCxnSpPr>
        <p:spPr bwMode="gray">
          <a:xfrm>
            <a:off x="1717675" y="1874837"/>
            <a:ext cx="0" cy="3881438"/>
          </a:xfrm>
          <a:prstGeom prst="line">
            <a:avLst/>
          </a:prstGeom>
          <a:ln w="9525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Flèche droite 59"/>
          <p:cNvSpPr/>
          <p:nvPr>
            <p:custDataLst>
              <p:tags r:id="rId6"/>
            </p:custDataLst>
          </p:nvPr>
        </p:nvSpPr>
        <p:spPr bwMode="auto">
          <a:xfrm rot="16200000">
            <a:off x="1654175" y="579437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70" name="Rectangle 69"/>
          <p:cNvSpPr/>
          <p:nvPr>
            <p:custDataLst>
              <p:tags r:id="rId7"/>
            </p:custDataLst>
          </p:nvPr>
        </p:nvSpPr>
        <p:spPr bwMode="auto">
          <a:xfrm>
            <a:off x="725488" y="2946400"/>
            <a:ext cx="9255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2F4B50C-26D5-4DB6-97AE-C9A449C2655F}" type="datetime'R''''''''a''ba''t -'' S''''al''''é-''Ke''n''i''''tr''a'''''''">
              <a:rPr kumimoji="0" lang="fr-F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Rabat - Salé-Kenitra</a:t>
            </a:fld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+mn-lt"/>
            </a:endParaRPr>
          </a:p>
        </p:txBody>
      </p:sp>
      <p:sp>
        <p:nvSpPr>
          <p:cNvPr id="67" name="Rectangle 66"/>
          <p:cNvSpPr/>
          <p:nvPr>
            <p:custDataLst>
              <p:tags r:id="rId8"/>
            </p:custDataLst>
          </p:nvPr>
        </p:nvSpPr>
        <p:spPr bwMode="auto">
          <a:xfrm>
            <a:off x="931863" y="3916363"/>
            <a:ext cx="7191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8F6F4B7-D653-435E-BAF0-B78E41628AEA}" type="datetime'M''a''r''r''''''''''''akec''''''''h''-'''''' Sa''f''''''i'''">
              <a:rPr kumimoji="0" lang="fr-F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Marrakech- Safi</a:t>
            </a:fld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+mn-lt"/>
            </a:endParaRPr>
          </a:p>
        </p:txBody>
      </p:sp>
      <p:sp>
        <p:nvSpPr>
          <p:cNvPr id="69" name="Rectangle 68"/>
          <p:cNvSpPr/>
          <p:nvPr>
            <p:custDataLst>
              <p:tags r:id="rId9"/>
            </p:custDataLst>
          </p:nvPr>
        </p:nvSpPr>
        <p:spPr bwMode="auto">
          <a:xfrm>
            <a:off x="982663" y="4240213"/>
            <a:ext cx="6683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A13F389-77EE-49AA-A554-4CFC7BCAF30A}" type="datetime'Da''''''r''''''''â''a''''''-''Ta''''f''i''''l''a''''''''l''et'">
              <a:rPr kumimoji="0" lang="fr-F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Darâa-Tafilalet</a:t>
            </a:fld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+mn-lt"/>
            </a:endParaRPr>
          </a:p>
        </p:txBody>
      </p:sp>
      <p:sp>
        <p:nvSpPr>
          <p:cNvPr id="63" name="Rectangle 62"/>
          <p:cNvSpPr/>
          <p:nvPr>
            <p:custDataLst>
              <p:tags r:id="rId10"/>
            </p:custDataLst>
          </p:nvPr>
        </p:nvSpPr>
        <p:spPr bwMode="auto">
          <a:xfrm>
            <a:off x="709613" y="3270250"/>
            <a:ext cx="9413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7CF2679-8619-4BB4-9321-F19DD550180B}" type="datetime'Ben''''i'' ''M''e''''ll''''al''''-'''' ''''Kh''''é''nifr''a'">
              <a:rPr kumimoji="0" lang="fr-F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Beni Mellal- Khénifra</a:t>
            </a:fld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+mn-lt"/>
            </a:endParaRPr>
          </a:p>
        </p:txBody>
      </p:sp>
      <p:sp>
        <p:nvSpPr>
          <p:cNvPr id="71" name="Rectangle 70"/>
          <p:cNvSpPr/>
          <p:nvPr>
            <p:custDataLst>
              <p:tags r:id="rId11"/>
            </p:custDataLst>
          </p:nvPr>
        </p:nvSpPr>
        <p:spPr bwMode="auto">
          <a:xfrm>
            <a:off x="1293813" y="2300288"/>
            <a:ext cx="3571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1CA116B-4904-405F-AC15-E655ED45E05D}" type="datetime'O''''''''''r''ie''''''''''n''''''''''''''''ta''''''''l'''''">
              <a:rPr kumimoji="0" lang="fr-F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Oriental</a:t>
            </a:fld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+mn-lt"/>
            </a:endParaRPr>
          </a:p>
        </p:txBody>
      </p:sp>
      <p:sp>
        <p:nvSpPr>
          <p:cNvPr id="72" name="Rectangle 71"/>
          <p:cNvSpPr/>
          <p:nvPr>
            <p:custDataLst>
              <p:tags r:id="rId12"/>
            </p:custDataLst>
          </p:nvPr>
        </p:nvSpPr>
        <p:spPr bwMode="auto">
          <a:xfrm>
            <a:off x="306388" y="1976438"/>
            <a:ext cx="13446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4EDE5AC-63AB-4980-A3BE-DC45B7847233}" type="datetime'Ta''n''''''ger'' -Té''t''ou''an''- Al ''Hoc''e''''ima'">
              <a:rPr kumimoji="0" lang="fr-F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Tanger -Tétouan- Al Hoceima</a:t>
            </a:fld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+mn-lt"/>
            </a:endParaRPr>
          </a:p>
        </p:txBody>
      </p:sp>
      <p:sp>
        <p:nvSpPr>
          <p:cNvPr id="66" name="Rectangle 65"/>
          <p:cNvSpPr/>
          <p:nvPr>
            <p:custDataLst>
              <p:tags r:id="rId13"/>
            </p:custDataLst>
          </p:nvPr>
        </p:nvSpPr>
        <p:spPr bwMode="auto">
          <a:xfrm>
            <a:off x="1033463" y="2622550"/>
            <a:ext cx="61753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51C4ACE-F45D-4D8A-9153-2130B2785B93}" type="datetime'F''è''''''''s'' ''-'' ''Meknès'''''''''''''''''">
              <a:rPr kumimoji="0" lang="fr-F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Fès - Meknès</a:t>
            </a:fld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+mn-lt"/>
            </a:endParaRPr>
          </a:p>
        </p:txBody>
      </p:sp>
      <p:sp>
        <p:nvSpPr>
          <p:cNvPr id="61" name="Rectangle 60"/>
          <p:cNvSpPr/>
          <p:nvPr>
            <p:custDataLst>
              <p:tags r:id="rId14"/>
            </p:custDataLst>
          </p:nvPr>
        </p:nvSpPr>
        <p:spPr bwMode="auto">
          <a:xfrm>
            <a:off x="809625" y="3594100"/>
            <a:ext cx="8413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7230630-BCC3-43E7-8F89-EA245056C3C9}" type="datetime'C''''a''''sa''b''l''''''an''c''''''a''''-S''e''tt''at'''''">
              <a:rPr kumimoji="0" lang="fr-FR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Casablanca-Settat</a:t>
            </a:fld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+mn-lt"/>
            </a:endParaRPr>
          </a:p>
        </p:txBody>
      </p:sp>
      <p:sp>
        <p:nvSpPr>
          <p:cNvPr id="68" name="Rectangle 67"/>
          <p:cNvSpPr/>
          <p:nvPr>
            <p:custDataLst>
              <p:tags r:id="rId15"/>
            </p:custDataLst>
          </p:nvPr>
        </p:nvSpPr>
        <p:spPr bwMode="auto">
          <a:xfrm>
            <a:off x="976313" y="4564063"/>
            <a:ext cx="6746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EDCF6CA-7D77-4ADB-A4B0-0479FCF5DE68}" type="datetime'''''S''''o''us''''''''''''''s'''' -'' ''''''''M''as''''sa'''''">
              <a:rPr kumimoji="0" lang="fr-F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Souss - Massa</a:t>
            </a:fld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+mn-lt"/>
            </a:endParaRPr>
          </a:p>
        </p:txBody>
      </p:sp>
      <p:sp>
        <p:nvSpPr>
          <p:cNvPr id="65" name="Rectangle 64"/>
          <p:cNvSpPr/>
          <p:nvPr>
            <p:custDataLst>
              <p:tags r:id="rId16"/>
            </p:custDataLst>
          </p:nvPr>
        </p:nvSpPr>
        <p:spPr bwMode="auto">
          <a:xfrm>
            <a:off x="635000" y="4887913"/>
            <a:ext cx="10160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0C38454-8FA5-4B52-A87D-B7A8C9D0893B}" type="datetime'''G''''u''e''lm''''im'' –O''u''ed'' ''''N''''''''oun'''''">
              <a:rPr kumimoji="0" lang="fr-F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Guelmim –Oued Noun</a:t>
            </a:fld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+mn-lt"/>
            </a:endParaRPr>
          </a:p>
        </p:txBody>
      </p:sp>
      <p:sp>
        <p:nvSpPr>
          <p:cNvPr id="64" name="Rectangle 63"/>
          <p:cNvSpPr/>
          <p:nvPr>
            <p:custDataLst>
              <p:tags r:id="rId17"/>
            </p:custDataLst>
          </p:nvPr>
        </p:nvSpPr>
        <p:spPr bwMode="auto">
          <a:xfrm>
            <a:off x="401638" y="5210175"/>
            <a:ext cx="12493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4E7A7B-136C-4DD0-BF95-A482D6793C5F}" type="datetime'''''''Laâ''''''''youne ''-'''''''' Sakia'' ''''El H''a''mra'">
              <a:rPr kumimoji="0" lang="fr-F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Laâyoune - Sakia El Hamra</a:t>
            </a:fld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+mn-lt"/>
            </a:endParaRPr>
          </a:p>
        </p:txBody>
      </p:sp>
      <p:sp>
        <p:nvSpPr>
          <p:cNvPr id="62" name="Rectangle 61"/>
          <p:cNvSpPr/>
          <p:nvPr>
            <p:custDataLst>
              <p:tags r:id="rId18"/>
            </p:custDataLst>
          </p:nvPr>
        </p:nvSpPr>
        <p:spPr bwMode="auto">
          <a:xfrm>
            <a:off x="609600" y="5534025"/>
            <a:ext cx="10414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C7FAF61-7B34-40C5-A787-179C95027AC0}" type="datetime'Da''''''''k''''hl''a''-''Ou''ed Edda''h''''''''a''''b'''">
              <a:rPr kumimoji="0" lang="fr-FR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Dakhla-Oued Eddahab</a:t>
            </a:fld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+mn-lt"/>
            </a:endParaRPr>
          </a:p>
        </p:txBody>
      </p:sp>
      <p:sp>
        <p:nvSpPr>
          <p:cNvPr id="73" name="Rectangle 72"/>
          <p:cNvSpPr/>
          <p:nvPr>
            <p:custDataLst>
              <p:tags r:id="rId19"/>
            </p:custDataLst>
          </p:nvPr>
        </p:nvSpPr>
        <p:spPr bwMode="auto">
          <a:xfrm>
            <a:off x="1689100" y="5986463"/>
            <a:ext cx="5715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A30A09B-23EB-4536-9235-12E851D66077}" type="datetime'''''''''''''''''''''0'''''''''''''''''''''''''''''''''''''">
              <a:rPr kumimoji="0" lang="fr-FR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+mn-lt"/>
            </a:endParaRPr>
          </a:p>
        </p:txBody>
      </p:sp>
      <p:sp>
        <p:nvSpPr>
          <p:cNvPr id="74" name="Rectangle 5">
            <a:extLst>
              <a:ext uri="{FF2B5EF4-FFF2-40B4-BE49-F238E27FC236}">
                <a16:creationId xmlns:a16="http://schemas.microsoft.com/office/drawing/2014/main" id="{54C80A1B-6F82-4A54-A641-41586AF3067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32997" y="1124144"/>
            <a:ext cx="2294658" cy="55745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6000" sy="96000" algn="ctr" rotWithShape="0">
              <a:schemeClr val="tx2"/>
            </a:outerShdw>
          </a:effectLst>
        </p:spPr>
        <p:txBody>
          <a:bodyPr wrap="square" lIns="36000" tIns="36000" rIns="3600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50" b="1" dirty="0">
                <a:solidFill>
                  <a:srgbClr val="002960"/>
                </a:solidFill>
                <a:latin typeface="Gill Sans"/>
                <a:ea typeface="ＭＳ Ｐゴシック"/>
                <a:cs typeface="Arial" panose="020B0604020202020204" pitchFamily="34" charset="0"/>
              </a:rPr>
              <a:t>Baisse du CA</a:t>
            </a:r>
            <a:r>
              <a:rPr kumimoji="0" lang="fr-FR" sz="1050" b="1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Gill Sans"/>
                <a:ea typeface="ＭＳ Ｐゴシック"/>
                <a:cs typeface="Arial" panose="020B0604020202020204" pitchFamily="34" charset="0"/>
              </a:rPr>
              <a:t> par rég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1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Gill Sans"/>
                <a:ea typeface="ＭＳ Ｐゴシック"/>
                <a:cs typeface="Arial" panose="020B0604020202020204" pitchFamily="34" charset="0"/>
              </a:rPr>
              <a:t>Mars-Mai 2020 vs 2019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i="1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Gill Sans"/>
                <a:ea typeface="ＭＳ Ｐゴシック"/>
                <a:cs typeface="Arial" panose="020B0604020202020204" pitchFamily="34" charset="0"/>
              </a:rPr>
              <a:t>(Source : enquête CGEM)</a:t>
            </a:r>
            <a:endParaRPr kumimoji="0" lang="fr-FR" sz="1000" i="1" u="none" strike="noStrike" kern="1200" cap="none" spc="0" normalizeH="0" baseline="0" noProof="0" dirty="0">
              <a:ln>
                <a:noFill/>
              </a:ln>
              <a:solidFill>
                <a:srgbClr val="213258"/>
              </a:solidFill>
              <a:effectLst/>
              <a:uLnTx/>
              <a:uFillTx/>
              <a:latin typeface="Gill Sans"/>
              <a:ea typeface="ＭＳ Ｐゴシック"/>
              <a:cs typeface="Arial" pitchFamily="34" charset="0"/>
            </a:endParaRPr>
          </a:p>
        </p:txBody>
      </p:sp>
      <p:sp>
        <p:nvSpPr>
          <p:cNvPr id="79" name="Rectangle 5">
            <a:extLst>
              <a:ext uri="{FF2B5EF4-FFF2-40B4-BE49-F238E27FC236}">
                <a16:creationId xmlns:a16="http://schemas.microsoft.com/office/drawing/2014/main" id="{54C80A1B-6F82-4A54-A641-41586AF3067B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83773" y="1124144"/>
            <a:ext cx="2294658" cy="54975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6000" sy="96000" algn="ctr" rotWithShape="0">
              <a:schemeClr val="tx2"/>
            </a:outerShdw>
          </a:effectLst>
        </p:spPr>
        <p:txBody>
          <a:bodyPr wrap="square" lIns="36000" tIns="36000" rIns="3600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1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Gill Sans"/>
                <a:ea typeface="ＭＳ Ｐゴシック"/>
                <a:cs typeface="Arial" panose="020B0604020202020204" pitchFamily="34" charset="0"/>
              </a:rPr>
              <a:t>% des salariés déclarés en arrêt de travail </a:t>
            </a:r>
            <a:r>
              <a:rPr kumimoji="0" lang="fr-FR" sz="1050" b="1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Gill Sans"/>
                <a:ea typeface="ＭＳ Ｐゴシック"/>
                <a:cs typeface="Arial" panose="020B0604020202020204" pitchFamily="34" charset="0"/>
              </a:rPr>
              <a:t>en </a:t>
            </a:r>
            <a:r>
              <a:rPr lang="fr-FR" sz="1050" b="1" dirty="0">
                <a:solidFill>
                  <a:srgbClr val="002960"/>
                </a:solidFill>
                <a:latin typeface="Gill Sans"/>
                <a:ea typeface="ＭＳ Ｐゴシック"/>
                <a:cs typeface="Arial" panose="020B0604020202020204" pitchFamily="34" charset="0"/>
              </a:rPr>
              <a:t>Mai</a:t>
            </a:r>
            <a:r>
              <a:rPr kumimoji="0" lang="fr-FR" sz="1050" b="1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Gill Sans"/>
                <a:ea typeface="ＭＳ Ｐゴシック"/>
                <a:cs typeface="Arial" panose="020B0604020202020204" pitchFamily="34" charset="0"/>
              </a:rPr>
              <a:t> 2020</a:t>
            </a:r>
            <a:r>
              <a:rPr lang="fr-FR" sz="1050" dirty="0">
                <a:solidFill>
                  <a:srgbClr val="002960"/>
                </a:solidFill>
                <a:latin typeface="Gill Sans"/>
                <a:ea typeface="ＭＳ Ｐゴシック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i="1" dirty="0">
                <a:solidFill>
                  <a:srgbClr val="002960"/>
                </a:solidFill>
                <a:latin typeface="Gill Sans"/>
                <a:ea typeface="ＭＳ Ｐゴシック"/>
                <a:cs typeface="Arial" panose="020B0604020202020204" pitchFamily="34" charset="0"/>
              </a:rPr>
              <a:t>(Source : CNSS)</a:t>
            </a:r>
            <a:endParaRPr kumimoji="0" lang="fr-FR" sz="1000" i="1" u="none" strike="noStrike" kern="120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Gill Sans"/>
              <a:ea typeface="ＭＳ Ｐゴシック"/>
              <a:cs typeface="Arial" panose="020B0604020202020204" pitchFamily="34" charset="0"/>
            </a:endParaRPr>
          </a:p>
        </p:txBody>
      </p:sp>
      <p:pic>
        <p:nvPicPr>
          <p:cNvPr id="84" name="Picture 7" descr="RÃ©sultat de recherche d'images pour &quot;maroc round flag&quot;"/>
          <p:cNvPicPr>
            <a:picLocks noChangeAspect="1" noChangeArrowheads="1"/>
          </p:cNvPicPr>
          <p:nvPr/>
        </p:nvPicPr>
        <p:blipFill>
          <a:blip r:embed="rId1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2254" y="5972306"/>
            <a:ext cx="185995" cy="185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1" name="Chart 3">
            <a:extLst>
              <a:ext uri="{FF2B5EF4-FFF2-40B4-BE49-F238E27FC236}">
                <a16:creationId xmlns:a16="http://schemas.microsoft.com/office/drawing/2014/main" id="{99D2825A-72F1-44B0-ABAE-77C8FBE5392F}"/>
              </a:ext>
            </a:extLst>
          </p:cNvPr>
          <p:cNvGraphicFramePr/>
          <p:nvPr>
            <p:custDataLst>
              <p:tags r:id="rId20"/>
            </p:custDataLst>
          </p:nvPr>
        </p:nvGraphicFramePr>
        <p:xfrm>
          <a:off x="1879600" y="1792288"/>
          <a:ext cx="2139950" cy="4046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5"/>
          </a:graphicData>
        </a:graphic>
      </p:graphicFrame>
      <p:sp useBgFill="1">
        <p:nvSpPr>
          <p:cNvPr id="43" name="Forme libre : forme 42">
            <a:extLst>
              <a:ext uri="{FF2B5EF4-FFF2-40B4-BE49-F238E27FC236}">
                <a16:creationId xmlns:a16="http://schemas.microsoft.com/office/drawing/2014/main" id="{268E6706-2875-4638-8F62-AC168A2A8C72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989138" y="2559050"/>
            <a:ext cx="123826" cy="249239"/>
          </a:xfrm>
          <a:custGeom>
            <a:avLst/>
            <a:gdLst/>
            <a:ahLst/>
            <a:cxnLst/>
            <a:rect l="0" t="0" r="0" b="0"/>
            <a:pathLst>
              <a:path w="123826" h="249239">
                <a:moveTo>
                  <a:pt x="123825" y="0"/>
                </a:moveTo>
                <a:lnTo>
                  <a:pt x="57150" y="249238"/>
                </a:lnTo>
                <a:lnTo>
                  <a:pt x="0" y="249238"/>
                </a:lnTo>
                <a:lnTo>
                  <a:pt x="66675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 useBgFill="1">
        <p:nvSpPr>
          <p:cNvPr id="46" name="Forme libre : forme 45">
            <a:extLst>
              <a:ext uri="{FF2B5EF4-FFF2-40B4-BE49-F238E27FC236}">
                <a16:creationId xmlns:a16="http://schemas.microsoft.com/office/drawing/2014/main" id="{1EC16237-71C0-4314-BD87-D99A9867EA76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1989138" y="2881313"/>
            <a:ext cx="125413" cy="250826"/>
          </a:xfrm>
          <a:custGeom>
            <a:avLst/>
            <a:gdLst/>
            <a:ahLst/>
            <a:cxnLst/>
            <a:rect l="0" t="0" r="0" b="0"/>
            <a:pathLst>
              <a:path w="125413" h="250826">
                <a:moveTo>
                  <a:pt x="125412" y="0"/>
                </a:moveTo>
                <a:lnTo>
                  <a:pt x="57150" y="250825"/>
                </a:lnTo>
                <a:lnTo>
                  <a:pt x="0" y="250825"/>
                </a:lnTo>
                <a:lnTo>
                  <a:pt x="68262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 useBgFill="1">
        <p:nvSpPr>
          <p:cNvPr id="119" name="Forme libre : forme 118">
            <a:extLst>
              <a:ext uri="{FF2B5EF4-FFF2-40B4-BE49-F238E27FC236}">
                <a16:creationId xmlns:a16="http://schemas.microsoft.com/office/drawing/2014/main" id="{916C8554-290B-4556-920B-236D616A72A8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989138" y="4498975"/>
            <a:ext cx="125413" cy="250826"/>
          </a:xfrm>
          <a:custGeom>
            <a:avLst/>
            <a:gdLst/>
            <a:ahLst/>
            <a:cxnLst/>
            <a:rect l="0" t="0" r="0" b="0"/>
            <a:pathLst>
              <a:path w="125413" h="250826">
                <a:moveTo>
                  <a:pt x="125412" y="0"/>
                </a:moveTo>
                <a:lnTo>
                  <a:pt x="57150" y="250825"/>
                </a:lnTo>
                <a:lnTo>
                  <a:pt x="0" y="250825"/>
                </a:lnTo>
                <a:lnTo>
                  <a:pt x="68262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 useBgFill="1">
        <p:nvSpPr>
          <p:cNvPr id="49" name="Forme libre : forme 48">
            <a:extLst>
              <a:ext uri="{FF2B5EF4-FFF2-40B4-BE49-F238E27FC236}">
                <a16:creationId xmlns:a16="http://schemas.microsoft.com/office/drawing/2014/main" id="{F119ABED-6F9E-41C8-94FE-ADBD4E65E7D4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1989138" y="3205163"/>
            <a:ext cx="125413" cy="250826"/>
          </a:xfrm>
          <a:custGeom>
            <a:avLst/>
            <a:gdLst/>
            <a:ahLst/>
            <a:cxnLst/>
            <a:rect l="0" t="0" r="0" b="0"/>
            <a:pathLst>
              <a:path w="125413" h="250826">
                <a:moveTo>
                  <a:pt x="125412" y="0"/>
                </a:moveTo>
                <a:lnTo>
                  <a:pt x="57150" y="250825"/>
                </a:lnTo>
                <a:lnTo>
                  <a:pt x="0" y="250825"/>
                </a:lnTo>
                <a:lnTo>
                  <a:pt x="68262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 useBgFill="1">
        <p:nvSpPr>
          <p:cNvPr id="122" name="Forme libre : forme 121">
            <a:extLst>
              <a:ext uri="{FF2B5EF4-FFF2-40B4-BE49-F238E27FC236}">
                <a16:creationId xmlns:a16="http://schemas.microsoft.com/office/drawing/2014/main" id="{DE7E3626-1A8F-439B-9D9E-697873072880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1989138" y="4822825"/>
            <a:ext cx="125413" cy="250826"/>
          </a:xfrm>
          <a:custGeom>
            <a:avLst/>
            <a:gdLst/>
            <a:ahLst/>
            <a:cxnLst/>
            <a:rect l="0" t="0" r="0" b="0"/>
            <a:pathLst>
              <a:path w="125413" h="250826">
                <a:moveTo>
                  <a:pt x="125412" y="0"/>
                </a:moveTo>
                <a:lnTo>
                  <a:pt x="57150" y="250825"/>
                </a:lnTo>
                <a:lnTo>
                  <a:pt x="0" y="250825"/>
                </a:lnTo>
                <a:lnTo>
                  <a:pt x="68262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 useBgFill="1">
        <p:nvSpPr>
          <p:cNvPr id="52" name="Forme libre : forme 51">
            <a:extLst>
              <a:ext uri="{FF2B5EF4-FFF2-40B4-BE49-F238E27FC236}">
                <a16:creationId xmlns:a16="http://schemas.microsoft.com/office/drawing/2014/main" id="{FD67992E-2928-426E-B308-399B99512EEE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1989138" y="3529013"/>
            <a:ext cx="125413" cy="250826"/>
          </a:xfrm>
          <a:custGeom>
            <a:avLst/>
            <a:gdLst/>
            <a:ahLst/>
            <a:cxnLst/>
            <a:rect l="0" t="0" r="0" b="0"/>
            <a:pathLst>
              <a:path w="125413" h="250826">
                <a:moveTo>
                  <a:pt x="125412" y="0"/>
                </a:moveTo>
                <a:lnTo>
                  <a:pt x="57150" y="250825"/>
                </a:lnTo>
                <a:lnTo>
                  <a:pt x="0" y="250825"/>
                </a:lnTo>
                <a:lnTo>
                  <a:pt x="68262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 useBgFill="1">
        <p:nvSpPr>
          <p:cNvPr id="129" name="Forme libre : forme 128">
            <a:extLst>
              <a:ext uri="{FF2B5EF4-FFF2-40B4-BE49-F238E27FC236}">
                <a16:creationId xmlns:a16="http://schemas.microsoft.com/office/drawing/2014/main" id="{947D21DA-B5A2-478C-8703-B567119289F7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1989138" y="5146675"/>
            <a:ext cx="123826" cy="249239"/>
          </a:xfrm>
          <a:custGeom>
            <a:avLst/>
            <a:gdLst/>
            <a:ahLst/>
            <a:cxnLst/>
            <a:rect l="0" t="0" r="0" b="0"/>
            <a:pathLst>
              <a:path w="123826" h="249239">
                <a:moveTo>
                  <a:pt x="123825" y="0"/>
                </a:moveTo>
                <a:lnTo>
                  <a:pt x="57150" y="249238"/>
                </a:lnTo>
                <a:lnTo>
                  <a:pt x="0" y="249238"/>
                </a:lnTo>
                <a:lnTo>
                  <a:pt x="66675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 useBgFill="1">
        <p:nvSpPr>
          <p:cNvPr id="133" name="Forme libre : forme 132">
            <a:extLst>
              <a:ext uri="{FF2B5EF4-FFF2-40B4-BE49-F238E27FC236}">
                <a16:creationId xmlns:a16="http://schemas.microsoft.com/office/drawing/2014/main" id="{3B14EA38-A2F8-4476-A239-248932F874D5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1989138" y="5468938"/>
            <a:ext cx="125413" cy="250826"/>
          </a:xfrm>
          <a:custGeom>
            <a:avLst/>
            <a:gdLst/>
            <a:ahLst/>
            <a:cxnLst/>
            <a:rect l="0" t="0" r="0" b="0"/>
            <a:pathLst>
              <a:path w="125413" h="250826">
                <a:moveTo>
                  <a:pt x="125412" y="0"/>
                </a:moveTo>
                <a:lnTo>
                  <a:pt x="57150" y="250825"/>
                </a:lnTo>
                <a:lnTo>
                  <a:pt x="0" y="250825"/>
                </a:lnTo>
                <a:lnTo>
                  <a:pt x="68262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 useBgFill="1">
        <p:nvSpPr>
          <p:cNvPr id="37" name="Forme libre : forme 36">
            <a:extLst>
              <a:ext uri="{FF2B5EF4-FFF2-40B4-BE49-F238E27FC236}">
                <a16:creationId xmlns:a16="http://schemas.microsoft.com/office/drawing/2014/main" id="{F77DB8BC-B496-4CA9-85F2-B1AF43C0DD37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1989138" y="1911350"/>
            <a:ext cx="125413" cy="250826"/>
          </a:xfrm>
          <a:custGeom>
            <a:avLst/>
            <a:gdLst/>
            <a:ahLst/>
            <a:cxnLst/>
            <a:rect l="0" t="0" r="0" b="0"/>
            <a:pathLst>
              <a:path w="125413" h="250826">
                <a:moveTo>
                  <a:pt x="125412" y="0"/>
                </a:moveTo>
                <a:lnTo>
                  <a:pt x="57150" y="250825"/>
                </a:lnTo>
                <a:lnTo>
                  <a:pt x="0" y="250825"/>
                </a:lnTo>
                <a:lnTo>
                  <a:pt x="68262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 useBgFill="1">
        <p:nvSpPr>
          <p:cNvPr id="40" name="Forme libre : forme 39">
            <a:extLst>
              <a:ext uri="{FF2B5EF4-FFF2-40B4-BE49-F238E27FC236}">
                <a16:creationId xmlns:a16="http://schemas.microsoft.com/office/drawing/2014/main" id="{89E6EECD-2D17-49B6-B60A-37A76EB67AE6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989138" y="2235200"/>
            <a:ext cx="125413" cy="250826"/>
          </a:xfrm>
          <a:custGeom>
            <a:avLst/>
            <a:gdLst/>
            <a:ahLst/>
            <a:cxnLst/>
            <a:rect l="0" t="0" r="0" b="0"/>
            <a:pathLst>
              <a:path w="125413" h="250826">
                <a:moveTo>
                  <a:pt x="125412" y="0"/>
                </a:moveTo>
                <a:lnTo>
                  <a:pt x="57150" y="250825"/>
                </a:lnTo>
                <a:lnTo>
                  <a:pt x="0" y="250825"/>
                </a:lnTo>
                <a:lnTo>
                  <a:pt x="68262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 useBgFill="1">
        <p:nvSpPr>
          <p:cNvPr id="58" name="Forme libre : forme 57">
            <a:extLst>
              <a:ext uri="{FF2B5EF4-FFF2-40B4-BE49-F238E27FC236}">
                <a16:creationId xmlns:a16="http://schemas.microsoft.com/office/drawing/2014/main" id="{40C1742F-18F1-4F55-96FF-4431FB7671D8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989138" y="3852863"/>
            <a:ext cx="123826" cy="249238"/>
          </a:xfrm>
          <a:custGeom>
            <a:avLst/>
            <a:gdLst/>
            <a:ahLst/>
            <a:cxnLst/>
            <a:rect l="0" t="0" r="0" b="0"/>
            <a:pathLst>
              <a:path w="123826" h="249238">
                <a:moveTo>
                  <a:pt x="123825" y="0"/>
                </a:moveTo>
                <a:lnTo>
                  <a:pt x="57150" y="249237"/>
                </a:lnTo>
                <a:lnTo>
                  <a:pt x="0" y="249237"/>
                </a:lnTo>
                <a:lnTo>
                  <a:pt x="66675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 useBgFill="1">
        <p:nvSpPr>
          <p:cNvPr id="116" name="Forme libre : forme 115">
            <a:extLst>
              <a:ext uri="{FF2B5EF4-FFF2-40B4-BE49-F238E27FC236}">
                <a16:creationId xmlns:a16="http://schemas.microsoft.com/office/drawing/2014/main" id="{372F3053-0443-43BC-9C33-3793995943B0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1989138" y="4175125"/>
            <a:ext cx="125413" cy="250826"/>
          </a:xfrm>
          <a:custGeom>
            <a:avLst/>
            <a:gdLst/>
            <a:ahLst/>
            <a:cxnLst/>
            <a:rect l="0" t="0" r="0" b="0"/>
            <a:pathLst>
              <a:path w="125413" h="250826">
                <a:moveTo>
                  <a:pt x="125412" y="0"/>
                </a:moveTo>
                <a:lnTo>
                  <a:pt x="57150" y="250825"/>
                </a:lnTo>
                <a:lnTo>
                  <a:pt x="0" y="250825"/>
                </a:lnTo>
                <a:lnTo>
                  <a:pt x="68262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>
        <p:nvSpPr>
          <p:cNvPr id="118" name="Forme libre : forme 117">
            <a:extLst>
              <a:ext uri="{FF2B5EF4-FFF2-40B4-BE49-F238E27FC236}">
                <a16:creationId xmlns:a16="http://schemas.microsoft.com/office/drawing/2014/main" id="{544C4EB2-4D82-48D8-814D-75B0E65671C0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2046288" y="4498975"/>
            <a:ext cx="68263" cy="250826"/>
          </a:xfrm>
          <a:custGeom>
            <a:avLst/>
            <a:gdLst/>
            <a:ahLst/>
            <a:cxnLst/>
            <a:rect l="0" t="0" r="0" b="0"/>
            <a:pathLst>
              <a:path w="68263" h="250826">
                <a:moveTo>
                  <a:pt x="68262" y="0"/>
                </a:moveTo>
                <a:lnTo>
                  <a:pt x="0" y="25082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41" name="Forme libre : forme 40">
            <a:extLst>
              <a:ext uri="{FF2B5EF4-FFF2-40B4-BE49-F238E27FC236}">
                <a16:creationId xmlns:a16="http://schemas.microsoft.com/office/drawing/2014/main" id="{76840A49-EEAB-44E3-8BBB-B37CE4263291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1989138" y="2559050"/>
            <a:ext cx="66676" cy="249239"/>
          </a:xfrm>
          <a:custGeom>
            <a:avLst/>
            <a:gdLst/>
            <a:ahLst/>
            <a:cxnLst/>
            <a:rect l="0" t="0" r="0" b="0"/>
            <a:pathLst>
              <a:path w="66676" h="249239">
                <a:moveTo>
                  <a:pt x="66675" y="0"/>
                </a:moveTo>
                <a:lnTo>
                  <a:pt x="0" y="249238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4" name="Forme libre : forme 53">
            <a:extLst>
              <a:ext uri="{FF2B5EF4-FFF2-40B4-BE49-F238E27FC236}">
                <a16:creationId xmlns:a16="http://schemas.microsoft.com/office/drawing/2014/main" id="{C972D9CD-5BC1-425E-87B3-7137F5E34ECF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2046288" y="3852863"/>
            <a:ext cx="66676" cy="249238"/>
          </a:xfrm>
          <a:custGeom>
            <a:avLst/>
            <a:gdLst/>
            <a:ahLst/>
            <a:cxnLst/>
            <a:rect l="0" t="0" r="0" b="0"/>
            <a:pathLst>
              <a:path w="66676" h="249238">
                <a:moveTo>
                  <a:pt x="66675" y="0"/>
                </a:moveTo>
                <a:lnTo>
                  <a:pt x="0" y="249237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48" name="Forme libre : forme 47">
            <a:extLst>
              <a:ext uri="{FF2B5EF4-FFF2-40B4-BE49-F238E27FC236}">
                <a16:creationId xmlns:a16="http://schemas.microsoft.com/office/drawing/2014/main" id="{47767E1D-D3F5-4E55-B1F9-6696D055CBC6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2046288" y="3205163"/>
            <a:ext cx="68263" cy="250826"/>
          </a:xfrm>
          <a:custGeom>
            <a:avLst/>
            <a:gdLst/>
            <a:ahLst/>
            <a:cxnLst/>
            <a:rect l="0" t="0" r="0" b="0"/>
            <a:pathLst>
              <a:path w="68263" h="250826">
                <a:moveTo>
                  <a:pt x="68262" y="0"/>
                </a:moveTo>
                <a:lnTo>
                  <a:pt x="0" y="25082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45" name="Forme libre : forme 44">
            <a:extLst>
              <a:ext uri="{FF2B5EF4-FFF2-40B4-BE49-F238E27FC236}">
                <a16:creationId xmlns:a16="http://schemas.microsoft.com/office/drawing/2014/main" id="{97F229D2-F43A-40D3-99AD-54CC9E2C998B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2046288" y="2881313"/>
            <a:ext cx="68263" cy="250826"/>
          </a:xfrm>
          <a:custGeom>
            <a:avLst/>
            <a:gdLst/>
            <a:ahLst/>
            <a:cxnLst/>
            <a:rect l="0" t="0" r="0" b="0"/>
            <a:pathLst>
              <a:path w="68263" h="250826">
                <a:moveTo>
                  <a:pt x="68262" y="0"/>
                </a:moveTo>
                <a:lnTo>
                  <a:pt x="0" y="25082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30" name="Forme libre : forme 129">
            <a:extLst>
              <a:ext uri="{FF2B5EF4-FFF2-40B4-BE49-F238E27FC236}">
                <a16:creationId xmlns:a16="http://schemas.microsoft.com/office/drawing/2014/main" id="{5FAE99E4-35C7-402A-AA96-6378A4900D55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1989138" y="5468938"/>
            <a:ext cx="68263" cy="250826"/>
          </a:xfrm>
          <a:custGeom>
            <a:avLst/>
            <a:gdLst/>
            <a:ahLst/>
            <a:cxnLst/>
            <a:rect l="0" t="0" r="0" b="0"/>
            <a:pathLst>
              <a:path w="68263" h="250826">
                <a:moveTo>
                  <a:pt x="68262" y="0"/>
                </a:moveTo>
                <a:lnTo>
                  <a:pt x="0" y="25082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42" name="Forme libre : forme 41">
            <a:extLst>
              <a:ext uri="{FF2B5EF4-FFF2-40B4-BE49-F238E27FC236}">
                <a16:creationId xmlns:a16="http://schemas.microsoft.com/office/drawing/2014/main" id="{5413FF7F-7338-468F-960F-A420CBBFA399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2046288" y="2559050"/>
            <a:ext cx="66676" cy="249239"/>
          </a:xfrm>
          <a:custGeom>
            <a:avLst/>
            <a:gdLst/>
            <a:ahLst/>
            <a:cxnLst/>
            <a:rect l="0" t="0" r="0" b="0"/>
            <a:pathLst>
              <a:path w="66676" h="249239">
                <a:moveTo>
                  <a:pt x="66675" y="0"/>
                </a:moveTo>
                <a:lnTo>
                  <a:pt x="0" y="249238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13" name="Forme libre : forme 112">
            <a:extLst>
              <a:ext uri="{FF2B5EF4-FFF2-40B4-BE49-F238E27FC236}">
                <a16:creationId xmlns:a16="http://schemas.microsoft.com/office/drawing/2014/main" id="{61ED45C5-EE35-404D-ACDE-88CE08B9E321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989138" y="4175125"/>
            <a:ext cx="68263" cy="250826"/>
          </a:xfrm>
          <a:custGeom>
            <a:avLst/>
            <a:gdLst/>
            <a:ahLst/>
            <a:cxnLst/>
            <a:rect l="0" t="0" r="0" b="0"/>
            <a:pathLst>
              <a:path w="68263" h="250826">
                <a:moveTo>
                  <a:pt x="68262" y="0"/>
                </a:moveTo>
                <a:lnTo>
                  <a:pt x="0" y="25082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44" name="Forme libre : forme 43">
            <a:extLst>
              <a:ext uri="{FF2B5EF4-FFF2-40B4-BE49-F238E27FC236}">
                <a16:creationId xmlns:a16="http://schemas.microsoft.com/office/drawing/2014/main" id="{442F7474-D8F1-4FB3-A2D4-5DF65C979325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1989138" y="2881313"/>
            <a:ext cx="68263" cy="250826"/>
          </a:xfrm>
          <a:custGeom>
            <a:avLst/>
            <a:gdLst/>
            <a:ahLst/>
            <a:cxnLst/>
            <a:rect l="0" t="0" r="0" b="0"/>
            <a:pathLst>
              <a:path w="68263" h="250826">
                <a:moveTo>
                  <a:pt x="68262" y="0"/>
                </a:moveTo>
                <a:lnTo>
                  <a:pt x="0" y="25082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39" name="Forme libre : forme 38">
            <a:extLst>
              <a:ext uri="{FF2B5EF4-FFF2-40B4-BE49-F238E27FC236}">
                <a16:creationId xmlns:a16="http://schemas.microsoft.com/office/drawing/2014/main" id="{8130F204-C08E-4D9E-BB54-2ABD0E7D1883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2046288" y="2235200"/>
            <a:ext cx="68263" cy="250826"/>
          </a:xfrm>
          <a:custGeom>
            <a:avLst/>
            <a:gdLst/>
            <a:ahLst/>
            <a:cxnLst/>
            <a:rect l="0" t="0" r="0" b="0"/>
            <a:pathLst>
              <a:path w="68263" h="250826">
                <a:moveTo>
                  <a:pt x="68262" y="0"/>
                </a:moveTo>
                <a:lnTo>
                  <a:pt x="0" y="25082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17" name="Forme libre : forme 116">
            <a:extLst>
              <a:ext uri="{FF2B5EF4-FFF2-40B4-BE49-F238E27FC236}">
                <a16:creationId xmlns:a16="http://schemas.microsoft.com/office/drawing/2014/main" id="{BE4CDC29-83AC-43D7-8938-F80763F0CBE0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1989138" y="4498975"/>
            <a:ext cx="68263" cy="250826"/>
          </a:xfrm>
          <a:custGeom>
            <a:avLst/>
            <a:gdLst/>
            <a:ahLst/>
            <a:cxnLst/>
            <a:rect l="0" t="0" r="0" b="0"/>
            <a:pathLst>
              <a:path w="68263" h="250826">
                <a:moveTo>
                  <a:pt x="68262" y="0"/>
                </a:moveTo>
                <a:lnTo>
                  <a:pt x="0" y="25082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26" name="Forme libre : forme 125">
            <a:extLst>
              <a:ext uri="{FF2B5EF4-FFF2-40B4-BE49-F238E27FC236}">
                <a16:creationId xmlns:a16="http://schemas.microsoft.com/office/drawing/2014/main" id="{8446B20A-5909-40D9-8450-B89A36B6FB76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1989138" y="5146675"/>
            <a:ext cx="66676" cy="249239"/>
          </a:xfrm>
          <a:custGeom>
            <a:avLst/>
            <a:gdLst/>
            <a:ahLst/>
            <a:cxnLst/>
            <a:rect l="0" t="0" r="0" b="0"/>
            <a:pathLst>
              <a:path w="66676" h="249239">
                <a:moveTo>
                  <a:pt x="66675" y="0"/>
                </a:moveTo>
                <a:lnTo>
                  <a:pt x="0" y="249238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35" name="Forme libre : forme 34">
            <a:extLst>
              <a:ext uri="{FF2B5EF4-FFF2-40B4-BE49-F238E27FC236}">
                <a16:creationId xmlns:a16="http://schemas.microsoft.com/office/drawing/2014/main" id="{2457ED71-E4ED-42AF-921E-8D6911BD88CD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1989138" y="1911350"/>
            <a:ext cx="68263" cy="250826"/>
          </a:xfrm>
          <a:custGeom>
            <a:avLst/>
            <a:gdLst/>
            <a:ahLst/>
            <a:cxnLst/>
            <a:rect l="0" t="0" r="0" b="0"/>
            <a:pathLst>
              <a:path w="68263" h="250826">
                <a:moveTo>
                  <a:pt x="68262" y="0"/>
                </a:moveTo>
                <a:lnTo>
                  <a:pt x="0" y="25082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0" name="Forme libre : forme 49">
            <a:extLst>
              <a:ext uri="{FF2B5EF4-FFF2-40B4-BE49-F238E27FC236}">
                <a16:creationId xmlns:a16="http://schemas.microsoft.com/office/drawing/2014/main" id="{54E5E999-BBDE-4497-9501-4C48FD0DAD65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1989138" y="3529013"/>
            <a:ext cx="68263" cy="250826"/>
          </a:xfrm>
          <a:custGeom>
            <a:avLst/>
            <a:gdLst/>
            <a:ahLst/>
            <a:cxnLst/>
            <a:rect l="0" t="0" r="0" b="0"/>
            <a:pathLst>
              <a:path w="68263" h="250826">
                <a:moveTo>
                  <a:pt x="68262" y="0"/>
                </a:moveTo>
                <a:lnTo>
                  <a:pt x="0" y="25082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1" name="Forme libre : forme 50">
            <a:extLst>
              <a:ext uri="{FF2B5EF4-FFF2-40B4-BE49-F238E27FC236}">
                <a16:creationId xmlns:a16="http://schemas.microsoft.com/office/drawing/2014/main" id="{8FE5634D-073C-458B-8E65-FDD12A69DF91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2046288" y="3529013"/>
            <a:ext cx="68263" cy="250826"/>
          </a:xfrm>
          <a:custGeom>
            <a:avLst/>
            <a:gdLst/>
            <a:ahLst/>
            <a:cxnLst/>
            <a:rect l="0" t="0" r="0" b="0"/>
            <a:pathLst>
              <a:path w="68263" h="250826">
                <a:moveTo>
                  <a:pt x="68262" y="0"/>
                </a:moveTo>
                <a:lnTo>
                  <a:pt x="0" y="25082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3" name="Forme libre : forme 52">
            <a:extLst>
              <a:ext uri="{FF2B5EF4-FFF2-40B4-BE49-F238E27FC236}">
                <a16:creationId xmlns:a16="http://schemas.microsoft.com/office/drawing/2014/main" id="{60DDD153-2598-4CC0-8005-A3B45334EABB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1989138" y="3852863"/>
            <a:ext cx="66676" cy="249238"/>
          </a:xfrm>
          <a:custGeom>
            <a:avLst/>
            <a:gdLst/>
            <a:ahLst/>
            <a:cxnLst/>
            <a:rect l="0" t="0" r="0" b="0"/>
            <a:pathLst>
              <a:path w="66676" h="249238">
                <a:moveTo>
                  <a:pt x="66675" y="0"/>
                </a:moveTo>
                <a:lnTo>
                  <a:pt x="0" y="249237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14" name="Forme libre : forme 113">
            <a:extLst>
              <a:ext uri="{FF2B5EF4-FFF2-40B4-BE49-F238E27FC236}">
                <a16:creationId xmlns:a16="http://schemas.microsoft.com/office/drawing/2014/main" id="{DFD45AB0-561C-43A5-AE54-1D63047EFFCC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2046288" y="4175125"/>
            <a:ext cx="68263" cy="250826"/>
          </a:xfrm>
          <a:custGeom>
            <a:avLst/>
            <a:gdLst/>
            <a:ahLst/>
            <a:cxnLst/>
            <a:rect l="0" t="0" r="0" b="0"/>
            <a:pathLst>
              <a:path w="68263" h="250826">
                <a:moveTo>
                  <a:pt x="68262" y="0"/>
                </a:moveTo>
                <a:lnTo>
                  <a:pt x="0" y="25082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38" name="Forme libre : forme 37">
            <a:extLst>
              <a:ext uri="{FF2B5EF4-FFF2-40B4-BE49-F238E27FC236}">
                <a16:creationId xmlns:a16="http://schemas.microsoft.com/office/drawing/2014/main" id="{410B568B-07BB-427C-9435-AC688A9E75B4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1989138" y="2235200"/>
            <a:ext cx="68263" cy="250826"/>
          </a:xfrm>
          <a:custGeom>
            <a:avLst/>
            <a:gdLst/>
            <a:ahLst/>
            <a:cxnLst/>
            <a:rect l="0" t="0" r="0" b="0"/>
            <a:pathLst>
              <a:path w="68263" h="250826">
                <a:moveTo>
                  <a:pt x="68262" y="0"/>
                </a:moveTo>
                <a:lnTo>
                  <a:pt x="0" y="25082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36" name="Forme libre : forme 35">
            <a:extLst>
              <a:ext uri="{FF2B5EF4-FFF2-40B4-BE49-F238E27FC236}">
                <a16:creationId xmlns:a16="http://schemas.microsoft.com/office/drawing/2014/main" id="{04DA73F6-4FC8-46F9-A034-1760182716CE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2046288" y="1911350"/>
            <a:ext cx="68263" cy="250826"/>
          </a:xfrm>
          <a:custGeom>
            <a:avLst/>
            <a:gdLst/>
            <a:ahLst/>
            <a:cxnLst/>
            <a:rect l="0" t="0" r="0" b="0"/>
            <a:pathLst>
              <a:path w="68263" h="250826">
                <a:moveTo>
                  <a:pt x="68262" y="0"/>
                </a:moveTo>
                <a:lnTo>
                  <a:pt x="0" y="25082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20" name="Forme libre : forme 119">
            <a:extLst>
              <a:ext uri="{FF2B5EF4-FFF2-40B4-BE49-F238E27FC236}">
                <a16:creationId xmlns:a16="http://schemas.microsoft.com/office/drawing/2014/main" id="{C52DE74C-BD50-4FEE-8D0A-011028B64CBB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1989138" y="4822825"/>
            <a:ext cx="68263" cy="250826"/>
          </a:xfrm>
          <a:custGeom>
            <a:avLst/>
            <a:gdLst/>
            <a:ahLst/>
            <a:cxnLst/>
            <a:rect l="0" t="0" r="0" b="0"/>
            <a:pathLst>
              <a:path w="68263" h="250826">
                <a:moveTo>
                  <a:pt x="68262" y="0"/>
                </a:moveTo>
                <a:lnTo>
                  <a:pt x="0" y="25082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28" name="Forme libre : forme 127">
            <a:extLst>
              <a:ext uri="{FF2B5EF4-FFF2-40B4-BE49-F238E27FC236}">
                <a16:creationId xmlns:a16="http://schemas.microsoft.com/office/drawing/2014/main" id="{3349DF83-29C4-4BD3-A1DC-2CD56251B8E4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2046288" y="5146675"/>
            <a:ext cx="66676" cy="249239"/>
          </a:xfrm>
          <a:custGeom>
            <a:avLst/>
            <a:gdLst/>
            <a:ahLst/>
            <a:cxnLst/>
            <a:rect l="0" t="0" r="0" b="0"/>
            <a:pathLst>
              <a:path w="66676" h="249239">
                <a:moveTo>
                  <a:pt x="66675" y="0"/>
                </a:moveTo>
                <a:lnTo>
                  <a:pt x="0" y="249238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21" name="Forme libre : forme 120">
            <a:extLst>
              <a:ext uri="{FF2B5EF4-FFF2-40B4-BE49-F238E27FC236}">
                <a16:creationId xmlns:a16="http://schemas.microsoft.com/office/drawing/2014/main" id="{E5223F6C-7E3F-4C26-9595-5353CA77B4E3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2046288" y="4822825"/>
            <a:ext cx="68263" cy="250826"/>
          </a:xfrm>
          <a:custGeom>
            <a:avLst/>
            <a:gdLst/>
            <a:ahLst/>
            <a:cxnLst/>
            <a:rect l="0" t="0" r="0" b="0"/>
            <a:pathLst>
              <a:path w="68263" h="250826">
                <a:moveTo>
                  <a:pt x="68262" y="0"/>
                </a:moveTo>
                <a:lnTo>
                  <a:pt x="0" y="25082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131" name="Forme libre : forme 130">
            <a:extLst>
              <a:ext uri="{FF2B5EF4-FFF2-40B4-BE49-F238E27FC236}">
                <a16:creationId xmlns:a16="http://schemas.microsoft.com/office/drawing/2014/main" id="{DE28375B-FFF1-48A3-B50B-732FF257C6F5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2046288" y="5468938"/>
            <a:ext cx="68263" cy="250826"/>
          </a:xfrm>
          <a:custGeom>
            <a:avLst/>
            <a:gdLst/>
            <a:ahLst/>
            <a:cxnLst/>
            <a:rect l="0" t="0" r="0" b="0"/>
            <a:pathLst>
              <a:path w="68263" h="250826">
                <a:moveTo>
                  <a:pt x="68262" y="0"/>
                </a:moveTo>
                <a:lnTo>
                  <a:pt x="0" y="25082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47" name="Forme libre : forme 46">
            <a:extLst>
              <a:ext uri="{FF2B5EF4-FFF2-40B4-BE49-F238E27FC236}">
                <a16:creationId xmlns:a16="http://schemas.microsoft.com/office/drawing/2014/main" id="{35B1A52C-62C5-4752-A845-BC04FE4761A6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1989138" y="3205163"/>
            <a:ext cx="68263" cy="250826"/>
          </a:xfrm>
          <a:custGeom>
            <a:avLst/>
            <a:gdLst/>
            <a:ahLst/>
            <a:cxnLst/>
            <a:rect l="0" t="0" r="0" b="0"/>
            <a:pathLst>
              <a:path w="68263" h="250826">
                <a:moveTo>
                  <a:pt x="68262" y="0"/>
                </a:moveTo>
                <a:lnTo>
                  <a:pt x="0" y="250825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cxnSp>
        <p:nvCxnSpPr>
          <p:cNvPr id="88" name="Connecteur droit 87"/>
          <p:cNvCxnSpPr/>
          <p:nvPr>
            <p:custDataLst>
              <p:tags r:id="rId57"/>
            </p:custDataLst>
          </p:nvPr>
        </p:nvCxnSpPr>
        <p:spPr bwMode="gray">
          <a:xfrm>
            <a:off x="2897188" y="5662614"/>
            <a:ext cx="0" cy="93663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20EA94EE-398A-4DF4-AC59-5B22C4BBB1AB}"/>
              </a:ext>
            </a:extLst>
          </p:cNvPr>
          <p:cNvCxnSpPr/>
          <p:nvPr>
            <p:custDataLst>
              <p:tags r:id="rId58"/>
            </p:custDataLst>
          </p:nvPr>
        </p:nvCxnSpPr>
        <p:spPr bwMode="gray">
          <a:xfrm>
            <a:off x="2897188" y="2751137"/>
            <a:ext cx="0" cy="2128838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Connecteur droit 91"/>
          <p:cNvCxnSpPr/>
          <p:nvPr>
            <p:custDataLst>
              <p:tags r:id="rId59"/>
            </p:custDataLst>
          </p:nvPr>
        </p:nvCxnSpPr>
        <p:spPr bwMode="gray">
          <a:xfrm>
            <a:off x="2897188" y="1874838"/>
            <a:ext cx="0" cy="739775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93D8390A-BE30-45CC-8D07-D41F06553ABC}"/>
              </a:ext>
            </a:extLst>
          </p:cNvPr>
          <p:cNvCxnSpPr/>
          <p:nvPr>
            <p:custDataLst>
              <p:tags r:id="rId60"/>
            </p:custDataLst>
          </p:nvPr>
        </p:nvCxnSpPr>
        <p:spPr bwMode="gray">
          <a:xfrm>
            <a:off x="2897188" y="5016500"/>
            <a:ext cx="0" cy="185738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F66A5E5C-1101-468E-BC6D-7911565643E0}"/>
              </a:ext>
            </a:extLst>
          </p:cNvPr>
          <p:cNvCxnSpPr/>
          <p:nvPr>
            <p:custDataLst>
              <p:tags r:id="rId61"/>
            </p:custDataLst>
          </p:nvPr>
        </p:nvCxnSpPr>
        <p:spPr bwMode="gray">
          <a:xfrm>
            <a:off x="2897188" y="5338764"/>
            <a:ext cx="0" cy="187325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Flèche droite 86"/>
          <p:cNvSpPr/>
          <p:nvPr>
            <p:custDataLst>
              <p:tags r:id="rId62"/>
            </p:custDataLst>
          </p:nvPr>
        </p:nvSpPr>
        <p:spPr bwMode="auto">
          <a:xfrm rot="16200000">
            <a:off x="2833688" y="579437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C5D09978-7421-4544-ABBD-52F90FD2E871}"/>
              </a:ext>
            </a:extLst>
          </p:cNvPr>
          <p:cNvSpPr/>
          <p:nvPr>
            <p:custDataLst>
              <p:tags r:id="rId63"/>
            </p:custDataLst>
          </p:nvPr>
        </p:nvSpPr>
        <p:spPr bwMode="gray">
          <a:xfrm>
            <a:off x="3962400" y="4232276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E855669-9056-4F5E-9850-E14157C80464}" type="datetime'''''''''''''''''''''''7''''2''''''''''%'">
              <a:rPr lang="fr-MA" altLang="en-US" sz="9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72%</a:t>
            </a:fld>
            <a:endParaRPr lang="fr-MA" sz="900" dirty="0">
              <a:sym typeface="+mn-lt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5C51BCE2-0573-4E74-A869-D5942214D13B}"/>
              </a:ext>
            </a:extLst>
          </p:cNvPr>
          <p:cNvSpPr/>
          <p:nvPr>
            <p:custDataLst>
              <p:tags r:id="rId64"/>
            </p:custDataLst>
          </p:nvPr>
        </p:nvSpPr>
        <p:spPr bwMode="gray">
          <a:xfrm>
            <a:off x="3119438" y="1968501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059991F-4B92-48DC-8504-B9C3D3C698C4}" type="datetime'''''''63''''''''''''%'''''''''''">
              <a:rPr lang="fr-MA" altLang="en-US" sz="9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63%</a:t>
            </a:fld>
            <a:endParaRPr lang="fr-MA" sz="900" dirty="0">
              <a:sym typeface="+mn-lt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FB5B54CD-2796-448F-9431-CD1081C96A9E}"/>
              </a:ext>
            </a:extLst>
          </p:cNvPr>
          <p:cNvSpPr/>
          <p:nvPr>
            <p:custDataLst>
              <p:tags r:id="rId65"/>
            </p:custDataLst>
          </p:nvPr>
        </p:nvSpPr>
        <p:spPr bwMode="gray">
          <a:xfrm>
            <a:off x="2641600" y="4879976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003A9B9-99B0-4153-9C4E-591E26E5F623}" type="datetime'''''''''''''''''5''7''''''''''''''''%'''''''''''''''''''">
              <a:rPr lang="fr-MA" altLang="en-US" sz="9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57%</a:t>
            </a:fld>
            <a:endParaRPr lang="fr-MA" sz="900" dirty="0">
              <a:sym typeface="+mn-lt"/>
            </a:endParaRPr>
          </a:p>
        </p:txBody>
      </p:sp>
      <p:sp>
        <p:nvSpPr>
          <p:cNvPr id="93" name="Rectangle 92"/>
          <p:cNvSpPr/>
          <p:nvPr>
            <p:custDataLst>
              <p:tags r:id="rId66"/>
            </p:custDataLst>
          </p:nvPr>
        </p:nvSpPr>
        <p:spPr bwMode="auto">
          <a:xfrm>
            <a:off x="2833688" y="5986463"/>
            <a:ext cx="127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A0EAE1CD-156F-4E25-A53E-E31BD763192A}" type="datetime'''''''''''''''6''''0'''">
              <a:rPr lang="fr-MA" altLang="en-US" sz="900" b="1" smtClean="0">
                <a:solidFill>
                  <a:srgbClr val="000000"/>
                </a:solidFill>
              </a:rPr>
              <a:pPr/>
              <a:t>60</a:t>
            </a:fld>
            <a:endParaRPr kumimoji="0" lang="fr-FR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sym typeface="+mn-lt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02E697C8-3ECB-4206-93AF-B49ED13A3F1D}"/>
              </a:ext>
            </a:extLst>
          </p:cNvPr>
          <p:cNvSpPr/>
          <p:nvPr>
            <p:custDataLst>
              <p:tags r:id="rId67"/>
            </p:custDataLst>
          </p:nvPr>
        </p:nvSpPr>
        <p:spPr bwMode="gray">
          <a:xfrm>
            <a:off x="2641600" y="5202239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5645F9A-6C8E-4BA6-B8FD-66398ED4788B}" type="datetime'5''''''''''''''7%'''''''''''''''''''''''''''''''''''''''">
              <a:rPr lang="fr-MA" altLang="en-US" sz="9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57%</a:t>
            </a:fld>
            <a:endParaRPr lang="fr-MA" sz="900" dirty="0">
              <a:sym typeface="+mn-lt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38AEF055-6639-4A9C-B572-4DB9B66FE4A9}"/>
              </a:ext>
            </a:extLst>
          </p:cNvPr>
          <p:cNvSpPr/>
          <p:nvPr>
            <p:custDataLst>
              <p:tags r:id="rId68"/>
            </p:custDataLst>
          </p:nvPr>
        </p:nvSpPr>
        <p:spPr bwMode="gray">
          <a:xfrm>
            <a:off x="2989263" y="2292351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5D4264A-8921-40FE-A2FC-C43B940672C0}" type="datetime'''''''''''''''6''''''1''''''''''''''''''%'''''''''''''">
              <a:rPr lang="fr-MA" altLang="en-US" sz="9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61%</a:t>
            </a:fld>
            <a:endParaRPr lang="fr-MA" sz="900" dirty="0">
              <a:sym typeface="+mn-lt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FF75D6A6-C31D-496E-A40A-27B398546479}"/>
              </a:ext>
            </a:extLst>
          </p:cNvPr>
          <p:cNvSpPr/>
          <p:nvPr>
            <p:custDataLst>
              <p:tags r:id="rId69"/>
            </p:custDataLst>
          </p:nvPr>
        </p:nvSpPr>
        <p:spPr bwMode="gray">
          <a:xfrm>
            <a:off x="3632200" y="3908426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EE87D09-26C8-42FD-A3B1-5702494ECC0F}" type="datetime'''69''''''''''''''''''''%'''''''''''''''''''''''''''''">
              <a:rPr lang="fr-MA" altLang="en-US" sz="9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69%</a:t>
            </a:fld>
            <a:endParaRPr lang="fr-MA" sz="900" dirty="0">
              <a:sym typeface="+mn-lt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D7DA8757-844A-4683-B756-097FA9B0EE78}"/>
              </a:ext>
            </a:extLst>
          </p:cNvPr>
          <p:cNvSpPr/>
          <p:nvPr>
            <p:custDataLst>
              <p:tags r:id="rId70"/>
            </p:custDataLst>
          </p:nvPr>
        </p:nvSpPr>
        <p:spPr bwMode="gray">
          <a:xfrm>
            <a:off x="2824163" y="2614614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1C59EFE-0305-4DF7-8BFD-3DF52F0A1929}" type="datetime'''''''''''''''''''''''''5''9''''''%'''''''''">
              <a:rPr lang="fr-MA" altLang="en-US" sz="9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59%</a:t>
            </a:fld>
            <a:endParaRPr lang="fr-MA" sz="900" dirty="0">
              <a:sym typeface="+mn-lt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04263E88-8E86-41AC-973C-16257D787E25}"/>
              </a:ext>
            </a:extLst>
          </p:cNvPr>
          <p:cNvSpPr/>
          <p:nvPr>
            <p:custDataLst>
              <p:tags r:id="rId71"/>
            </p:custDataLst>
          </p:nvPr>
        </p:nvSpPr>
        <p:spPr bwMode="gray">
          <a:xfrm>
            <a:off x="2911475" y="2938464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9C18831-FB55-4CCA-8230-CF0F274C99F4}" type="datetime'''''''''''''''''''''''6''''''0''''''''''''%'''''''''">
              <a:rPr lang="fr-MA" altLang="en-US" sz="9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60%</a:t>
            </a:fld>
            <a:endParaRPr lang="fr-MA" sz="900" dirty="0">
              <a:sym typeface="+mn-lt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9AB582DE-98DB-4308-86EE-1819A9F34802}"/>
              </a:ext>
            </a:extLst>
          </p:cNvPr>
          <p:cNvSpPr/>
          <p:nvPr>
            <p:custDataLst>
              <p:tags r:id="rId72"/>
            </p:custDataLst>
          </p:nvPr>
        </p:nvSpPr>
        <p:spPr bwMode="gray">
          <a:xfrm>
            <a:off x="2163763" y="3262314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0BF413C-54C5-4C51-8E27-18559D831E95}" type="datetime'''''5''''2%'''''''''''''''''''''''''''''''''''">
              <a:rPr lang="fr-MA" altLang="en-US" sz="9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52%</a:t>
            </a:fld>
            <a:endParaRPr lang="fr-MA" sz="900" dirty="0">
              <a:sym typeface="+mn-lt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352AF6B4-0F64-4ABF-BE80-9FE65C52FB7D}"/>
              </a:ext>
            </a:extLst>
          </p:cNvPr>
          <p:cNvSpPr/>
          <p:nvPr>
            <p:custDataLst>
              <p:tags r:id="rId73"/>
            </p:custDataLst>
          </p:nvPr>
        </p:nvSpPr>
        <p:spPr bwMode="gray">
          <a:xfrm>
            <a:off x="2511425" y="3586164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A951880-466B-42F8-89D4-EE784F428536}" type="datetime'''''''5''''6''%'''''''''''''''''''''''">
              <a:rPr lang="fr-MA" altLang="en-US" sz="9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56%</a:t>
            </a:fld>
            <a:endParaRPr lang="fr-MA" sz="900" dirty="0">
              <a:sym typeface="+mn-lt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94077499-EF63-4527-9079-5FCAF30D6BD9}"/>
              </a:ext>
            </a:extLst>
          </p:cNvPr>
          <p:cNvSpPr/>
          <p:nvPr>
            <p:custDataLst>
              <p:tags r:id="rId74"/>
            </p:custDataLst>
          </p:nvPr>
        </p:nvSpPr>
        <p:spPr bwMode="gray">
          <a:xfrm>
            <a:off x="3032125" y="4556126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09100A1-E511-4669-B028-79831C311958}" type="datetime'''''''''''''''''6''''''''''2%'''''''''''''''''">
              <a:rPr lang="fr-MA" altLang="en-US" sz="9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62%</a:t>
            </a:fld>
            <a:endParaRPr lang="fr-MA" sz="900" dirty="0">
              <a:sym typeface="+mn-lt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3D087DF6-2411-4132-A8B2-A2F6A169D181}"/>
              </a:ext>
            </a:extLst>
          </p:cNvPr>
          <p:cNvSpPr/>
          <p:nvPr>
            <p:custDataLst>
              <p:tags r:id="rId75"/>
            </p:custDataLst>
          </p:nvPr>
        </p:nvSpPr>
        <p:spPr bwMode="gray">
          <a:xfrm>
            <a:off x="2641600" y="5526089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CBBB4FA-EFD8-4B1A-B95E-6346E56F38EE}" type="datetime'5''''''''''''''''''''''''''7%'''''''''''''''''''''''''''''">
              <a:rPr lang="fr-MA" altLang="en-US" sz="9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57%</a:t>
            </a:fld>
            <a:endParaRPr lang="fr-MA" sz="900" dirty="0">
              <a:sym typeface="+mn-lt"/>
            </a:endParaRPr>
          </a:p>
        </p:txBody>
      </p:sp>
      <p:sp>
        <p:nvSpPr>
          <p:cNvPr id="94" name="Rectangle 93"/>
          <p:cNvSpPr/>
          <p:nvPr/>
        </p:nvSpPr>
        <p:spPr bwMode="gray">
          <a:xfrm>
            <a:off x="471805" y="5904229"/>
            <a:ext cx="1031875" cy="312737"/>
          </a:xfrm>
          <a:prstGeom prst="rect">
            <a:avLst/>
          </a:prstGeom>
          <a:noFill/>
          <a:ln>
            <a:noFill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t>Moyenne Maroc</a:t>
            </a:r>
          </a:p>
        </p:txBody>
      </p:sp>
      <p:sp>
        <p:nvSpPr>
          <p:cNvPr id="125" name="ZoneTexte 124">
            <a:extLst>
              <a:ext uri="{FF2B5EF4-FFF2-40B4-BE49-F238E27FC236}">
                <a16:creationId xmlns:a16="http://schemas.microsoft.com/office/drawing/2014/main" id="{86463531-9E91-42D8-A25F-6D67DB488EDD}"/>
              </a:ext>
            </a:extLst>
          </p:cNvPr>
          <p:cNvSpPr txBox="1"/>
          <p:nvPr/>
        </p:nvSpPr>
        <p:spPr>
          <a:xfrm>
            <a:off x="0" y="6634955"/>
            <a:ext cx="7686305" cy="18599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213258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t>Sources : Enquêtes CGEM sur l’impact du COVID19 </a:t>
            </a:r>
            <a:r>
              <a:rPr kumimoji="0" lang="fr-MA" sz="800" b="0" i="0" u="none" strike="noStrike" kern="1200" cap="none" spc="0" normalizeH="0" baseline="0" noProof="0" dirty="0">
                <a:ln>
                  <a:noFill/>
                </a:ln>
                <a:solidFill>
                  <a:srgbClr val="213258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t>(entre 19 juin et le 13 juillet 2020) et de Mai 2020; CNSS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213258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cxnSp>
        <p:nvCxnSpPr>
          <p:cNvPr id="154" name="Connecteur droit 153"/>
          <p:cNvCxnSpPr>
            <a:cxnSpLocks/>
          </p:cNvCxnSpPr>
          <p:nvPr/>
        </p:nvCxnSpPr>
        <p:spPr>
          <a:xfrm>
            <a:off x="4244700" y="1641115"/>
            <a:ext cx="0" cy="4658085"/>
          </a:xfrm>
          <a:prstGeom prst="line">
            <a:avLst/>
          </a:prstGeom>
          <a:ln>
            <a:solidFill>
              <a:srgbClr val="CAC2A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itre 1"/>
          <p:cNvSpPr txBox="1">
            <a:spLocks/>
          </p:cNvSpPr>
          <p:nvPr/>
        </p:nvSpPr>
        <p:spPr bwMode="auto">
          <a:xfrm>
            <a:off x="122014" y="235055"/>
            <a:ext cx="8793075" cy="314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2944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179" algn="l"/>
              </a:tabLst>
              <a:defRPr lang="fr-FR" sz="2041" b="1" baseline="0" noProof="0" dirty="0">
                <a:solidFill>
                  <a:schemeClr val="tx2"/>
                </a:solidFill>
                <a:latin typeface="Gill Sans"/>
                <a:ea typeface="Arial Unicode MS" pitchFamily="34" charset="-128"/>
                <a:cs typeface="Arial Unicode MS" pitchFamily="34" charset="-128"/>
              </a:defRPr>
            </a:lvl1pPr>
            <a:lvl2pPr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181"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369"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8555"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4738"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29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179" algn="l"/>
              </a:tabLst>
              <a:defRPr/>
            </a:pPr>
            <a:r>
              <a:rPr lang="fr-MA" dirty="0"/>
              <a:t>Un impact économique majeur de la crise dans toutes les régions </a:t>
            </a:r>
          </a:p>
        </p:txBody>
      </p:sp>
      <p:graphicFrame>
        <p:nvGraphicFramePr>
          <p:cNvPr id="539" name="Chart 3">
            <a:extLst>
              <a:ext uri="{FF2B5EF4-FFF2-40B4-BE49-F238E27FC236}">
                <a16:creationId xmlns:a16="http://schemas.microsoft.com/office/drawing/2014/main" id="{437B74AC-3005-44EB-8C1D-61F698F9FB84}"/>
              </a:ext>
            </a:extLst>
          </p:cNvPr>
          <p:cNvGraphicFramePr/>
          <p:nvPr>
            <p:custDataLst>
              <p:tags r:id="rId76"/>
            </p:custDataLst>
          </p:nvPr>
        </p:nvGraphicFramePr>
        <p:xfrm>
          <a:off x="4456113" y="1836738"/>
          <a:ext cx="2139950" cy="4002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6"/>
          </a:graphicData>
        </a:graphic>
      </p:graphicFrame>
      <p:sp useBgFill="1">
        <p:nvSpPr>
          <p:cNvPr id="519" name="Forme libre : forme 518">
            <a:extLst>
              <a:ext uri="{FF2B5EF4-FFF2-40B4-BE49-F238E27FC236}">
                <a16:creationId xmlns:a16="http://schemas.microsoft.com/office/drawing/2014/main" id="{A18BD548-5544-413C-BF00-75214B6607B7}"/>
              </a:ext>
            </a:extLst>
          </p:cNvPr>
          <p:cNvSpPr/>
          <p:nvPr>
            <p:custDataLst>
              <p:tags r:id="rId77"/>
            </p:custDataLst>
          </p:nvPr>
        </p:nvSpPr>
        <p:spPr bwMode="auto">
          <a:xfrm>
            <a:off x="4564064" y="3552825"/>
            <a:ext cx="123825" cy="249239"/>
          </a:xfrm>
          <a:custGeom>
            <a:avLst/>
            <a:gdLst/>
            <a:ahLst/>
            <a:cxnLst/>
            <a:rect l="0" t="0" r="0" b="0"/>
            <a:pathLst>
              <a:path w="123826" h="249239">
                <a:moveTo>
                  <a:pt x="123825" y="0"/>
                </a:moveTo>
                <a:lnTo>
                  <a:pt x="57150" y="249238"/>
                </a:lnTo>
                <a:lnTo>
                  <a:pt x="0" y="249238"/>
                </a:lnTo>
                <a:lnTo>
                  <a:pt x="66675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 useBgFill="1">
        <p:nvSpPr>
          <p:cNvPr id="507" name="Forme libre : forme 506">
            <a:extLst>
              <a:ext uri="{FF2B5EF4-FFF2-40B4-BE49-F238E27FC236}">
                <a16:creationId xmlns:a16="http://schemas.microsoft.com/office/drawing/2014/main" id="{F4AF0CFC-086B-42FD-999B-95F3D941B07A}"/>
              </a:ext>
            </a:extLst>
          </p:cNvPr>
          <p:cNvSpPr/>
          <p:nvPr>
            <p:custDataLst>
              <p:tags r:id="rId78"/>
            </p:custDataLst>
          </p:nvPr>
        </p:nvSpPr>
        <p:spPr bwMode="auto">
          <a:xfrm>
            <a:off x="4564064" y="2273300"/>
            <a:ext cx="123825" cy="249239"/>
          </a:xfrm>
          <a:custGeom>
            <a:avLst/>
            <a:gdLst/>
            <a:ahLst/>
            <a:cxnLst/>
            <a:rect l="0" t="0" r="0" b="0"/>
            <a:pathLst>
              <a:path w="123826" h="249239">
                <a:moveTo>
                  <a:pt x="123825" y="0"/>
                </a:moveTo>
                <a:lnTo>
                  <a:pt x="57150" y="249238"/>
                </a:lnTo>
                <a:lnTo>
                  <a:pt x="0" y="249238"/>
                </a:lnTo>
                <a:lnTo>
                  <a:pt x="66675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 useBgFill="1">
        <p:nvSpPr>
          <p:cNvPr id="522" name="Forme libre : forme 521">
            <a:extLst>
              <a:ext uri="{FF2B5EF4-FFF2-40B4-BE49-F238E27FC236}">
                <a16:creationId xmlns:a16="http://schemas.microsoft.com/office/drawing/2014/main" id="{FC783AF4-B9E6-4C5B-BD33-F92BA78A69D2}"/>
              </a:ext>
            </a:extLst>
          </p:cNvPr>
          <p:cNvSpPr/>
          <p:nvPr>
            <p:custDataLst>
              <p:tags r:id="rId79"/>
            </p:custDataLst>
          </p:nvPr>
        </p:nvSpPr>
        <p:spPr bwMode="auto">
          <a:xfrm>
            <a:off x="4564064" y="3873500"/>
            <a:ext cx="123825" cy="247651"/>
          </a:xfrm>
          <a:custGeom>
            <a:avLst/>
            <a:gdLst/>
            <a:ahLst/>
            <a:cxnLst/>
            <a:rect l="0" t="0" r="0" b="0"/>
            <a:pathLst>
              <a:path w="123826" h="247651">
                <a:moveTo>
                  <a:pt x="123825" y="0"/>
                </a:moveTo>
                <a:lnTo>
                  <a:pt x="57150" y="247650"/>
                </a:lnTo>
                <a:lnTo>
                  <a:pt x="0" y="247650"/>
                </a:lnTo>
                <a:lnTo>
                  <a:pt x="66675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 useBgFill="1">
        <p:nvSpPr>
          <p:cNvPr id="528" name="Forme libre : forme 527">
            <a:extLst>
              <a:ext uri="{FF2B5EF4-FFF2-40B4-BE49-F238E27FC236}">
                <a16:creationId xmlns:a16="http://schemas.microsoft.com/office/drawing/2014/main" id="{842E15D9-A881-4F31-9DB7-040713300B87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4564064" y="4511675"/>
            <a:ext cx="123825" cy="249239"/>
          </a:xfrm>
          <a:custGeom>
            <a:avLst/>
            <a:gdLst/>
            <a:ahLst/>
            <a:cxnLst/>
            <a:rect l="0" t="0" r="0" b="0"/>
            <a:pathLst>
              <a:path w="123826" h="249239">
                <a:moveTo>
                  <a:pt x="123825" y="0"/>
                </a:moveTo>
                <a:lnTo>
                  <a:pt x="57150" y="249238"/>
                </a:lnTo>
                <a:lnTo>
                  <a:pt x="0" y="249238"/>
                </a:lnTo>
                <a:lnTo>
                  <a:pt x="66675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 useBgFill="1">
        <p:nvSpPr>
          <p:cNvPr id="534" name="Forme libre : forme 533">
            <a:extLst>
              <a:ext uri="{FF2B5EF4-FFF2-40B4-BE49-F238E27FC236}">
                <a16:creationId xmlns:a16="http://schemas.microsoft.com/office/drawing/2014/main" id="{87F532BB-5253-4FB0-A445-B644CF55292F}"/>
              </a:ext>
            </a:extLst>
          </p:cNvPr>
          <p:cNvSpPr/>
          <p:nvPr>
            <p:custDataLst>
              <p:tags r:id="rId81"/>
            </p:custDataLst>
          </p:nvPr>
        </p:nvSpPr>
        <p:spPr bwMode="auto">
          <a:xfrm>
            <a:off x="4564064" y="5151438"/>
            <a:ext cx="123825" cy="249238"/>
          </a:xfrm>
          <a:custGeom>
            <a:avLst/>
            <a:gdLst/>
            <a:ahLst/>
            <a:cxnLst/>
            <a:rect l="0" t="0" r="0" b="0"/>
            <a:pathLst>
              <a:path w="123826" h="249238">
                <a:moveTo>
                  <a:pt x="123825" y="0"/>
                </a:moveTo>
                <a:lnTo>
                  <a:pt x="57150" y="249237"/>
                </a:lnTo>
                <a:lnTo>
                  <a:pt x="0" y="249237"/>
                </a:lnTo>
                <a:lnTo>
                  <a:pt x="66675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 useBgFill="1">
        <p:nvSpPr>
          <p:cNvPr id="504" name="Forme libre : forme 503">
            <a:extLst>
              <a:ext uri="{FF2B5EF4-FFF2-40B4-BE49-F238E27FC236}">
                <a16:creationId xmlns:a16="http://schemas.microsoft.com/office/drawing/2014/main" id="{5A7D1BC0-92C7-4002-B7FE-8B84BA244D86}"/>
              </a:ext>
            </a:extLst>
          </p:cNvPr>
          <p:cNvSpPr/>
          <p:nvPr>
            <p:custDataLst>
              <p:tags r:id="rId82"/>
            </p:custDataLst>
          </p:nvPr>
        </p:nvSpPr>
        <p:spPr bwMode="auto">
          <a:xfrm>
            <a:off x="4564064" y="1954213"/>
            <a:ext cx="123825" cy="247651"/>
          </a:xfrm>
          <a:custGeom>
            <a:avLst/>
            <a:gdLst/>
            <a:ahLst/>
            <a:cxnLst/>
            <a:rect l="0" t="0" r="0" b="0"/>
            <a:pathLst>
              <a:path w="123826" h="247651">
                <a:moveTo>
                  <a:pt x="123825" y="0"/>
                </a:moveTo>
                <a:lnTo>
                  <a:pt x="57150" y="247650"/>
                </a:lnTo>
                <a:lnTo>
                  <a:pt x="0" y="247650"/>
                </a:lnTo>
                <a:lnTo>
                  <a:pt x="66675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 useBgFill="1">
        <p:nvSpPr>
          <p:cNvPr id="510" name="Forme libre : forme 509">
            <a:extLst>
              <a:ext uri="{FF2B5EF4-FFF2-40B4-BE49-F238E27FC236}">
                <a16:creationId xmlns:a16="http://schemas.microsoft.com/office/drawing/2014/main" id="{391A68D9-85A9-4B97-B6D8-19833A4902EA}"/>
              </a:ext>
            </a:extLst>
          </p:cNvPr>
          <p:cNvSpPr/>
          <p:nvPr>
            <p:custDataLst>
              <p:tags r:id="rId83"/>
            </p:custDataLst>
          </p:nvPr>
        </p:nvSpPr>
        <p:spPr bwMode="auto">
          <a:xfrm>
            <a:off x="4564064" y="2593975"/>
            <a:ext cx="123825" cy="247651"/>
          </a:xfrm>
          <a:custGeom>
            <a:avLst/>
            <a:gdLst/>
            <a:ahLst/>
            <a:cxnLst/>
            <a:rect l="0" t="0" r="0" b="0"/>
            <a:pathLst>
              <a:path w="123826" h="247651">
                <a:moveTo>
                  <a:pt x="123825" y="0"/>
                </a:moveTo>
                <a:lnTo>
                  <a:pt x="57150" y="247650"/>
                </a:lnTo>
                <a:lnTo>
                  <a:pt x="0" y="247650"/>
                </a:lnTo>
                <a:lnTo>
                  <a:pt x="66675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 useBgFill="1">
        <p:nvSpPr>
          <p:cNvPr id="537" name="Forme libre : forme 536">
            <a:extLst>
              <a:ext uri="{FF2B5EF4-FFF2-40B4-BE49-F238E27FC236}">
                <a16:creationId xmlns:a16="http://schemas.microsoft.com/office/drawing/2014/main" id="{3189AE26-ABAC-4FED-B184-CC6A3EDFC0C6}"/>
              </a:ext>
            </a:extLst>
          </p:cNvPr>
          <p:cNvSpPr/>
          <p:nvPr>
            <p:custDataLst>
              <p:tags r:id="rId84"/>
            </p:custDataLst>
          </p:nvPr>
        </p:nvSpPr>
        <p:spPr bwMode="auto">
          <a:xfrm>
            <a:off x="4564064" y="5472113"/>
            <a:ext cx="123825" cy="247651"/>
          </a:xfrm>
          <a:custGeom>
            <a:avLst/>
            <a:gdLst/>
            <a:ahLst/>
            <a:cxnLst/>
            <a:rect l="0" t="0" r="0" b="0"/>
            <a:pathLst>
              <a:path w="123826" h="247651">
                <a:moveTo>
                  <a:pt x="123825" y="0"/>
                </a:moveTo>
                <a:lnTo>
                  <a:pt x="57150" y="247650"/>
                </a:lnTo>
                <a:lnTo>
                  <a:pt x="0" y="247650"/>
                </a:lnTo>
                <a:lnTo>
                  <a:pt x="66675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 useBgFill="1">
        <p:nvSpPr>
          <p:cNvPr id="531" name="Forme libre : forme 530">
            <a:extLst>
              <a:ext uri="{FF2B5EF4-FFF2-40B4-BE49-F238E27FC236}">
                <a16:creationId xmlns:a16="http://schemas.microsoft.com/office/drawing/2014/main" id="{5B12352C-6B23-4800-9FF3-C45D937FE603}"/>
              </a:ext>
            </a:extLst>
          </p:cNvPr>
          <p:cNvSpPr/>
          <p:nvPr>
            <p:custDataLst>
              <p:tags r:id="rId85"/>
            </p:custDataLst>
          </p:nvPr>
        </p:nvSpPr>
        <p:spPr bwMode="auto">
          <a:xfrm>
            <a:off x="4564064" y="4832350"/>
            <a:ext cx="123825" cy="247651"/>
          </a:xfrm>
          <a:custGeom>
            <a:avLst/>
            <a:gdLst/>
            <a:ahLst/>
            <a:cxnLst/>
            <a:rect l="0" t="0" r="0" b="0"/>
            <a:pathLst>
              <a:path w="123826" h="247651">
                <a:moveTo>
                  <a:pt x="123825" y="0"/>
                </a:moveTo>
                <a:lnTo>
                  <a:pt x="57150" y="247650"/>
                </a:lnTo>
                <a:lnTo>
                  <a:pt x="0" y="247650"/>
                </a:lnTo>
                <a:lnTo>
                  <a:pt x="66675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 useBgFill="1">
        <p:nvSpPr>
          <p:cNvPr id="516" name="Forme libre : forme 515">
            <a:extLst>
              <a:ext uri="{FF2B5EF4-FFF2-40B4-BE49-F238E27FC236}">
                <a16:creationId xmlns:a16="http://schemas.microsoft.com/office/drawing/2014/main" id="{BA10B3C7-8517-4A86-81D6-5FEF631DC257}"/>
              </a:ext>
            </a:extLst>
          </p:cNvPr>
          <p:cNvSpPr/>
          <p:nvPr>
            <p:custDataLst>
              <p:tags r:id="rId86"/>
            </p:custDataLst>
          </p:nvPr>
        </p:nvSpPr>
        <p:spPr bwMode="auto">
          <a:xfrm>
            <a:off x="4564064" y="3233738"/>
            <a:ext cx="123825" cy="247651"/>
          </a:xfrm>
          <a:custGeom>
            <a:avLst/>
            <a:gdLst/>
            <a:ahLst/>
            <a:cxnLst/>
            <a:rect l="0" t="0" r="0" b="0"/>
            <a:pathLst>
              <a:path w="123826" h="247651">
                <a:moveTo>
                  <a:pt x="123825" y="0"/>
                </a:moveTo>
                <a:lnTo>
                  <a:pt x="57150" y="247650"/>
                </a:lnTo>
                <a:lnTo>
                  <a:pt x="0" y="247650"/>
                </a:lnTo>
                <a:lnTo>
                  <a:pt x="66675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 useBgFill="1">
        <p:nvSpPr>
          <p:cNvPr id="525" name="Forme libre : forme 524">
            <a:extLst>
              <a:ext uri="{FF2B5EF4-FFF2-40B4-BE49-F238E27FC236}">
                <a16:creationId xmlns:a16="http://schemas.microsoft.com/office/drawing/2014/main" id="{8BE0BD46-6E8F-441B-8F01-9CFD070465AA}"/>
              </a:ext>
            </a:extLst>
          </p:cNvPr>
          <p:cNvSpPr/>
          <p:nvPr>
            <p:custDataLst>
              <p:tags r:id="rId87"/>
            </p:custDataLst>
          </p:nvPr>
        </p:nvSpPr>
        <p:spPr bwMode="auto">
          <a:xfrm>
            <a:off x="4564064" y="4192588"/>
            <a:ext cx="123825" cy="247651"/>
          </a:xfrm>
          <a:custGeom>
            <a:avLst/>
            <a:gdLst/>
            <a:ahLst/>
            <a:cxnLst/>
            <a:rect l="0" t="0" r="0" b="0"/>
            <a:pathLst>
              <a:path w="123826" h="247651">
                <a:moveTo>
                  <a:pt x="123825" y="0"/>
                </a:moveTo>
                <a:lnTo>
                  <a:pt x="57150" y="247650"/>
                </a:lnTo>
                <a:lnTo>
                  <a:pt x="0" y="247650"/>
                </a:lnTo>
                <a:lnTo>
                  <a:pt x="66675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 useBgFill="1">
        <p:nvSpPr>
          <p:cNvPr id="513" name="Forme libre : forme 512">
            <a:extLst>
              <a:ext uri="{FF2B5EF4-FFF2-40B4-BE49-F238E27FC236}">
                <a16:creationId xmlns:a16="http://schemas.microsoft.com/office/drawing/2014/main" id="{100E38D4-F52C-479F-9F78-9389C2A03F2E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4564064" y="2913063"/>
            <a:ext cx="123825" cy="249238"/>
          </a:xfrm>
          <a:custGeom>
            <a:avLst/>
            <a:gdLst/>
            <a:ahLst/>
            <a:cxnLst/>
            <a:rect l="0" t="0" r="0" b="0"/>
            <a:pathLst>
              <a:path w="123826" h="249238">
                <a:moveTo>
                  <a:pt x="123825" y="0"/>
                </a:moveTo>
                <a:lnTo>
                  <a:pt x="57150" y="249237"/>
                </a:lnTo>
                <a:lnTo>
                  <a:pt x="0" y="249237"/>
                </a:lnTo>
                <a:lnTo>
                  <a:pt x="66675" y="0"/>
                </a:lnTo>
                <a:close/>
              </a:path>
            </a:pathLst>
          </a:custGeom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fr-MA" sz="1200" b="1" dirty="0">
              <a:solidFill>
                <a:schemeClr val="bg1"/>
              </a:solidFill>
              <a:latin typeface="Gill Sans"/>
            </a:endParaRPr>
          </a:p>
        </p:txBody>
      </p:sp>
      <p:sp>
        <p:nvSpPr>
          <p:cNvPr id="529" name="Forme libre : forme 528">
            <a:extLst>
              <a:ext uri="{FF2B5EF4-FFF2-40B4-BE49-F238E27FC236}">
                <a16:creationId xmlns:a16="http://schemas.microsoft.com/office/drawing/2014/main" id="{8672549F-E8B0-4D5E-B480-5794EB985793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4564064" y="4832350"/>
            <a:ext cx="66675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27" name="Forme libre : forme 526">
            <a:extLst>
              <a:ext uri="{FF2B5EF4-FFF2-40B4-BE49-F238E27FC236}">
                <a16:creationId xmlns:a16="http://schemas.microsoft.com/office/drawing/2014/main" id="{EA0BAAAE-E4CD-4B04-AD1F-5BDFE3462F4B}"/>
              </a:ext>
            </a:extLst>
          </p:cNvPr>
          <p:cNvSpPr/>
          <p:nvPr>
            <p:custDataLst>
              <p:tags r:id="rId90"/>
            </p:custDataLst>
          </p:nvPr>
        </p:nvSpPr>
        <p:spPr bwMode="auto">
          <a:xfrm>
            <a:off x="4621214" y="4511675"/>
            <a:ext cx="66675" cy="249239"/>
          </a:xfrm>
          <a:custGeom>
            <a:avLst/>
            <a:gdLst/>
            <a:ahLst/>
            <a:cxnLst/>
            <a:rect l="0" t="0" r="0" b="0"/>
            <a:pathLst>
              <a:path w="66676" h="249239">
                <a:moveTo>
                  <a:pt x="66675" y="0"/>
                </a:moveTo>
                <a:lnTo>
                  <a:pt x="0" y="249238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18" name="Forme libre : forme 517">
            <a:extLst>
              <a:ext uri="{FF2B5EF4-FFF2-40B4-BE49-F238E27FC236}">
                <a16:creationId xmlns:a16="http://schemas.microsoft.com/office/drawing/2014/main" id="{D76D6F52-821C-4A01-AD5C-232958A77E61}"/>
              </a:ext>
            </a:extLst>
          </p:cNvPr>
          <p:cNvSpPr/>
          <p:nvPr>
            <p:custDataLst>
              <p:tags r:id="rId91"/>
            </p:custDataLst>
          </p:nvPr>
        </p:nvSpPr>
        <p:spPr bwMode="auto">
          <a:xfrm>
            <a:off x="4621214" y="3552825"/>
            <a:ext cx="66675" cy="249239"/>
          </a:xfrm>
          <a:custGeom>
            <a:avLst/>
            <a:gdLst/>
            <a:ahLst/>
            <a:cxnLst/>
            <a:rect l="0" t="0" r="0" b="0"/>
            <a:pathLst>
              <a:path w="66676" h="249239">
                <a:moveTo>
                  <a:pt x="66675" y="0"/>
                </a:moveTo>
                <a:lnTo>
                  <a:pt x="0" y="249238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30" name="Forme libre : forme 529">
            <a:extLst>
              <a:ext uri="{FF2B5EF4-FFF2-40B4-BE49-F238E27FC236}">
                <a16:creationId xmlns:a16="http://schemas.microsoft.com/office/drawing/2014/main" id="{5926A383-93E8-4C26-84E8-E07C12060023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4621214" y="4832350"/>
            <a:ext cx="66675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35" name="Forme libre : forme 534">
            <a:extLst>
              <a:ext uri="{FF2B5EF4-FFF2-40B4-BE49-F238E27FC236}">
                <a16:creationId xmlns:a16="http://schemas.microsoft.com/office/drawing/2014/main" id="{EF971FC2-3381-498F-A82A-E430383AC3BD}"/>
              </a:ext>
            </a:extLst>
          </p:cNvPr>
          <p:cNvSpPr/>
          <p:nvPr>
            <p:custDataLst>
              <p:tags r:id="rId93"/>
            </p:custDataLst>
          </p:nvPr>
        </p:nvSpPr>
        <p:spPr bwMode="auto">
          <a:xfrm>
            <a:off x="4564064" y="5472113"/>
            <a:ext cx="66675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03" name="Forme libre : forme 502">
            <a:extLst>
              <a:ext uri="{FF2B5EF4-FFF2-40B4-BE49-F238E27FC236}">
                <a16:creationId xmlns:a16="http://schemas.microsoft.com/office/drawing/2014/main" id="{F28E0309-6979-40B1-977B-17751FC469A5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4621214" y="1954213"/>
            <a:ext cx="66675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06" name="Forme libre : forme 505">
            <a:extLst>
              <a:ext uri="{FF2B5EF4-FFF2-40B4-BE49-F238E27FC236}">
                <a16:creationId xmlns:a16="http://schemas.microsoft.com/office/drawing/2014/main" id="{8B57BDC6-2083-4F74-8CEC-880A76F4079C}"/>
              </a:ext>
            </a:extLst>
          </p:cNvPr>
          <p:cNvSpPr/>
          <p:nvPr>
            <p:custDataLst>
              <p:tags r:id="rId95"/>
            </p:custDataLst>
          </p:nvPr>
        </p:nvSpPr>
        <p:spPr bwMode="auto">
          <a:xfrm>
            <a:off x="4621214" y="2273300"/>
            <a:ext cx="66675" cy="249239"/>
          </a:xfrm>
          <a:custGeom>
            <a:avLst/>
            <a:gdLst/>
            <a:ahLst/>
            <a:cxnLst/>
            <a:rect l="0" t="0" r="0" b="0"/>
            <a:pathLst>
              <a:path w="66676" h="249239">
                <a:moveTo>
                  <a:pt x="66675" y="0"/>
                </a:moveTo>
                <a:lnTo>
                  <a:pt x="0" y="249238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24" name="Forme libre : forme 523">
            <a:extLst>
              <a:ext uri="{FF2B5EF4-FFF2-40B4-BE49-F238E27FC236}">
                <a16:creationId xmlns:a16="http://schemas.microsoft.com/office/drawing/2014/main" id="{9DF98A6F-F294-4B0E-BCBC-739C0A9AF431}"/>
              </a:ext>
            </a:extLst>
          </p:cNvPr>
          <p:cNvSpPr/>
          <p:nvPr>
            <p:custDataLst>
              <p:tags r:id="rId96"/>
            </p:custDataLst>
          </p:nvPr>
        </p:nvSpPr>
        <p:spPr bwMode="auto">
          <a:xfrm>
            <a:off x="4621214" y="4192588"/>
            <a:ext cx="66675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08" name="Forme libre : forme 507">
            <a:extLst>
              <a:ext uri="{FF2B5EF4-FFF2-40B4-BE49-F238E27FC236}">
                <a16:creationId xmlns:a16="http://schemas.microsoft.com/office/drawing/2014/main" id="{1BC38C97-C0F0-4535-B839-4B8F7D0F96C1}"/>
              </a:ext>
            </a:extLst>
          </p:cNvPr>
          <p:cNvSpPr/>
          <p:nvPr>
            <p:custDataLst>
              <p:tags r:id="rId97"/>
            </p:custDataLst>
          </p:nvPr>
        </p:nvSpPr>
        <p:spPr bwMode="auto">
          <a:xfrm>
            <a:off x="4564064" y="2593975"/>
            <a:ext cx="66675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09" name="Forme libre : forme 508">
            <a:extLst>
              <a:ext uri="{FF2B5EF4-FFF2-40B4-BE49-F238E27FC236}">
                <a16:creationId xmlns:a16="http://schemas.microsoft.com/office/drawing/2014/main" id="{43F238CF-C175-42AB-9F35-FE578BD2DDD6}"/>
              </a:ext>
            </a:extLst>
          </p:cNvPr>
          <p:cNvSpPr/>
          <p:nvPr>
            <p:custDataLst>
              <p:tags r:id="rId98"/>
            </p:custDataLst>
          </p:nvPr>
        </p:nvSpPr>
        <p:spPr bwMode="auto">
          <a:xfrm>
            <a:off x="4621214" y="2593975"/>
            <a:ext cx="66675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11" name="Forme libre : forme 510">
            <a:extLst>
              <a:ext uri="{FF2B5EF4-FFF2-40B4-BE49-F238E27FC236}">
                <a16:creationId xmlns:a16="http://schemas.microsoft.com/office/drawing/2014/main" id="{72003A03-BA4F-4017-A95E-B3D25DE3FEF1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4564064" y="2913063"/>
            <a:ext cx="66675" cy="249238"/>
          </a:xfrm>
          <a:custGeom>
            <a:avLst/>
            <a:gdLst/>
            <a:ahLst/>
            <a:cxnLst/>
            <a:rect l="0" t="0" r="0" b="0"/>
            <a:pathLst>
              <a:path w="66676" h="249238">
                <a:moveTo>
                  <a:pt x="66675" y="0"/>
                </a:moveTo>
                <a:lnTo>
                  <a:pt x="0" y="249237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12" name="Forme libre : forme 511">
            <a:extLst>
              <a:ext uri="{FF2B5EF4-FFF2-40B4-BE49-F238E27FC236}">
                <a16:creationId xmlns:a16="http://schemas.microsoft.com/office/drawing/2014/main" id="{172E1BE8-97E6-41E7-B95B-75638DA16A9D}"/>
              </a:ext>
            </a:extLst>
          </p:cNvPr>
          <p:cNvSpPr/>
          <p:nvPr>
            <p:custDataLst>
              <p:tags r:id="rId100"/>
            </p:custDataLst>
          </p:nvPr>
        </p:nvSpPr>
        <p:spPr bwMode="auto">
          <a:xfrm>
            <a:off x="4621214" y="2913063"/>
            <a:ext cx="66675" cy="249238"/>
          </a:xfrm>
          <a:custGeom>
            <a:avLst/>
            <a:gdLst/>
            <a:ahLst/>
            <a:cxnLst/>
            <a:rect l="0" t="0" r="0" b="0"/>
            <a:pathLst>
              <a:path w="66676" h="249238">
                <a:moveTo>
                  <a:pt x="66675" y="0"/>
                </a:moveTo>
                <a:lnTo>
                  <a:pt x="0" y="249237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36" name="Forme libre : forme 535">
            <a:extLst>
              <a:ext uri="{FF2B5EF4-FFF2-40B4-BE49-F238E27FC236}">
                <a16:creationId xmlns:a16="http://schemas.microsoft.com/office/drawing/2014/main" id="{5C7B8D80-F911-4C95-BCDB-C2B51B9594D8}"/>
              </a:ext>
            </a:extLst>
          </p:cNvPr>
          <p:cNvSpPr/>
          <p:nvPr>
            <p:custDataLst>
              <p:tags r:id="rId101"/>
            </p:custDataLst>
          </p:nvPr>
        </p:nvSpPr>
        <p:spPr bwMode="auto">
          <a:xfrm>
            <a:off x="4621214" y="5472113"/>
            <a:ext cx="66675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21" name="Forme libre : forme 520">
            <a:extLst>
              <a:ext uri="{FF2B5EF4-FFF2-40B4-BE49-F238E27FC236}">
                <a16:creationId xmlns:a16="http://schemas.microsoft.com/office/drawing/2014/main" id="{77C1F9C7-E0EF-49D3-B76A-7037AA4729F8}"/>
              </a:ext>
            </a:extLst>
          </p:cNvPr>
          <p:cNvSpPr/>
          <p:nvPr>
            <p:custDataLst>
              <p:tags r:id="rId102"/>
            </p:custDataLst>
          </p:nvPr>
        </p:nvSpPr>
        <p:spPr bwMode="auto">
          <a:xfrm>
            <a:off x="4621214" y="3873500"/>
            <a:ext cx="66675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33" name="Forme libre : forme 532">
            <a:extLst>
              <a:ext uri="{FF2B5EF4-FFF2-40B4-BE49-F238E27FC236}">
                <a16:creationId xmlns:a16="http://schemas.microsoft.com/office/drawing/2014/main" id="{10C6B599-7E7A-4A8D-8E0F-973059F1B31D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4621214" y="5151438"/>
            <a:ext cx="66675" cy="249238"/>
          </a:xfrm>
          <a:custGeom>
            <a:avLst/>
            <a:gdLst/>
            <a:ahLst/>
            <a:cxnLst/>
            <a:rect l="0" t="0" r="0" b="0"/>
            <a:pathLst>
              <a:path w="66676" h="249238">
                <a:moveTo>
                  <a:pt x="66675" y="0"/>
                </a:moveTo>
                <a:lnTo>
                  <a:pt x="0" y="249237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32" name="Forme libre : forme 531">
            <a:extLst>
              <a:ext uri="{FF2B5EF4-FFF2-40B4-BE49-F238E27FC236}">
                <a16:creationId xmlns:a16="http://schemas.microsoft.com/office/drawing/2014/main" id="{73FC309F-B0FD-4930-8B62-938EB934F325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4564064" y="5151438"/>
            <a:ext cx="66675" cy="249238"/>
          </a:xfrm>
          <a:custGeom>
            <a:avLst/>
            <a:gdLst/>
            <a:ahLst/>
            <a:cxnLst/>
            <a:rect l="0" t="0" r="0" b="0"/>
            <a:pathLst>
              <a:path w="66676" h="249238">
                <a:moveTo>
                  <a:pt x="66675" y="0"/>
                </a:moveTo>
                <a:lnTo>
                  <a:pt x="0" y="249237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26" name="Forme libre : forme 525">
            <a:extLst>
              <a:ext uri="{FF2B5EF4-FFF2-40B4-BE49-F238E27FC236}">
                <a16:creationId xmlns:a16="http://schemas.microsoft.com/office/drawing/2014/main" id="{D9F4E032-7D06-4646-B677-498D413682AD}"/>
              </a:ext>
            </a:extLst>
          </p:cNvPr>
          <p:cNvSpPr/>
          <p:nvPr>
            <p:custDataLst>
              <p:tags r:id="rId105"/>
            </p:custDataLst>
          </p:nvPr>
        </p:nvSpPr>
        <p:spPr bwMode="auto">
          <a:xfrm>
            <a:off x="4564064" y="4511675"/>
            <a:ext cx="66675" cy="249239"/>
          </a:xfrm>
          <a:custGeom>
            <a:avLst/>
            <a:gdLst/>
            <a:ahLst/>
            <a:cxnLst/>
            <a:rect l="0" t="0" r="0" b="0"/>
            <a:pathLst>
              <a:path w="66676" h="249239">
                <a:moveTo>
                  <a:pt x="66675" y="0"/>
                </a:moveTo>
                <a:lnTo>
                  <a:pt x="0" y="249238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02" name="Forme libre : forme 501">
            <a:extLst>
              <a:ext uri="{FF2B5EF4-FFF2-40B4-BE49-F238E27FC236}">
                <a16:creationId xmlns:a16="http://schemas.microsoft.com/office/drawing/2014/main" id="{1E4D21BB-04A3-4B33-A925-7B9F7AE6F101}"/>
              </a:ext>
            </a:extLst>
          </p:cNvPr>
          <p:cNvSpPr/>
          <p:nvPr>
            <p:custDataLst>
              <p:tags r:id="rId106"/>
            </p:custDataLst>
          </p:nvPr>
        </p:nvSpPr>
        <p:spPr bwMode="auto">
          <a:xfrm>
            <a:off x="4564064" y="1954213"/>
            <a:ext cx="66675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05" name="Forme libre : forme 504">
            <a:extLst>
              <a:ext uri="{FF2B5EF4-FFF2-40B4-BE49-F238E27FC236}">
                <a16:creationId xmlns:a16="http://schemas.microsoft.com/office/drawing/2014/main" id="{E67CCE31-718C-4EE3-9348-01E105313437}"/>
              </a:ext>
            </a:extLst>
          </p:cNvPr>
          <p:cNvSpPr/>
          <p:nvPr>
            <p:custDataLst>
              <p:tags r:id="rId107"/>
            </p:custDataLst>
          </p:nvPr>
        </p:nvSpPr>
        <p:spPr bwMode="auto">
          <a:xfrm>
            <a:off x="4564064" y="2273300"/>
            <a:ext cx="66675" cy="249239"/>
          </a:xfrm>
          <a:custGeom>
            <a:avLst/>
            <a:gdLst/>
            <a:ahLst/>
            <a:cxnLst/>
            <a:rect l="0" t="0" r="0" b="0"/>
            <a:pathLst>
              <a:path w="66676" h="249239">
                <a:moveTo>
                  <a:pt x="66675" y="0"/>
                </a:moveTo>
                <a:lnTo>
                  <a:pt x="0" y="249238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14" name="Forme libre : forme 513">
            <a:extLst>
              <a:ext uri="{FF2B5EF4-FFF2-40B4-BE49-F238E27FC236}">
                <a16:creationId xmlns:a16="http://schemas.microsoft.com/office/drawing/2014/main" id="{89000EB0-830D-45F5-A863-E0963D205230}"/>
              </a:ext>
            </a:extLst>
          </p:cNvPr>
          <p:cNvSpPr/>
          <p:nvPr>
            <p:custDataLst>
              <p:tags r:id="rId108"/>
            </p:custDataLst>
          </p:nvPr>
        </p:nvSpPr>
        <p:spPr bwMode="auto">
          <a:xfrm>
            <a:off x="4564064" y="3233738"/>
            <a:ext cx="66675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15" name="Forme libre : forme 514">
            <a:extLst>
              <a:ext uri="{FF2B5EF4-FFF2-40B4-BE49-F238E27FC236}">
                <a16:creationId xmlns:a16="http://schemas.microsoft.com/office/drawing/2014/main" id="{58FDE5D2-6F5B-4B4F-8BA0-7B5013B5F563}"/>
              </a:ext>
            </a:extLst>
          </p:cNvPr>
          <p:cNvSpPr/>
          <p:nvPr>
            <p:custDataLst>
              <p:tags r:id="rId109"/>
            </p:custDataLst>
          </p:nvPr>
        </p:nvSpPr>
        <p:spPr bwMode="auto">
          <a:xfrm>
            <a:off x="4621214" y="3233738"/>
            <a:ext cx="66675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17" name="Forme libre : forme 516">
            <a:extLst>
              <a:ext uri="{FF2B5EF4-FFF2-40B4-BE49-F238E27FC236}">
                <a16:creationId xmlns:a16="http://schemas.microsoft.com/office/drawing/2014/main" id="{AAF96244-212C-4F9F-AB2F-0DB8742C766F}"/>
              </a:ext>
            </a:extLst>
          </p:cNvPr>
          <p:cNvSpPr/>
          <p:nvPr>
            <p:custDataLst>
              <p:tags r:id="rId110"/>
            </p:custDataLst>
          </p:nvPr>
        </p:nvSpPr>
        <p:spPr bwMode="auto">
          <a:xfrm>
            <a:off x="4564064" y="3552825"/>
            <a:ext cx="66675" cy="249239"/>
          </a:xfrm>
          <a:custGeom>
            <a:avLst/>
            <a:gdLst/>
            <a:ahLst/>
            <a:cxnLst/>
            <a:rect l="0" t="0" r="0" b="0"/>
            <a:pathLst>
              <a:path w="66676" h="249239">
                <a:moveTo>
                  <a:pt x="66675" y="0"/>
                </a:moveTo>
                <a:lnTo>
                  <a:pt x="0" y="249238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20" name="Forme libre : forme 519">
            <a:extLst>
              <a:ext uri="{FF2B5EF4-FFF2-40B4-BE49-F238E27FC236}">
                <a16:creationId xmlns:a16="http://schemas.microsoft.com/office/drawing/2014/main" id="{D1318C19-E022-4163-8FE1-60B3DFBF0E1C}"/>
              </a:ext>
            </a:extLst>
          </p:cNvPr>
          <p:cNvSpPr/>
          <p:nvPr>
            <p:custDataLst>
              <p:tags r:id="rId111"/>
            </p:custDataLst>
          </p:nvPr>
        </p:nvSpPr>
        <p:spPr bwMode="auto">
          <a:xfrm>
            <a:off x="4564064" y="3873500"/>
            <a:ext cx="66675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sp>
        <p:nvSpPr>
          <p:cNvPr id="523" name="Forme libre : forme 522">
            <a:extLst>
              <a:ext uri="{FF2B5EF4-FFF2-40B4-BE49-F238E27FC236}">
                <a16:creationId xmlns:a16="http://schemas.microsoft.com/office/drawing/2014/main" id="{C7239325-8B0D-4755-9A76-039CC7DEA151}"/>
              </a:ext>
            </a:extLst>
          </p:cNvPr>
          <p:cNvSpPr/>
          <p:nvPr>
            <p:custDataLst>
              <p:tags r:id="rId112"/>
            </p:custDataLst>
          </p:nvPr>
        </p:nvSpPr>
        <p:spPr bwMode="auto">
          <a:xfrm>
            <a:off x="4564064" y="4192588"/>
            <a:ext cx="66675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MA"/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7AFE58F0-E59C-435C-99C0-6A316CD3E038}"/>
              </a:ext>
            </a:extLst>
          </p:cNvPr>
          <p:cNvCxnSpPr/>
          <p:nvPr>
            <p:custDataLst>
              <p:tags r:id="rId113"/>
            </p:custDataLst>
          </p:nvPr>
        </p:nvCxnSpPr>
        <p:spPr bwMode="gray">
          <a:xfrm>
            <a:off x="5708650" y="3105150"/>
            <a:ext cx="0" cy="503238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Connecteur droit 145">
            <a:extLst>
              <a:ext uri="{FF2B5EF4-FFF2-40B4-BE49-F238E27FC236}">
                <a16:creationId xmlns:a16="http://schemas.microsoft.com/office/drawing/2014/main" id="{C0492418-E690-4E88-A2AD-489D224F1657}"/>
              </a:ext>
            </a:extLst>
          </p:cNvPr>
          <p:cNvCxnSpPr/>
          <p:nvPr>
            <p:custDataLst>
              <p:tags r:id="rId114"/>
            </p:custDataLst>
          </p:nvPr>
        </p:nvCxnSpPr>
        <p:spPr bwMode="gray">
          <a:xfrm>
            <a:off x="5708650" y="3744913"/>
            <a:ext cx="0" cy="2011363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Connecteur droit 144">
            <a:extLst>
              <a:ext uri="{FF2B5EF4-FFF2-40B4-BE49-F238E27FC236}">
                <a16:creationId xmlns:a16="http://schemas.microsoft.com/office/drawing/2014/main" id="{E2E6EF32-5C15-4766-B2E3-8F4CF01A6273}"/>
              </a:ext>
            </a:extLst>
          </p:cNvPr>
          <p:cNvCxnSpPr/>
          <p:nvPr>
            <p:custDataLst>
              <p:tags r:id="rId115"/>
            </p:custDataLst>
          </p:nvPr>
        </p:nvCxnSpPr>
        <p:spPr bwMode="gray">
          <a:xfrm>
            <a:off x="5708650" y="1919287"/>
            <a:ext cx="0" cy="1049338"/>
          </a:xfrm>
          <a:prstGeom prst="line">
            <a:avLst/>
          </a:prstGeom>
          <a:ln w="12700" cap="flat" cmpd="sng" algn="ctr">
            <a:solidFill>
              <a:srgbClr val="C30C3E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Flèche droite 86">
            <a:extLst>
              <a:ext uri="{FF2B5EF4-FFF2-40B4-BE49-F238E27FC236}">
                <a16:creationId xmlns:a16="http://schemas.microsoft.com/office/drawing/2014/main" id="{8B166B2A-BDA7-4604-9185-3DFFC1AB954B}"/>
              </a:ext>
            </a:extLst>
          </p:cNvPr>
          <p:cNvSpPr/>
          <p:nvPr>
            <p:custDataLst>
              <p:tags r:id="rId116"/>
            </p:custDataLst>
          </p:nvPr>
        </p:nvSpPr>
        <p:spPr bwMode="auto">
          <a:xfrm rot="16200000">
            <a:off x="5645150" y="579437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500FFD79-AB7B-40EE-9007-EF3976635BFF}"/>
              </a:ext>
            </a:extLst>
          </p:cNvPr>
          <p:cNvSpPr/>
          <p:nvPr>
            <p:custDataLst>
              <p:tags r:id="rId117"/>
            </p:custDataLst>
          </p:nvPr>
        </p:nvSpPr>
        <p:spPr bwMode="gray">
          <a:xfrm>
            <a:off x="5643563" y="2968625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A50A0DD-C9E0-4D43-AC05-3F170322EFE8}" type="datetime'''''''''''3''''''''3''''''''''''''''''''''''''%'">
              <a:rPr lang="fr-MA" altLang="en-US" sz="900" smtClean="0"/>
              <a:pPr/>
              <a:t>33%</a:t>
            </a:fld>
            <a:endParaRPr lang="fr-MA" sz="900" dirty="0">
              <a:sym typeface="+mn-lt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B0AF68CB-9E3F-4109-9C0B-5804ED624A34}"/>
              </a:ext>
            </a:extLst>
          </p:cNvPr>
          <p:cNvSpPr/>
          <p:nvPr>
            <p:custDataLst>
              <p:tags r:id="rId118"/>
            </p:custDataLst>
          </p:nvPr>
        </p:nvSpPr>
        <p:spPr bwMode="gray">
          <a:xfrm>
            <a:off x="6429375" y="2009775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9B9410F-56C2-4267-84AF-6F567C5CBA38}" type="datetime'5''2''''''''%'''''''''''''''''''''">
              <a:rPr lang="fr-MA" altLang="en-US" sz="900" smtClean="0"/>
              <a:pPr/>
              <a:t>52%</a:t>
            </a:fld>
            <a:endParaRPr lang="fr-MA" sz="900" dirty="0">
              <a:sym typeface="+mn-lt"/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B27D0603-C15D-493D-889E-9504EDCF71BA}"/>
              </a:ext>
            </a:extLst>
          </p:cNvPr>
          <p:cNvSpPr/>
          <p:nvPr>
            <p:custDataLst>
              <p:tags r:id="rId119"/>
            </p:custDataLst>
          </p:nvPr>
        </p:nvSpPr>
        <p:spPr bwMode="gray">
          <a:xfrm>
            <a:off x="5086350" y="5207000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9CF2AC7-D978-4A69-917B-F73A5C37A5D8}" type="datetime'''1''''''''''''''''''''''9''''''''''''''''''%'''''">
              <a:rPr lang="fr-MA" altLang="en-US" sz="9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19%</a:t>
            </a:fld>
            <a:endParaRPr lang="fr-MA" sz="900" dirty="0">
              <a:sym typeface="+mn-lt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F79C4B85-0964-4858-BD4C-1699583FB0C7}"/>
              </a:ext>
            </a:extLst>
          </p:cNvPr>
          <p:cNvSpPr/>
          <p:nvPr>
            <p:custDataLst>
              <p:tags r:id="rId120"/>
            </p:custDataLst>
          </p:nvPr>
        </p:nvSpPr>
        <p:spPr bwMode="gray">
          <a:xfrm>
            <a:off x="5659438" y="3608388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04FB98A-E43F-4E94-A009-D92700A22FD8}" type="datetime'''''3''''''''''''''3''''''''''''''''''''%'''''''''''''''''''''">
              <a:rPr lang="fr-MA" altLang="en-US" sz="900" smtClean="0"/>
              <a:pPr/>
              <a:t>33%</a:t>
            </a:fld>
            <a:endParaRPr lang="fr-MA" sz="900" dirty="0">
              <a:sym typeface="+mn-lt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C41F7965-7572-47BF-84B5-2BAFFE843019}"/>
              </a:ext>
            </a:extLst>
          </p:cNvPr>
          <p:cNvSpPr/>
          <p:nvPr>
            <p:custDataLst>
              <p:tags r:id="rId121"/>
            </p:custDataLst>
          </p:nvPr>
        </p:nvSpPr>
        <p:spPr bwMode="gray">
          <a:xfrm>
            <a:off x="6084888" y="3929063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2A6F16A-95CA-4DF8-9047-9941AFA79DF6}" type="datetime'''''''''''''''''''''''''''4''''''3''''''''''''%'''''''''''''''">
              <a:rPr lang="fr-MA" altLang="en-US" sz="900" smtClean="0"/>
              <a:pPr/>
              <a:t>43%</a:t>
            </a:fld>
            <a:endParaRPr lang="fr-MA" sz="900" dirty="0">
              <a:sym typeface="+mn-lt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84EC4001-BA6B-4619-A513-5A57427DB210}"/>
              </a:ext>
            </a:extLst>
          </p:cNvPr>
          <p:cNvSpPr/>
          <p:nvPr>
            <p:custDataLst>
              <p:tags r:id="rId122"/>
            </p:custDataLst>
          </p:nvPr>
        </p:nvSpPr>
        <p:spPr bwMode="gray">
          <a:xfrm>
            <a:off x="6538913" y="4248150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992CFE7-0202-43D8-A969-E18BB3D7911E}" type="datetime'''''''''''''''''''''''''''''''5''''''''''''''''''''4%'''''''''">
              <a:rPr lang="fr-MA" altLang="en-US" sz="900" smtClean="0"/>
              <a:pPr/>
              <a:t>54%</a:t>
            </a:fld>
            <a:endParaRPr lang="fr-MA" sz="900" dirty="0">
              <a:sym typeface="+mn-lt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4A76781B-4E69-4D6E-A12D-31FAFED2B4BE}"/>
              </a:ext>
            </a:extLst>
          </p:cNvPr>
          <p:cNvSpPr/>
          <p:nvPr>
            <p:custDataLst>
              <p:tags r:id="rId123"/>
            </p:custDataLst>
          </p:nvPr>
        </p:nvSpPr>
        <p:spPr bwMode="gray">
          <a:xfrm>
            <a:off x="6219825" y="2649538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8C30CAE-0939-4A8A-9090-C205F59300D9}" type="datetime'''''4''''''''''''''''''7''''''''''''''''''''%'''''''">
              <a:rPr lang="fr-MA" altLang="en-US" sz="900" smtClean="0"/>
              <a:pPr/>
              <a:t>47%</a:t>
            </a:fld>
            <a:endParaRPr lang="fr-MA" sz="900" dirty="0">
              <a:sym typeface="+mn-lt"/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3241BC7D-5BBF-46A6-B546-9429D8E9BF6B}"/>
              </a:ext>
            </a:extLst>
          </p:cNvPr>
          <p:cNvSpPr/>
          <p:nvPr>
            <p:custDataLst>
              <p:tags r:id="rId124"/>
            </p:custDataLst>
          </p:nvPr>
        </p:nvSpPr>
        <p:spPr bwMode="gray">
          <a:xfrm>
            <a:off x="5041900" y="4567238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A8EDFE9-2EF7-4A92-B6B7-9C7A5E33F62D}" type="datetime'''''''''''18''''%'''''''''''''">
              <a:rPr lang="fr-MA" altLang="en-US" sz="9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18%</a:t>
            </a:fld>
            <a:endParaRPr lang="fr-MA" sz="900" dirty="0">
              <a:sym typeface="+mn-lt"/>
            </a:endParaRP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B4A96FAA-C5A0-4B3D-AE35-545B14042E05}"/>
              </a:ext>
            </a:extLst>
          </p:cNvPr>
          <p:cNvSpPr/>
          <p:nvPr>
            <p:custDataLst>
              <p:tags r:id="rId125"/>
            </p:custDataLst>
          </p:nvPr>
        </p:nvSpPr>
        <p:spPr bwMode="auto">
          <a:xfrm>
            <a:off x="5645150" y="5986463"/>
            <a:ext cx="127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4D606C79-0716-46B9-8A28-1C533924276A}" type="datetime'''3''''''''5'">
              <a:rPr lang="fr-MA" altLang="en-US" sz="900" b="1" smtClean="0">
                <a:solidFill>
                  <a:srgbClr val="000000"/>
                </a:solidFill>
              </a:rPr>
              <a:pPr/>
              <a:t>35</a:t>
            </a:fld>
            <a:endParaRPr kumimoji="0" lang="fr-FR" sz="900" b="1" i="0" strike="noStrike" kern="1200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sym typeface="+mn-lt"/>
            </a:endParaRP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A008A6DE-1388-4CB9-95AC-FC8A19383CC9}"/>
              </a:ext>
            </a:extLst>
          </p:cNvPr>
          <p:cNvSpPr/>
          <p:nvPr>
            <p:custDataLst>
              <p:tags r:id="rId126"/>
            </p:custDataLst>
          </p:nvPr>
        </p:nvSpPr>
        <p:spPr bwMode="gray">
          <a:xfrm>
            <a:off x="5030788" y="4887913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2B124F4-78E8-4F82-B061-0DF97B3ECD4D}" type="datetime'''1''''''''''''''''''''''''''8''''''''%'''''''''''''''''''">
              <a:rPr lang="fr-MA" altLang="en-US" sz="9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18%</a:t>
            </a:fld>
            <a:endParaRPr lang="fr-MA" sz="900" dirty="0">
              <a:sym typeface="+mn-lt"/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4E7B8B71-FA10-49E4-A912-43899D1B3651}"/>
              </a:ext>
            </a:extLst>
          </p:cNvPr>
          <p:cNvSpPr/>
          <p:nvPr>
            <p:custDataLst>
              <p:tags r:id="rId127"/>
            </p:custDataLst>
          </p:nvPr>
        </p:nvSpPr>
        <p:spPr bwMode="gray">
          <a:xfrm>
            <a:off x="4738688" y="5527675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DCEA326-F0E8-41F3-AAA2-E51337D767C8}" type="datetime'1''''1''''''''''''''''%'''''''''">
              <a:rPr lang="fr-MA" altLang="en-US" sz="9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11%</a:t>
            </a:fld>
            <a:endParaRPr lang="fr-MA" sz="900" dirty="0">
              <a:sym typeface="+mn-lt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EDF4B50D-161D-40B4-B7F9-BCAED531D4C6}"/>
              </a:ext>
            </a:extLst>
          </p:cNvPr>
          <p:cNvSpPr/>
          <p:nvPr>
            <p:custDataLst>
              <p:tags r:id="rId128"/>
            </p:custDataLst>
          </p:nvPr>
        </p:nvSpPr>
        <p:spPr bwMode="gray">
          <a:xfrm>
            <a:off x="6186488" y="3289300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CC7D6F0-F700-432E-808A-1BF45CDB4BE4}" type="datetime'''''''4''''''''''''''''''''''''''6''''''%'''''''''''''''">
              <a:rPr lang="fr-MA" altLang="en-US" sz="900" smtClean="0"/>
              <a:pPr/>
              <a:t>46%</a:t>
            </a:fld>
            <a:endParaRPr lang="fr-MA" sz="900" dirty="0">
              <a:sym typeface="+mn-lt"/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FB72ADE9-EABD-4F2B-8B22-C747B22C1310}"/>
              </a:ext>
            </a:extLst>
          </p:cNvPr>
          <p:cNvSpPr/>
          <p:nvPr>
            <p:custDataLst>
              <p:tags r:id="rId129"/>
            </p:custDataLst>
          </p:nvPr>
        </p:nvSpPr>
        <p:spPr bwMode="gray">
          <a:xfrm>
            <a:off x="6149975" y="2328863"/>
            <a:ext cx="260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AC2A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tx1">
                      <a:alpha val="40000"/>
                    </a:schemeClr>
                  </a:outerShdw>
                </a:effectLst>
              </a14:hiddenEffects>
            </a:ext>
          </a:extLst>
        </p:spPr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14AE98D-252B-49B6-AA36-AF3CD48F0DFC}" type="datetime'''''''''4''''''''''''''''''''''''''5''''''''''''''''%'">
              <a:rPr lang="fr-MA" altLang="en-US" sz="900" smtClean="0"/>
              <a:pPr/>
              <a:t>45%</a:t>
            </a:fld>
            <a:endParaRPr lang="fr-MA" sz="9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18949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435" y="203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43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15" name="Obje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435" y="203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>
          <a:xfrm>
            <a:off x="270" y="1"/>
            <a:ext cx="161974" cy="161974"/>
          </a:xfrm>
          <a:prstGeom prst="rect">
            <a:avLst/>
          </a:prstGeom>
          <a:solidFill>
            <a:srgbClr val="F3F1E9"/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fr-FR" sz="2041" b="1" dirty="0">
              <a:solidFill>
                <a:srgbClr val="213258"/>
              </a:solidFill>
              <a:latin typeface="Gill Sans"/>
              <a:ea typeface="Arial Unicode MS"/>
              <a:sym typeface="Gill Sans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2244530" y="1520317"/>
            <a:ext cx="350435" cy="269508"/>
          </a:xfrm>
          <a:prstGeom prst="rect">
            <a:avLst/>
          </a:prstGeom>
          <a:solidFill>
            <a:srgbClr val="FFFFFF"/>
          </a:solidFill>
          <a:ln w="28575" cap="flat" cmpd="sng" algn="ctr">
            <a:solidFill>
              <a:srgbClr val="FFFFF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85" tIns="46645" rIns="0" bIns="46645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r" rtl="1">
              <a:defRPr sz="1600" b="1">
                <a:solidFill>
                  <a:srgbClr val="002960"/>
                </a:solidFill>
                <a:latin typeface="Gill San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1E4CBE0C-48B9-4C60-8E57-23A16088678B}"/>
              </a:ext>
            </a:extLst>
          </p:cNvPr>
          <p:cNvSpPr txBox="1"/>
          <p:nvPr/>
        </p:nvSpPr>
        <p:spPr>
          <a:xfrm>
            <a:off x="1" y="252004"/>
            <a:ext cx="914399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b="1" dirty="0">
                <a:solidFill>
                  <a:srgbClr val="002060"/>
                </a:solidFill>
                <a:latin typeface="Gill Sans"/>
              </a:rPr>
              <a:t>Comités Régionaux de Veille Economiques(CRVE): Outil d’accompagnement de la mise en œuvre des mesures contre les impacts de la pandémie du COVID-19</a:t>
            </a:r>
            <a:endParaRPr lang="ar-MA" dirty="0">
              <a:solidFill>
                <a:srgbClr val="002060"/>
              </a:solidFill>
              <a:latin typeface="Arial" pitchFamily="34" charset="0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1E4CBE0C-48B9-4C60-8E57-23A16088678B}"/>
              </a:ext>
            </a:extLst>
          </p:cNvPr>
          <p:cNvSpPr txBox="1"/>
          <p:nvPr/>
        </p:nvSpPr>
        <p:spPr>
          <a:xfrm>
            <a:off x="209793" y="1228397"/>
            <a:ext cx="8724413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400" b="1" dirty="0">
                <a:latin typeface="Arial" pitchFamily="34" charset="0"/>
                <a:cs typeface="Arial" pitchFamily="34" charset="0"/>
              </a:rPr>
              <a:t>Approch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Arial" pitchFamily="34" charset="0"/>
                <a:cs typeface="Arial" pitchFamily="34" charset="0"/>
              </a:rPr>
              <a:t>Mise en place des Comités Régionaux de Veille Economiqu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Arial" pitchFamily="34" charset="0"/>
                <a:cs typeface="Arial" pitchFamily="34" charset="0"/>
              </a:rPr>
              <a:t>Préparer périodiquement des rapports régionaux et les présenter aux services centraux afin de les examiner et les analyser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Arial" pitchFamily="34" charset="0"/>
                <a:cs typeface="Arial" pitchFamily="34" charset="0"/>
              </a:rPr>
              <a:t>Remonter la synthèse des mesures et recommandations au CVE-National.</a:t>
            </a:r>
          </a:p>
          <a:p>
            <a:pPr algn="l"/>
            <a:endParaRPr lang="fr-FR" sz="1400" b="1" dirty="0">
              <a:latin typeface="Arial" pitchFamily="34" charset="0"/>
              <a:cs typeface="Arial" pitchFamily="34" charset="0"/>
            </a:endParaRPr>
          </a:p>
          <a:p>
            <a:pPr algn="l"/>
            <a:r>
              <a:rPr lang="fr-FR" sz="1400" b="1" dirty="0">
                <a:latin typeface="Arial" pitchFamily="34" charset="0"/>
                <a:cs typeface="Arial" pitchFamily="34" charset="0"/>
              </a:rPr>
              <a:t>Mission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400" dirty="0">
                <a:latin typeface="Arial" pitchFamily="34" charset="0"/>
                <a:cs typeface="Arial" pitchFamily="34" charset="0"/>
              </a:rPr>
              <a:t>Suivi des impacts de la pandémie sur l’économie régionale;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400" dirty="0">
                <a:latin typeface="Arial" pitchFamily="34" charset="0"/>
                <a:cs typeface="Arial" pitchFamily="34" charset="0"/>
              </a:rPr>
              <a:t>Suivi des indicateurs économique de la région;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400" dirty="0">
                <a:latin typeface="Arial" pitchFamily="34" charset="0"/>
                <a:cs typeface="Arial" pitchFamily="34" charset="0"/>
              </a:rPr>
              <a:t>Suivi de la mise en œuvre du CVE-National;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400" dirty="0">
                <a:latin typeface="Arial" pitchFamily="34" charset="0"/>
                <a:cs typeface="Arial" pitchFamily="34" charset="0"/>
              </a:rPr>
              <a:t>Proposition de mesures et recommandations à soulever aux services centraux.</a:t>
            </a:r>
          </a:p>
          <a:p>
            <a:pPr algn="l"/>
            <a:endParaRPr lang="fr-FR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400" dirty="0">
              <a:latin typeface="Arial" pitchFamily="34" charset="0"/>
              <a:cs typeface="Arial" pitchFamily="34" charset="0"/>
            </a:endParaRPr>
          </a:p>
          <a:p>
            <a:r>
              <a:rPr lang="fr-FR" sz="1400" b="1" dirty="0">
                <a:latin typeface="Arial" pitchFamily="34" charset="0"/>
                <a:cs typeface="Arial" pitchFamily="34" charset="0"/>
              </a:rPr>
              <a:t>Impacts prévisionnels sur les régi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Arial" pitchFamily="34" charset="0"/>
                <a:cs typeface="Arial" pitchFamily="34" charset="0"/>
              </a:rPr>
              <a:t>Sauvegarde du tissu économique existant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Arial" pitchFamily="34" charset="0"/>
                <a:cs typeface="Arial" pitchFamily="34" charset="0"/>
              </a:rPr>
              <a:t>La relance économique post-pandémi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Arial" pitchFamily="34" charset="0"/>
                <a:cs typeface="Arial" pitchFamily="34" charset="0"/>
              </a:rPr>
              <a:t>Accompagnement technique, juridique, et financier des PPE et PM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Arial" pitchFamily="34" charset="0"/>
                <a:cs typeface="Arial" pitchFamily="34" charset="0"/>
              </a:rPr>
              <a:t>Création de nouvelles opportunités d’investissement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Arial" pitchFamily="34" charset="0"/>
                <a:cs typeface="Arial" pitchFamily="34" charset="0"/>
              </a:rPr>
              <a:t>Activer la mise en œuvre des PDR, l’amélioration de la gouvernance et de la performance régionale et nationale notamment à travers la R&amp;D via les universités.</a:t>
            </a:r>
            <a:endParaRPr lang="ar-MA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7DBF6EE-7E53-4D95-B5EB-54D30E7B8629}"/>
              </a:ext>
            </a:extLst>
          </p:cNvPr>
          <p:cNvSpPr/>
          <p:nvPr/>
        </p:nvSpPr>
        <p:spPr bwMode="gray">
          <a:xfrm>
            <a:off x="7481456" y="53030"/>
            <a:ext cx="1578776" cy="19897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>
                <a:lumMod val="90000"/>
              </a:schemeClr>
            </a:solidFill>
          </a:ln>
          <a:effectLst/>
        </p:spPr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  <a:latin typeface="Gill Sans"/>
              </a:rPr>
              <a:t>Contexte Général</a:t>
            </a:r>
          </a:p>
        </p:txBody>
      </p:sp>
    </p:spTree>
    <p:extLst>
      <p:ext uri="{BB962C8B-B14F-4D97-AF65-F5344CB8AC3E}">
        <p14:creationId xmlns:p14="http://schemas.microsoft.com/office/powerpoint/2010/main" val="3453786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1380" name="Rectangle 4" hidden="1">
            <a:extLst>
              <a:ext uri="{FF2B5EF4-FFF2-40B4-BE49-F238E27FC236}">
                <a16:creationId xmlns:a16="http://schemas.microsoft.com/office/drawing/2014/main" id="{00AE9FD1-D14B-401D-B999-54CFB30630F7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63" name="Diapositive think-cell" r:id="rId20" imgW="0" imgH="0" progId="TCLayout.ActiveDocument.1">
                  <p:embed/>
                </p:oleObj>
              </mc:Choice>
              <mc:Fallback>
                <p:oleObj name="Diapositive think-cell" r:id="rId20" imgW="0" imgH="0" progId="TCLayout.ActiveDocument.1">
                  <p:embed/>
                  <p:pic>
                    <p:nvPicPr>
                      <p:cNvPr id="101380" name="Rectangle 4" hidden="1">
                        <a:extLst>
                          <a:ext uri="{FF2B5EF4-FFF2-40B4-BE49-F238E27FC236}">
                            <a16:creationId xmlns:a16="http://schemas.microsoft.com/office/drawing/2014/main" id="{00AE9FD1-D14B-401D-B999-54CFB30630F7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0" y="1"/>
                        <a:ext cx="16197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CAC2A2"/>
          </a:solidFill>
          <a:ln>
            <a:noFill/>
          </a:ln>
          <a:effectLst>
            <a:outerShdw dist="53882" dir="2700000" algn="ctr" rotWithShape="0">
              <a:schemeClr val="tx1">
                <a:alpha val="40000"/>
              </a:schemeClr>
            </a:outerShdw>
          </a:effec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041" b="1" dirty="0">
              <a:solidFill>
                <a:schemeClr val="bg1"/>
              </a:solidFill>
              <a:latin typeface="Gill Sans" panose="020B0502020104020203"/>
              <a:ea typeface="Arial Unicode MS"/>
              <a:sym typeface="Gill Sans" panose="020B0502020104020203"/>
            </a:endParaRPr>
          </a:p>
        </p:txBody>
      </p:sp>
      <p:sp>
        <p:nvSpPr>
          <p:cNvPr id="101381" name="Oval 5">
            <a:extLst>
              <a:ext uri="{FF2B5EF4-FFF2-40B4-BE49-F238E27FC236}">
                <a16:creationId xmlns:a16="http://schemas.microsoft.com/office/drawing/2014/main" id="{2DE9874F-CFB4-4F59-A4E0-77F819EF3458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flipH="1">
            <a:off x="6528180" y="4513145"/>
            <a:ext cx="2323362" cy="939476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9BBAA9"/>
            </a:solidFill>
            <a:round/>
            <a:headEnd/>
            <a:tailEnd/>
          </a:ln>
          <a:effectLst/>
        </p:spPr>
        <p:txBody>
          <a:bodyPr wrap="square" anchor="ctr"/>
          <a:lstStyle>
            <a:lvl1pPr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fr-BE" altLang="fr-FR" sz="1200" b="1" i="0" dirty="0">
                <a:solidFill>
                  <a:schemeClr val="tx2"/>
                </a:solidFill>
                <a:latin typeface="Gill Sans" panose="020B0502020104020203"/>
              </a:rPr>
              <a:t>Feedback et force de proposition au CVE</a:t>
            </a:r>
          </a:p>
        </p:txBody>
      </p:sp>
      <p:sp>
        <p:nvSpPr>
          <p:cNvPr id="101383" name="Oval 7">
            <a:extLst>
              <a:ext uri="{FF2B5EF4-FFF2-40B4-BE49-F238E27FC236}">
                <a16:creationId xmlns:a16="http://schemas.microsoft.com/office/drawing/2014/main" id="{E66BA24F-F71F-4C21-8F8A-03FAAE54CCE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flipH="1">
            <a:off x="6528181" y="1358732"/>
            <a:ext cx="2323362" cy="939476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9BBAA9"/>
            </a:solidFill>
            <a:round/>
            <a:headEnd/>
            <a:tailEnd/>
          </a:ln>
          <a:effectLst/>
        </p:spPr>
        <p:txBody>
          <a:bodyPr wrap="square" anchor="ctr"/>
          <a:lstStyle>
            <a:lvl1pPr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fr-BE" altLang="fr-FR" sz="1200" b="1" i="0" dirty="0">
                <a:solidFill>
                  <a:schemeClr val="tx2"/>
                </a:solidFill>
                <a:latin typeface="Gill Sans" panose="020B0502020104020203"/>
              </a:rPr>
              <a:t>Plan de déploiement régional des nouvelles mesures à caractère national</a:t>
            </a:r>
            <a:endParaRPr lang="fr-FR" altLang="fr-FR" sz="1100" i="0" dirty="0">
              <a:solidFill>
                <a:schemeClr val="tx2"/>
              </a:solidFill>
              <a:latin typeface="Gill Sans" panose="020B0502020104020203"/>
            </a:endParaRPr>
          </a:p>
        </p:txBody>
      </p:sp>
      <p:sp>
        <p:nvSpPr>
          <p:cNvPr id="101400" name="Freeform 24">
            <a:extLst>
              <a:ext uri="{FF2B5EF4-FFF2-40B4-BE49-F238E27FC236}">
                <a16:creationId xmlns:a16="http://schemas.microsoft.com/office/drawing/2014/main" id="{A5FA2194-B0FA-4E7D-9ED3-25FB1257E8DF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 flipH="1">
            <a:off x="6050018" y="1566407"/>
            <a:ext cx="605785" cy="638179"/>
          </a:xfrm>
          <a:custGeom>
            <a:avLst/>
            <a:gdLst>
              <a:gd name="T0" fmla="*/ 191662 w 697"/>
              <a:gd name="T1" fmla="*/ 0 h 1024"/>
              <a:gd name="T2" fmla="*/ 0 w 697"/>
              <a:gd name="T3" fmla="*/ 170418 h 1024"/>
              <a:gd name="T4" fmla="*/ 191662 w 697"/>
              <a:gd name="T5" fmla="*/ 342057 h 1024"/>
              <a:gd name="T6" fmla="*/ 191662 w 697"/>
              <a:gd name="T7" fmla="*/ 247380 h 1024"/>
              <a:gd name="T8" fmla="*/ 224883 w 697"/>
              <a:gd name="T9" fmla="*/ 249824 h 1024"/>
              <a:gd name="T10" fmla="*/ 258104 w 697"/>
              <a:gd name="T11" fmla="*/ 254099 h 1024"/>
              <a:gd name="T12" fmla="*/ 290474 w 697"/>
              <a:gd name="T13" fmla="*/ 261429 h 1024"/>
              <a:gd name="T14" fmla="*/ 321991 w 697"/>
              <a:gd name="T15" fmla="*/ 270591 h 1024"/>
              <a:gd name="T16" fmla="*/ 352657 w 697"/>
              <a:gd name="T17" fmla="*/ 281586 h 1024"/>
              <a:gd name="T18" fmla="*/ 382471 w 697"/>
              <a:gd name="T19" fmla="*/ 296245 h 1024"/>
              <a:gd name="T20" fmla="*/ 411434 w 697"/>
              <a:gd name="T21" fmla="*/ 312127 h 1024"/>
              <a:gd name="T22" fmla="*/ 437840 w 697"/>
              <a:gd name="T23" fmla="*/ 330451 h 1024"/>
              <a:gd name="T24" fmla="*/ 462543 w 697"/>
              <a:gd name="T25" fmla="*/ 350608 h 1024"/>
              <a:gd name="T26" fmla="*/ 486395 w 697"/>
              <a:gd name="T27" fmla="*/ 371987 h 1024"/>
              <a:gd name="T28" fmla="*/ 507690 w 697"/>
              <a:gd name="T29" fmla="*/ 395808 h 1024"/>
              <a:gd name="T30" fmla="*/ 527282 w 697"/>
              <a:gd name="T31" fmla="*/ 420852 h 1024"/>
              <a:gd name="T32" fmla="*/ 543467 w 697"/>
              <a:gd name="T33" fmla="*/ 447117 h 1024"/>
              <a:gd name="T34" fmla="*/ 557948 w 697"/>
              <a:gd name="T35" fmla="*/ 475214 h 1024"/>
              <a:gd name="T36" fmla="*/ 569874 w 697"/>
              <a:gd name="T37" fmla="*/ 503923 h 1024"/>
              <a:gd name="T38" fmla="*/ 580096 w 697"/>
              <a:gd name="T39" fmla="*/ 533242 h 1024"/>
              <a:gd name="T40" fmla="*/ 586910 w 697"/>
              <a:gd name="T41" fmla="*/ 563172 h 1024"/>
              <a:gd name="T42" fmla="*/ 591170 w 697"/>
              <a:gd name="T43" fmla="*/ 593713 h 1024"/>
              <a:gd name="T44" fmla="*/ 592873 w 697"/>
              <a:gd name="T45" fmla="*/ 624864 h 1024"/>
              <a:gd name="T46" fmla="*/ 592021 w 697"/>
              <a:gd name="T47" fmla="*/ 588215 h 1024"/>
              <a:gd name="T48" fmla="*/ 589466 w 697"/>
              <a:gd name="T49" fmla="*/ 552177 h 1024"/>
              <a:gd name="T50" fmla="*/ 585207 w 697"/>
              <a:gd name="T51" fmla="*/ 516750 h 1024"/>
              <a:gd name="T52" fmla="*/ 578392 w 697"/>
              <a:gd name="T53" fmla="*/ 481323 h 1024"/>
              <a:gd name="T54" fmla="*/ 569874 w 697"/>
              <a:gd name="T55" fmla="*/ 447117 h 1024"/>
              <a:gd name="T56" fmla="*/ 560504 w 697"/>
              <a:gd name="T57" fmla="*/ 413522 h 1024"/>
              <a:gd name="T58" fmla="*/ 547726 w 697"/>
              <a:gd name="T59" fmla="*/ 380538 h 1024"/>
              <a:gd name="T60" fmla="*/ 534949 w 697"/>
              <a:gd name="T61" fmla="*/ 348776 h 1024"/>
              <a:gd name="T62" fmla="*/ 519616 w 697"/>
              <a:gd name="T63" fmla="*/ 318846 h 1024"/>
              <a:gd name="T64" fmla="*/ 503431 w 697"/>
              <a:gd name="T65" fmla="*/ 289527 h 1024"/>
              <a:gd name="T66" fmla="*/ 485543 w 697"/>
              <a:gd name="T67" fmla="*/ 262040 h 1024"/>
              <a:gd name="T68" fmla="*/ 465951 w 697"/>
              <a:gd name="T69" fmla="*/ 236386 h 1024"/>
              <a:gd name="T70" fmla="*/ 446359 w 697"/>
              <a:gd name="T71" fmla="*/ 212564 h 1024"/>
              <a:gd name="T72" fmla="*/ 424211 w 697"/>
              <a:gd name="T73" fmla="*/ 189964 h 1024"/>
              <a:gd name="T74" fmla="*/ 401212 w 697"/>
              <a:gd name="T75" fmla="*/ 169807 h 1024"/>
              <a:gd name="T76" fmla="*/ 377360 w 697"/>
              <a:gd name="T77" fmla="*/ 151482 h 1024"/>
              <a:gd name="T78" fmla="*/ 351805 w 697"/>
              <a:gd name="T79" fmla="*/ 135601 h 1024"/>
              <a:gd name="T80" fmla="*/ 327102 w 697"/>
              <a:gd name="T81" fmla="*/ 121552 h 1024"/>
              <a:gd name="T82" fmla="*/ 300696 w 697"/>
              <a:gd name="T83" fmla="*/ 109947 h 1024"/>
              <a:gd name="T84" fmla="*/ 274289 w 697"/>
              <a:gd name="T85" fmla="*/ 100785 h 1024"/>
              <a:gd name="T86" fmla="*/ 247030 w 697"/>
              <a:gd name="T87" fmla="*/ 94066 h 1024"/>
              <a:gd name="T88" fmla="*/ 219772 w 697"/>
              <a:gd name="T89" fmla="*/ 89179 h 1024"/>
              <a:gd name="T90" fmla="*/ 191662 w 697"/>
              <a:gd name="T91" fmla="*/ 86736 h 1024"/>
              <a:gd name="T92" fmla="*/ 191662 w 697"/>
              <a:gd name="T93" fmla="*/ 0 h 102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697" h="1024">
                <a:moveTo>
                  <a:pt x="225" y="0"/>
                </a:moveTo>
                <a:lnTo>
                  <a:pt x="0" y="279"/>
                </a:lnTo>
                <a:lnTo>
                  <a:pt x="225" y="560"/>
                </a:lnTo>
                <a:lnTo>
                  <a:pt x="225" y="405"/>
                </a:lnTo>
                <a:lnTo>
                  <a:pt x="264" y="409"/>
                </a:lnTo>
                <a:lnTo>
                  <a:pt x="303" y="416"/>
                </a:lnTo>
                <a:lnTo>
                  <a:pt x="341" y="428"/>
                </a:lnTo>
                <a:lnTo>
                  <a:pt x="378" y="443"/>
                </a:lnTo>
                <a:lnTo>
                  <a:pt x="414" y="461"/>
                </a:lnTo>
                <a:lnTo>
                  <a:pt x="449" y="485"/>
                </a:lnTo>
                <a:lnTo>
                  <a:pt x="483" y="511"/>
                </a:lnTo>
                <a:lnTo>
                  <a:pt x="514" y="541"/>
                </a:lnTo>
                <a:lnTo>
                  <a:pt x="543" y="574"/>
                </a:lnTo>
                <a:lnTo>
                  <a:pt x="571" y="609"/>
                </a:lnTo>
                <a:lnTo>
                  <a:pt x="596" y="648"/>
                </a:lnTo>
                <a:lnTo>
                  <a:pt x="619" y="689"/>
                </a:lnTo>
                <a:lnTo>
                  <a:pt x="638" y="732"/>
                </a:lnTo>
                <a:lnTo>
                  <a:pt x="655" y="778"/>
                </a:lnTo>
                <a:lnTo>
                  <a:pt x="669" y="825"/>
                </a:lnTo>
                <a:lnTo>
                  <a:pt x="681" y="873"/>
                </a:lnTo>
                <a:lnTo>
                  <a:pt x="689" y="922"/>
                </a:lnTo>
                <a:lnTo>
                  <a:pt x="694" y="972"/>
                </a:lnTo>
                <a:lnTo>
                  <a:pt x="696" y="1023"/>
                </a:lnTo>
                <a:lnTo>
                  <a:pt x="695" y="963"/>
                </a:lnTo>
                <a:lnTo>
                  <a:pt x="692" y="904"/>
                </a:lnTo>
                <a:lnTo>
                  <a:pt x="687" y="846"/>
                </a:lnTo>
                <a:lnTo>
                  <a:pt x="679" y="788"/>
                </a:lnTo>
                <a:lnTo>
                  <a:pt x="669" y="732"/>
                </a:lnTo>
                <a:lnTo>
                  <a:pt x="658" y="677"/>
                </a:lnTo>
                <a:lnTo>
                  <a:pt x="643" y="623"/>
                </a:lnTo>
                <a:lnTo>
                  <a:pt x="628" y="571"/>
                </a:lnTo>
                <a:lnTo>
                  <a:pt x="610" y="522"/>
                </a:lnTo>
                <a:lnTo>
                  <a:pt x="591" y="474"/>
                </a:lnTo>
                <a:lnTo>
                  <a:pt x="570" y="429"/>
                </a:lnTo>
                <a:lnTo>
                  <a:pt x="547" y="387"/>
                </a:lnTo>
                <a:lnTo>
                  <a:pt x="524" y="348"/>
                </a:lnTo>
                <a:lnTo>
                  <a:pt x="498" y="311"/>
                </a:lnTo>
                <a:lnTo>
                  <a:pt x="471" y="278"/>
                </a:lnTo>
                <a:lnTo>
                  <a:pt x="443" y="248"/>
                </a:lnTo>
                <a:lnTo>
                  <a:pt x="413" y="222"/>
                </a:lnTo>
                <a:lnTo>
                  <a:pt x="384" y="199"/>
                </a:lnTo>
                <a:lnTo>
                  <a:pt x="353" y="180"/>
                </a:lnTo>
                <a:lnTo>
                  <a:pt x="322" y="165"/>
                </a:lnTo>
                <a:lnTo>
                  <a:pt x="290" y="154"/>
                </a:lnTo>
                <a:lnTo>
                  <a:pt x="258" y="146"/>
                </a:lnTo>
                <a:lnTo>
                  <a:pt x="225" y="142"/>
                </a:lnTo>
                <a:lnTo>
                  <a:pt x="225" y="0"/>
                </a:lnTo>
              </a:path>
            </a:pathLst>
          </a:custGeom>
          <a:solidFill>
            <a:srgbClr val="8DB09D"/>
          </a:solidFill>
          <a:ln w="9525" algn="ctr">
            <a:solidFill>
              <a:srgbClr val="8DB09D"/>
            </a:solidFill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defTabSz="844083"/>
            <a:endParaRPr lang="fr-FR" sz="1292" b="1">
              <a:solidFill>
                <a:schemeClr val="bg1"/>
              </a:solidFill>
              <a:latin typeface="Gill Sans"/>
            </a:endParaRPr>
          </a:p>
        </p:txBody>
      </p:sp>
      <p:sp>
        <p:nvSpPr>
          <p:cNvPr id="101401" name="Freeform 25">
            <a:extLst>
              <a:ext uri="{FF2B5EF4-FFF2-40B4-BE49-F238E27FC236}">
                <a16:creationId xmlns:a16="http://schemas.microsoft.com/office/drawing/2014/main" id="{BC20E574-345A-4C85-942C-933AFF70F4FD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 flipH="1" flipV="1">
            <a:off x="6050018" y="4427129"/>
            <a:ext cx="605785" cy="638179"/>
          </a:xfrm>
          <a:custGeom>
            <a:avLst/>
            <a:gdLst>
              <a:gd name="T0" fmla="*/ 191662 w 697"/>
              <a:gd name="T1" fmla="*/ 0 h 1024"/>
              <a:gd name="T2" fmla="*/ 0 w 697"/>
              <a:gd name="T3" fmla="*/ 170418 h 1024"/>
              <a:gd name="T4" fmla="*/ 191662 w 697"/>
              <a:gd name="T5" fmla="*/ 342057 h 1024"/>
              <a:gd name="T6" fmla="*/ 191662 w 697"/>
              <a:gd name="T7" fmla="*/ 247380 h 1024"/>
              <a:gd name="T8" fmla="*/ 224883 w 697"/>
              <a:gd name="T9" fmla="*/ 249824 h 1024"/>
              <a:gd name="T10" fmla="*/ 258104 w 697"/>
              <a:gd name="T11" fmla="*/ 254099 h 1024"/>
              <a:gd name="T12" fmla="*/ 290474 w 697"/>
              <a:gd name="T13" fmla="*/ 261429 h 1024"/>
              <a:gd name="T14" fmla="*/ 321991 w 697"/>
              <a:gd name="T15" fmla="*/ 270591 h 1024"/>
              <a:gd name="T16" fmla="*/ 352657 w 697"/>
              <a:gd name="T17" fmla="*/ 281586 h 1024"/>
              <a:gd name="T18" fmla="*/ 382471 w 697"/>
              <a:gd name="T19" fmla="*/ 296245 h 1024"/>
              <a:gd name="T20" fmla="*/ 411434 w 697"/>
              <a:gd name="T21" fmla="*/ 312127 h 1024"/>
              <a:gd name="T22" fmla="*/ 437840 w 697"/>
              <a:gd name="T23" fmla="*/ 330451 h 1024"/>
              <a:gd name="T24" fmla="*/ 462543 w 697"/>
              <a:gd name="T25" fmla="*/ 350608 h 1024"/>
              <a:gd name="T26" fmla="*/ 486395 w 697"/>
              <a:gd name="T27" fmla="*/ 371987 h 1024"/>
              <a:gd name="T28" fmla="*/ 507690 w 697"/>
              <a:gd name="T29" fmla="*/ 395808 h 1024"/>
              <a:gd name="T30" fmla="*/ 527282 w 697"/>
              <a:gd name="T31" fmla="*/ 420852 h 1024"/>
              <a:gd name="T32" fmla="*/ 543467 w 697"/>
              <a:gd name="T33" fmla="*/ 447117 h 1024"/>
              <a:gd name="T34" fmla="*/ 557948 w 697"/>
              <a:gd name="T35" fmla="*/ 475214 h 1024"/>
              <a:gd name="T36" fmla="*/ 569874 w 697"/>
              <a:gd name="T37" fmla="*/ 503923 h 1024"/>
              <a:gd name="T38" fmla="*/ 580096 w 697"/>
              <a:gd name="T39" fmla="*/ 533242 h 1024"/>
              <a:gd name="T40" fmla="*/ 586910 w 697"/>
              <a:gd name="T41" fmla="*/ 563172 h 1024"/>
              <a:gd name="T42" fmla="*/ 591170 w 697"/>
              <a:gd name="T43" fmla="*/ 593713 h 1024"/>
              <a:gd name="T44" fmla="*/ 592873 w 697"/>
              <a:gd name="T45" fmla="*/ 624864 h 1024"/>
              <a:gd name="T46" fmla="*/ 592021 w 697"/>
              <a:gd name="T47" fmla="*/ 588215 h 1024"/>
              <a:gd name="T48" fmla="*/ 589466 w 697"/>
              <a:gd name="T49" fmla="*/ 552177 h 1024"/>
              <a:gd name="T50" fmla="*/ 585207 w 697"/>
              <a:gd name="T51" fmla="*/ 516750 h 1024"/>
              <a:gd name="T52" fmla="*/ 578392 w 697"/>
              <a:gd name="T53" fmla="*/ 481323 h 1024"/>
              <a:gd name="T54" fmla="*/ 569874 w 697"/>
              <a:gd name="T55" fmla="*/ 447117 h 1024"/>
              <a:gd name="T56" fmla="*/ 560504 w 697"/>
              <a:gd name="T57" fmla="*/ 413522 h 1024"/>
              <a:gd name="T58" fmla="*/ 547726 w 697"/>
              <a:gd name="T59" fmla="*/ 380538 h 1024"/>
              <a:gd name="T60" fmla="*/ 534949 w 697"/>
              <a:gd name="T61" fmla="*/ 348776 h 1024"/>
              <a:gd name="T62" fmla="*/ 519616 w 697"/>
              <a:gd name="T63" fmla="*/ 318846 h 1024"/>
              <a:gd name="T64" fmla="*/ 503431 w 697"/>
              <a:gd name="T65" fmla="*/ 289527 h 1024"/>
              <a:gd name="T66" fmla="*/ 485543 w 697"/>
              <a:gd name="T67" fmla="*/ 262040 h 1024"/>
              <a:gd name="T68" fmla="*/ 465951 w 697"/>
              <a:gd name="T69" fmla="*/ 236386 h 1024"/>
              <a:gd name="T70" fmla="*/ 446359 w 697"/>
              <a:gd name="T71" fmla="*/ 212564 h 1024"/>
              <a:gd name="T72" fmla="*/ 424211 w 697"/>
              <a:gd name="T73" fmla="*/ 189964 h 1024"/>
              <a:gd name="T74" fmla="*/ 401212 w 697"/>
              <a:gd name="T75" fmla="*/ 169807 h 1024"/>
              <a:gd name="T76" fmla="*/ 377360 w 697"/>
              <a:gd name="T77" fmla="*/ 151482 h 1024"/>
              <a:gd name="T78" fmla="*/ 351805 w 697"/>
              <a:gd name="T79" fmla="*/ 135601 h 1024"/>
              <a:gd name="T80" fmla="*/ 327102 w 697"/>
              <a:gd name="T81" fmla="*/ 121552 h 1024"/>
              <a:gd name="T82" fmla="*/ 300696 w 697"/>
              <a:gd name="T83" fmla="*/ 109947 h 1024"/>
              <a:gd name="T84" fmla="*/ 274289 w 697"/>
              <a:gd name="T85" fmla="*/ 100785 h 1024"/>
              <a:gd name="T86" fmla="*/ 247030 w 697"/>
              <a:gd name="T87" fmla="*/ 94066 h 1024"/>
              <a:gd name="T88" fmla="*/ 219772 w 697"/>
              <a:gd name="T89" fmla="*/ 89179 h 1024"/>
              <a:gd name="T90" fmla="*/ 191662 w 697"/>
              <a:gd name="T91" fmla="*/ 86736 h 1024"/>
              <a:gd name="T92" fmla="*/ 191662 w 697"/>
              <a:gd name="T93" fmla="*/ 0 h 102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697" h="1024">
                <a:moveTo>
                  <a:pt x="225" y="0"/>
                </a:moveTo>
                <a:lnTo>
                  <a:pt x="0" y="279"/>
                </a:lnTo>
                <a:lnTo>
                  <a:pt x="225" y="560"/>
                </a:lnTo>
                <a:lnTo>
                  <a:pt x="225" y="405"/>
                </a:lnTo>
                <a:lnTo>
                  <a:pt x="264" y="409"/>
                </a:lnTo>
                <a:lnTo>
                  <a:pt x="303" y="416"/>
                </a:lnTo>
                <a:lnTo>
                  <a:pt x="341" y="428"/>
                </a:lnTo>
                <a:lnTo>
                  <a:pt x="378" y="443"/>
                </a:lnTo>
                <a:lnTo>
                  <a:pt x="414" y="461"/>
                </a:lnTo>
                <a:lnTo>
                  <a:pt x="449" y="485"/>
                </a:lnTo>
                <a:lnTo>
                  <a:pt x="483" y="511"/>
                </a:lnTo>
                <a:lnTo>
                  <a:pt x="514" y="541"/>
                </a:lnTo>
                <a:lnTo>
                  <a:pt x="543" y="574"/>
                </a:lnTo>
                <a:lnTo>
                  <a:pt x="571" y="609"/>
                </a:lnTo>
                <a:lnTo>
                  <a:pt x="596" y="648"/>
                </a:lnTo>
                <a:lnTo>
                  <a:pt x="619" y="689"/>
                </a:lnTo>
                <a:lnTo>
                  <a:pt x="638" y="732"/>
                </a:lnTo>
                <a:lnTo>
                  <a:pt x="655" y="778"/>
                </a:lnTo>
                <a:lnTo>
                  <a:pt x="669" y="825"/>
                </a:lnTo>
                <a:lnTo>
                  <a:pt x="681" y="873"/>
                </a:lnTo>
                <a:lnTo>
                  <a:pt x="689" y="922"/>
                </a:lnTo>
                <a:lnTo>
                  <a:pt x="694" y="972"/>
                </a:lnTo>
                <a:lnTo>
                  <a:pt x="696" y="1023"/>
                </a:lnTo>
                <a:lnTo>
                  <a:pt x="695" y="963"/>
                </a:lnTo>
                <a:lnTo>
                  <a:pt x="692" y="904"/>
                </a:lnTo>
                <a:lnTo>
                  <a:pt x="687" y="846"/>
                </a:lnTo>
                <a:lnTo>
                  <a:pt x="679" y="788"/>
                </a:lnTo>
                <a:lnTo>
                  <a:pt x="669" y="732"/>
                </a:lnTo>
                <a:lnTo>
                  <a:pt x="658" y="677"/>
                </a:lnTo>
                <a:lnTo>
                  <a:pt x="643" y="623"/>
                </a:lnTo>
                <a:lnTo>
                  <a:pt x="628" y="571"/>
                </a:lnTo>
                <a:lnTo>
                  <a:pt x="610" y="522"/>
                </a:lnTo>
                <a:lnTo>
                  <a:pt x="591" y="474"/>
                </a:lnTo>
                <a:lnTo>
                  <a:pt x="570" y="429"/>
                </a:lnTo>
                <a:lnTo>
                  <a:pt x="547" y="387"/>
                </a:lnTo>
                <a:lnTo>
                  <a:pt x="524" y="348"/>
                </a:lnTo>
                <a:lnTo>
                  <a:pt x="498" y="311"/>
                </a:lnTo>
                <a:lnTo>
                  <a:pt x="471" y="278"/>
                </a:lnTo>
                <a:lnTo>
                  <a:pt x="443" y="248"/>
                </a:lnTo>
                <a:lnTo>
                  <a:pt x="413" y="222"/>
                </a:lnTo>
                <a:lnTo>
                  <a:pt x="384" y="199"/>
                </a:lnTo>
                <a:lnTo>
                  <a:pt x="353" y="180"/>
                </a:lnTo>
                <a:lnTo>
                  <a:pt x="322" y="165"/>
                </a:lnTo>
                <a:lnTo>
                  <a:pt x="290" y="154"/>
                </a:lnTo>
                <a:lnTo>
                  <a:pt x="258" y="146"/>
                </a:lnTo>
                <a:lnTo>
                  <a:pt x="225" y="142"/>
                </a:lnTo>
                <a:lnTo>
                  <a:pt x="225" y="0"/>
                </a:lnTo>
              </a:path>
            </a:pathLst>
          </a:custGeom>
          <a:solidFill>
            <a:srgbClr val="8DB09D"/>
          </a:solidFill>
          <a:ln w="9525" algn="ctr">
            <a:solidFill>
              <a:srgbClr val="8DB09D"/>
            </a:solidFill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defTabSz="844083"/>
            <a:endParaRPr lang="fr-FR" sz="1292" b="1">
              <a:solidFill>
                <a:schemeClr val="bg1"/>
              </a:solidFill>
              <a:latin typeface="Gill Sans"/>
            </a:endParaRPr>
          </a:p>
        </p:txBody>
      </p:sp>
      <p:sp>
        <p:nvSpPr>
          <p:cNvPr id="101402" name="AutoShape 26">
            <a:extLst>
              <a:ext uri="{FF2B5EF4-FFF2-40B4-BE49-F238E27FC236}">
                <a16:creationId xmlns:a16="http://schemas.microsoft.com/office/drawing/2014/main" id="{BAA67A2D-50FD-45E2-B494-DBF9A7F79F52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96546" y="1358732"/>
            <a:ext cx="2128345" cy="920448"/>
          </a:xfrm>
          <a:prstGeom prst="homePlate">
            <a:avLst>
              <a:gd name="adj" fmla="val 12797"/>
            </a:avLst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 anchor="ctr"/>
          <a:lstStyle>
            <a:lvl1pPr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fr-BE" altLang="fr-FR" sz="1200" b="1" i="0" dirty="0">
                <a:solidFill>
                  <a:schemeClr val="tx2"/>
                </a:solidFill>
                <a:latin typeface="Gill Sans" panose="020B0502020104020203"/>
              </a:rPr>
              <a:t>Décisions au niveau national (CVE) et autres instances</a:t>
            </a:r>
          </a:p>
        </p:txBody>
      </p:sp>
      <p:sp>
        <p:nvSpPr>
          <p:cNvPr id="101403" name="Rectangle 27">
            <a:extLst>
              <a:ext uri="{FF2B5EF4-FFF2-40B4-BE49-F238E27FC236}">
                <a16:creationId xmlns:a16="http://schemas.microsoft.com/office/drawing/2014/main" id="{414855C1-5CCE-4523-95F0-3C6B8FCE394C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-1715850" y="1002623"/>
            <a:ext cx="2021442" cy="13605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fr-BE" altLang="fr-FR" sz="1224" dirty="0"/>
          </a:p>
        </p:txBody>
      </p:sp>
      <p:sp>
        <p:nvSpPr>
          <p:cNvPr id="101407" name="AutoShape 31">
            <a:extLst>
              <a:ext uri="{FF2B5EF4-FFF2-40B4-BE49-F238E27FC236}">
                <a16:creationId xmlns:a16="http://schemas.microsoft.com/office/drawing/2014/main" id="{67F85E6C-1BFD-4B26-AF1E-C9DD3B22735B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96546" y="2945451"/>
            <a:ext cx="2128345" cy="920448"/>
          </a:xfrm>
          <a:prstGeom prst="homePlate">
            <a:avLst>
              <a:gd name="adj" fmla="val 12797"/>
            </a:avLst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 anchor="ctr"/>
          <a:lstStyle>
            <a:lvl1pPr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fr-FR" altLang="fr-FR" sz="1200" b="1" i="0" dirty="0">
                <a:solidFill>
                  <a:schemeClr val="tx2"/>
                </a:solidFill>
                <a:latin typeface="Gill Sans" panose="020B0502020104020203"/>
              </a:rPr>
              <a:t>Suivi précis des évolutions au niveau de la Région</a:t>
            </a:r>
            <a:endParaRPr lang="fr-BE" altLang="fr-FR" sz="1200" b="1" i="0" dirty="0">
              <a:solidFill>
                <a:schemeClr val="tx2"/>
              </a:solidFill>
              <a:latin typeface="Gill Sans" panose="020B0502020104020203"/>
            </a:endParaRPr>
          </a:p>
        </p:txBody>
      </p:sp>
      <p:sp>
        <p:nvSpPr>
          <p:cNvPr id="101409" name="AutoShape 33">
            <a:extLst>
              <a:ext uri="{FF2B5EF4-FFF2-40B4-BE49-F238E27FC236}">
                <a16:creationId xmlns:a16="http://schemas.microsoft.com/office/drawing/2014/main" id="{FA78B2F7-CEB1-488C-AC59-EA2806A97543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96546" y="4513145"/>
            <a:ext cx="2128345" cy="920448"/>
          </a:xfrm>
          <a:prstGeom prst="homePlate">
            <a:avLst>
              <a:gd name="adj" fmla="val 12797"/>
            </a:avLst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 anchor="ctr"/>
          <a:lstStyle>
            <a:lvl1pPr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fr-BE" altLang="fr-FR" sz="1200" b="1" i="0" dirty="0">
                <a:solidFill>
                  <a:schemeClr val="tx2"/>
                </a:solidFill>
                <a:latin typeface="Gill Sans" panose="020B0502020104020203"/>
              </a:rPr>
              <a:t>Recueil des propositions issues des forces vives de la Région et acteurs locaux</a:t>
            </a:r>
          </a:p>
        </p:txBody>
      </p:sp>
      <p:sp>
        <p:nvSpPr>
          <p:cNvPr id="101411" name="AutoShape 35">
            <a:extLst>
              <a:ext uri="{FF2B5EF4-FFF2-40B4-BE49-F238E27FC236}">
                <a16:creationId xmlns:a16="http://schemas.microsoft.com/office/drawing/2014/main" id="{89DD073C-DA55-4762-B471-F062308D5EEC}"/>
              </a:ext>
            </a:extLst>
          </p:cNvPr>
          <p:cNvSpPr>
            <a:spLocks noChangeAspect="1" noChangeArrowheads="1"/>
          </p:cNvSpPr>
          <p:nvPr/>
        </p:nvSpPr>
        <p:spPr bwMode="gray">
          <a:xfrm rot="9825266">
            <a:off x="1243287" y="4076846"/>
            <a:ext cx="234863" cy="234864"/>
          </a:xfrm>
          <a:custGeom>
            <a:avLst/>
            <a:gdLst>
              <a:gd name="T0" fmla="*/ 10273 w 21600"/>
              <a:gd name="T1" fmla="*/ 67532 h 21600"/>
              <a:gd name="T2" fmla="*/ 171937 w 21600"/>
              <a:gd name="T3" fmla="*/ 180048 h 21600"/>
              <a:gd name="T4" fmla="*/ 62683 w 21600"/>
              <a:gd name="T5" fmla="*/ 91308 h 21600"/>
              <a:gd name="T6" fmla="*/ 258960 w 21600"/>
              <a:gd name="T7" fmla="*/ 115094 h 21600"/>
              <a:gd name="T8" fmla="*/ 201414 w 21600"/>
              <a:gd name="T9" fmla="*/ 172641 h 21600"/>
              <a:gd name="T10" fmla="*/ 143867 w 21600"/>
              <a:gd name="T11" fmla="*/ 115094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6200" y="10800"/>
                </a:moveTo>
                <a:cubicBezTo>
                  <a:pt x="16200" y="7817"/>
                  <a:pt x="13782" y="5400"/>
                  <a:pt x="10800" y="5400"/>
                </a:cubicBezTo>
                <a:cubicBezTo>
                  <a:pt x="7817" y="5400"/>
                  <a:pt x="5400" y="7817"/>
                  <a:pt x="5400" y="10800"/>
                </a:cubicBezTo>
                <a:cubicBezTo>
                  <a:pt x="5400" y="13782"/>
                  <a:pt x="7817" y="16200"/>
                  <a:pt x="10800" y="16200"/>
                </a:cubicBezTo>
                <a:cubicBezTo>
                  <a:pt x="12108" y="16200"/>
                  <a:pt x="13371" y="15725"/>
                  <a:pt x="14356" y="14863"/>
                </a:cubicBezTo>
                <a:lnTo>
                  <a:pt x="17912" y="18926"/>
                </a:lnTo>
                <a:cubicBezTo>
                  <a:pt x="15943" y="20650"/>
                  <a:pt x="13416" y="21600"/>
                  <a:pt x="10800" y="21600"/>
                </a:cubicBezTo>
                <a:cubicBezTo>
                  <a:pt x="4835" y="21600"/>
                  <a:pt x="0" y="16764"/>
                  <a:pt x="0" y="10800"/>
                </a:cubicBezTo>
                <a:cubicBezTo>
                  <a:pt x="0" y="4835"/>
                  <a:pt x="4835" y="0"/>
                  <a:pt x="10800" y="0"/>
                </a:cubicBezTo>
                <a:cubicBezTo>
                  <a:pt x="16764" y="0"/>
                  <a:pt x="21600" y="4835"/>
                  <a:pt x="21600" y="10799"/>
                </a:cubicBezTo>
                <a:lnTo>
                  <a:pt x="21600" y="10800"/>
                </a:lnTo>
                <a:lnTo>
                  <a:pt x="24300" y="10800"/>
                </a:lnTo>
                <a:lnTo>
                  <a:pt x="18900" y="16200"/>
                </a:lnTo>
                <a:lnTo>
                  <a:pt x="13500" y="10800"/>
                </a:lnTo>
                <a:lnTo>
                  <a:pt x="16200" y="10800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fr-FR" sz="1200" i="1">
              <a:solidFill>
                <a:schemeClr val="tx2"/>
              </a:solidFill>
              <a:latin typeface="Gill Sans" panose="020B0502020104020203"/>
            </a:endParaRPr>
          </a:p>
        </p:txBody>
      </p:sp>
      <p:sp>
        <p:nvSpPr>
          <p:cNvPr id="101412" name="AutoShape 36">
            <a:extLst>
              <a:ext uri="{FF2B5EF4-FFF2-40B4-BE49-F238E27FC236}">
                <a16:creationId xmlns:a16="http://schemas.microsoft.com/office/drawing/2014/main" id="{69567D65-9B51-4FC7-9936-4B6074915988}"/>
              </a:ext>
            </a:extLst>
          </p:cNvPr>
          <p:cNvSpPr>
            <a:spLocks noChangeAspect="1" noChangeArrowheads="1"/>
          </p:cNvSpPr>
          <p:nvPr>
            <p:custDataLst>
              <p:tags r:id="rId12"/>
            </p:custDataLst>
          </p:nvPr>
        </p:nvSpPr>
        <p:spPr bwMode="gray">
          <a:xfrm rot="9825266">
            <a:off x="1243287" y="2499641"/>
            <a:ext cx="234863" cy="234863"/>
          </a:xfrm>
          <a:custGeom>
            <a:avLst/>
            <a:gdLst>
              <a:gd name="T0" fmla="*/ 10273 w 21600"/>
              <a:gd name="T1" fmla="*/ 67532 h 21600"/>
              <a:gd name="T2" fmla="*/ 171937 w 21600"/>
              <a:gd name="T3" fmla="*/ 180047 h 21600"/>
              <a:gd name="T4" fmla="*/ 62683 w 21600"/>
              <a:gd name="T5" fmla="*/ 91308 h 21600"/>
              <a:gd name="T6" fmla="*/ 258960 w 21600"/>
              <a:gd name="T7" fmla="*/ 115094 h 21600"/>
              <a:gd name="T8" fmla="*/ 201414 w 21600"/>
              <a:gd name="T9" fmla="*/ 172640 h 21600"/>
              <a:gd name="T10" fmla="*/ 143867 w 21600"/>
              <a:gd name="T11" fmla="*/ 115094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6200" y="10800"/>
                </a:moveTo>
                <a:cubicBezTo>
                  <a:pt x="16200" y="7817"/>
                  <a:pt x="13782" y="5400"/>
                  <a:pt x="10800" y="5400"/>
                </a:cubicBezTo>
                <a:cubicBezTo>
                  <a:pt x="7817" y="5400"/>
                  <a:pt x="5400" y="7817"/>
                  <a:pt x="5400" y="10800"/>
                </a:cubicBezTo>
                <a:cubicBezTo>
                  <a:pt x="5400" y="13782"/>
                  <a:pt x="7817" y="16200"/>
                  <a:pt x="10800" y="16200"/>
                </a:cubicBezTo>
                <a:cubicBezTo>
                  <a:pt x="12108" y="16200"/>
                  <a:pt x="13371" y="15725"/>
                  <a:pt x="14356" y="14863"/>
                </a:cubicBezTo>
                <a:lnTo>
                  <a:pt x="17912" y="18926"/>
                </a:lnTo>
                <a:cubicBezTo>
                  <a:pt x="15943" y="20650"/>
                  <a:pt x="13416" y="21600"/>
                  <a:pt x="10800" y="21600"/>
                </a:cubicBezTo>
                <a:cubicBezTo>
                  <a:pt x="4835" y="21600"/>
                  <a:pt x="0" y="16764"/>
                  <a:pt x="0" y="10800"/>
                </a:cubicBezTo>
                <a:cubicBezTo>
                  <a:pt x="0" y="4835"/>
                  <a:pt x="4835" y="0"/>
                  <a:pt x="10800" y="0"/>
                </a:cubicBezTo>
                <a:cubicBezTo>
                  <a:pt x="16764" y="0"/>
                  <a:pt x="21600" y="4835"/>
                  <a:pt x="21600" y="10799"/>
                </a:cubicBezTo>
                <a:lnTo>
                  <a:pt x="21600" y="10800"/>
                </a:lnTo>
                <a:lnTo>
                  <a:pt x="24300" y="10800"/>
                </a:lnTo>
                <a:lnTo>
                  <a:pt x="18900" y="16200"/>
                </a:lnTo>
                <a:lnTo>
                  <a:pt x="13500" y="10800"/>
                </a:lnTo>
                <a:lnTo>
                  <a:pt x="16200" y="10800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endParaRPr lang="fr-FR" sz="1200" i="1">
              <a:solidFill>
                <a:schemeClr val="tx2"/>
              </a:solidFill>
              <a:latin typeface="Gill Sans" panose="020B0502020104020203"/>
            </a:endParaRPr>
          </a:p>
        </p:txBody>
      </p:sp>
      <p:sp>
        <p:nvSpPr>
          <p:cNvPr id="31" name="Oval 7">
            <a:extLst>
              <a:ext uri="{FF2B5EF4-FFF2-40B4-BE49-F238E27FC236}">
                <a16:creationId xmlns:a16="http://schemas.microsoft.com/office/drawing/2014/main" id="{5D1A604D-D93C-49CE-B346-ED938C3B5AB0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 flipH="1">
            <a:off x="6528181" y="2945451"/>
            <a:ext cx="2323362" cy="939476"/>
          </a:xfrm>
          <a:prstGeom prst="ellipse">
            <a:avLst/>
          </a:prstGeom>
          <a:solidFill>
            <a:schemeClr val="bg1"/>
          </a:solidFill>
          <a:ln w="9525" algn="ctr">
            <a:solidFill>
              <a:srgbClr val="9BBAA9"/>
            </a:solidFill>
            <a:round/>
            <a:headEnd/>
            <a:tailEnd/>
          </a:ln>
          <a:effectLst/>
        </p:spPr>
        <p:txBody>
          <a:bodyPr wrap="square" anchor="ctr"/>
          <a:lstStyle>
            <a:lvl1pPr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fr-FR" altLang="fr-FR" sz="1200" b="1" i="0" dirty="0">
                <a:solidFill>
                  <a:schemeClr val="tx2"/>
                </a:solidFill>
                <a:latin typeface="Gill Sans" panose="020B0502020104020203"/>
              </a:rPr>
              <a:t>Initiatives régionales de contingence et de relance</a:t>
            </a:r>
            <a:endParaRPr lang="fr-BE" altLang="fr-FR" sz="1200" b="1" i="0" dirty="0">
              <a:solidFill>
                <a:schemeClr val="tx2"/>
              </a:solidFill>
              <a:latin typeface="Gill Sans" panose="020B0502020104020203"/>
            </a:endParaRPr>
          </a:p>
        </p:txBody>
      </p:sp>
      <p:sp>
        <p:nvSpPr>
          <p:cNvPr id="57" name="Titre 1"/>
          <p:cNvSpPr txBox="1">
            <a:spLocks/>
          </p:cNvSpPr>
          <p:nvPr/>
        </p:nvSpPr>
        <p:spPr bwMode="auto">
          <a:xfrm>
            <a:off x="122014" y="235055"/>
            <a:ext cx="8793075" cy="3140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2944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179" algn="l"/>
              </a:tabLst>
              <a:defRPr lang="fr-FR" sz="2041" b="1" baseline="0" noProof="0" dirty="0">
                <a:solidFill>
                  <a:schemeClr val="tx2"/>
                </a:solidFill>
                <a:latin typeface="Gill Sans"/>
                <a:ea typeface="Arial Unicode MS" pitchFamily="34" charset="-128"/>
                <a:cs typeface="Arial Unicode MS" pitchFamily="34" charset="-128"/>
              </a:defRPr>
            </a:lvl1pPr>
            <a:lvl2pPr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181"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369"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8555"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4738" algn="l" defTabSz="912944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fr-FR" altLang="fr-FR" dirty="0"/>
              <a:t>Le Comité Régional de Veille Economique a 3 vocations principales</a:t>
            </a:r>
            <a:endParaRPr lang="fr-FR" kern="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7DBF6EE-7E53-4D95-B5EB-54D30E7B8629}"/>
              </a:ext>
            </a:extLst>
          </p:cNvPr>
          <p:cNvSpPr/>
          <p:nvPr/>
        </p:nvSpPr>
        <p:spPr bwMode="gray">
          <a:xfrm>
            <a:off x="7606146" y="53030"/>
            <a:ext cx="1454086" cy="18202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>
                <a:lumMod val="90000"/>
              </a:schemeClr>
            </a:solidFill>
          </a:ln>
          <a:effectLst/>
        </p:spPr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  <a:latin typeface="Gill Sans"/>
              </a:rPr>
              <a:t>Vocation</a:t>
            </a:r>
          </a:p>
        </p:txBody>
      </p:sp>
      <p:sp>
        <p:nvSpPr>
          <p:cNvPr id="3" name="Rectangle à coins arrondis 2"/>
          <p:cNvSpPr/>
          <p:nvPr/>
        </p:nvSpPr>
        <p:spPr bwMode="gray">
          <a:xfrm>
            <a:off x="2855167" y="1326688"/>
            <a:ext cx="3052818" cy="2821528"/>
          </a:xfrm>
          <a:prstGeom prst="roundRect">
            <a:avLst/>
          </a:prstGeom>
          <a:solidFill>
            <a:schemeClr val="bg1"/>
          </a:solidFill>
          <a:ln>
            <a:solidFill>
              <a:srgbClr val="9BBAA9"/>
            </a:solidFill>
          </a:ln>
          <a:effectLst/>
        </p:spPr>
        <p:txBody>
          <a:bodyPr rtlCol="0" anchor="t"/>
          <a:lstStyle/>
          <a:p>
            <a:r>
              <a:rPr lang="fr-BE" altLang="fr-FR" sz="1200" b="1" dirty="0">
                <a:solidFill>
                  <a:schemeClr val="tx2"/>
                </a:solidFill>
                <a:latin typeface="Gill Sans" panose="020B0502020104020203"/>
              </a:rPr>
              <a:t>Comité de Veille Economique Régional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BF2B016-0A76-48C1-97F2-BF4E4CC65D56}"/>
              </a:ext>
            </a:extLst>
          </p:cNvPr>
          <p:cNvSpPr/>
          <p:nvPr/>
        </p:nvSpPr>
        <p:spPr bwMode="gray">
          <a:xfrm>
            <a:off x="4496597" y="2035820"/>
            <a:ext cx="1213530" cy="332308"/>
          </a:xfrm>
          <a:prstGeom prst="rect">
            <a:avLst/>
          </a:prstGeom>
          <a:solidFill>
            <a:schemeClr val="bg1"/>
          </a:solidFill>
          <a:ln>
            <a:solidFill>
              <a:srgbClr val="ECE9DC"/>
            </a:solidFill>
          </a:ln>
          <a:effectLst/>
        </p:spPr>
        <p:txBody>
          <a:bodyPr lIns="0" tIns="0" rIns="0" bIns="0" rtlCol="0" anchor="ctr"/>
          <a:lstStyle/>
          <a:p>
            <a:pPr algn="ctr" defTabSz="844083">
              <a:defRPr/>
            </a:pPr>
            <a:r>
              <a:rPr lang="fr-FR" altLang="fr-FR" sz="1015" b="1" dirty="0">
                <a:solidFill>
                  <a:srgbClr val="002060"/>
                </a:solidFill>
                <a:latin typeface="Calibri (Corps)"/>
                <a:ea typeface="ＭＳ Ｐゴシック"/>
              </a:rPr>
              <a:t>Présidents de Régio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5DB0E2A-1E91-4457-A34C-E936489B229D}"/>
              </a:ext>
            </a:extLst>
          </p:cNvPr>
          <p:cNvSpPr/>
          <p:nvPr/>
        </p:nvSpPr>
        <p:spPr bwMode="gray">
          <a:xfrm>
            <a:off x="3204471" y="2593705"/>
            <a:ext cx="1082879" cy="551800"/>
          </a:xfrm>
          <a:prstGeom prst="rect">
            <a:avLst/>
          </a:prstGeom>
          <a:solidFill>
            <a:schemeClr val="bg1"/>
          </a:solidFill>
          <a:ln>
            <a:solidFill>
              <a:srgbClr val="ECE9DC"/>
            </a:solidFill>
          </a:ln>
          <a:effectLst/>
        </p:spPr>
        <p:txBody>
          <a:bodyPr lIns="0" tIns="0" rIns="0" bIns="0" rtlCol="0" anchor="ctr"/>
          <a:lstStyle/>
          <a:p>
            <a:pPr algn="ctr" defTabSz="844083">
              <a:defRPr/>
            </a:pPr>
            <a:r>
              <a:rPr lang="fr-FR" altLang="fr-FR" sz="1015" b="1" dirty="0">
                <a:solidFill>
                  <a:srgbClr val="002060"/>
                </a:solidFill>
                <a:latin typeface="Calibri (Corps)"/>
                <a:ea typeface="ＭＳ Ｐゴシック"/>
              </a:rPr>
              <a:t>Délégation Régionales des Ministèr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2F49F59-59C4-4FD4-BE0A-A9E4B5E53709}"/>
              </a:ext>
            </a:extLst>
          </p:cNvPr>
          <p:cNvSpPr/>
          <p:nvPr/>
        </p:nvSpPr>
        <p:spPr bwMode="gray">
          <a:xfrm>
            <a:off x="3204471" y="2046616"/>
            <a:ext cx="1082879" cy="332307"/>
          </a:xfrm>
          <a:prstGeom prst="rect">
            <a:avLst/>
          </a:prstGeom>
          <a:solidFill>
            <a:schemeClr val="bg1"/>
          </a:solidFill>
          <a:ln>
            <a:solidFill>
              <a:srgbClr val="ECE9DC"/>
            </a:solidFill>
          </a:ln>
          <a:effectLst/>
        </p:spPr>
        <p:txBody>
          <a:bodyPr lIns="0" tIns="0" rIns="0" bIns="0" rtlCol="0" anchor="ctr"/>
          <a:lstStyle/>
          <a:p>
            <a:pPr algn="ctr" defTabSz="844083">
              <a:defRPr/>
            </a:pPr>
            <a:r>
              <a:rPr lang="fr-FR" altLang="fr-FR" sz="1015" b="1">
                <a:solidFill>
                  <a:srgbClr val="002060"/>
                </a:solidFill>
                <a:latin typeface="Calibri (Corps)"/>
                <a:ea typeface="ＭＳ Ｐゴシック"/>
              </a:rPr>
              <a:t>Wali</a:t>
            </a:r>
            <a:endParaRPr lang="fr-FR" altLang="fr-FR" sz="1015" b="1" dirty="0">
              <a:solidFill>
                <a:srgbClr val="002060"/>
              </a:solidFill>
              <a:latin typeface="Calibri (Corps)"/>
              <a:ea typeface="ＭＳ Ｐゴシック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2B10C70-8BB0-40F9-8C44-B6C7096CF199}"/>
              </a:ext>
            </a:extLst>
          </p:cNvPr>
          <p:cNvSpPr/>
          <p:nvPr/>
        </p:nvSpPr>
        <p:spPr bwMode="gray">
          <a:xfrm>
            <a:off x="4476634" y="3257609"/>
            <a:ext cx="892035" cy="338207"/>
          </a:xfrm>
          <a:prstGeom prst="rect">
            <a:avLst/>
          </a:prstGeom>
          <a:solidFill>
            <a:schemeClr val="bg1"/>
          </a:solidFill>
          <a:ln>
            <a:solidFill>
              <a:srgbClr val="ECE9DC"/>
            </a:solidFill>
          </a:ln>
          <a:effectLst/>
        </p:spPr>
        <p:txBody>
          <a:bodyPr lIns="0" tIns="0" rIns="0" bIns="0" rtlCol="0" anchor="ctr"/>
          <a:lstStyle/>
          <a:p>
            <a:pPr algn="ctr" defTabSz="844083">
              <a:defRPr/>
            </a:pPr>
            <a:r>
              <a:rPr lang="fr-FR" altLang="fr-FR" sz="1015" b="1" dirty="0">
                <a:solidFill>
                  <a:srgbClr val="002060"/>
                </a:solidFill>
                <a:latin typeface="Calibri (Corps)"/>
                <a:ea typeface="ＭＳ Ｐゴシック"/>
              </a:rPr>
              <a:t>Banques </a:t>
            </a:r>
          </a:p>
        </p:txBody>
      </p:sp>
      <p:pic>
        <p:nvPicPr>
          <p:cNvPr id="35" name="Picture 34" descr="Image result for logo cgem"/>
          <p:cNvPicPr>
            <a:picLocks noChangeAspect="1" noChangeArrowheads="1"/>
          </p:cNvPicPr>
          <p:nvPr/>
        </p:nvPicPr>
        <p:blipFill>
          <a:blip r:embed="rId21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4472" y="3299916"/>
            <a:ext cx="1044392" cy="24888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92B10C70-8BB0-40F9-8C44-B6C7096CF199}"/>
              </a:ext>
            </a:extLst>
          </p:cNvPr>
          <p:cNvSpPr/>
          <p:nvPr/>
        </p:nvSpPr>
        <p:spPr bwMode="gray">
          <a:xfrm>
            <a:off x="3747669" y="3721349"/>
            <a:ext cx="1079363" cy="338207"/>
          </a:xfrm>
          <a:prstGeom prst="rect">
            <a:avLst/>
          </a:prstGeom>
          <a:solidFill>
            <a:schemeClr val="bg1"/>
          </a:solidFill>
          <a:ln>
            <a:solidFill>
              <a:srgbClr val="ECE9DC"/>
            </a:solidFill>
          </a:ln>
          <a:effectLst/>
        </p:spPr>
        <p:txBody>
          <a:bodyPr lIns="0" tIns="0" rIns="0" bIns="0" rtlCol="0" anchor="ctr"/>
          <a:lstStyle/>
          <a:p>
            <a:pPr algn="ctr" defTabSz="844083">
              <a:defRPr/>
            </a:pPr>
            <a:r>
              <a:rPr lang="fr-FR" altLang="fr-FR" sz="1015" b="1" dirty="0">
                <a:solidFill>
                  <a:srgbClr val="002060"/>
                </a:solidFill>
                <a:latin typeface="Calibri (Corps)"/>
                <a:ea typeface="ＭＳ Ｐゴシック"/>
              </a:rPr>
              <a:t>Société civile</a:t>
            </a:r>
          </a:p>
        </p:txBody>
      </p:sp>
      <p:pic>
        <p:nvPicPr>
          <p:cNvPr id="55" name="Image 54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4054370" y="2102376"/>
            <a:ext cx="203146" cy="231377"/>
          </a:xfrm>
          <a:prstGeom prst="rect">
            <a:avLst/>
          </a:prstGeom>
          <a:effectLst/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id="{D5DB0E2A-1E91-4457-A34C-E936489B229D}"/>
              </a:ext>
            </a:extLst>
          </p:cNvPr>
          <p:cNvSpPr/>
          <p:nvPr/>
        </p:nvSpPr>
        <p:spPr bwMode="gray">
          <a:xfrm>
            <a:off x="4496597" y="2593705"/>
            <a:ext cx="1213530" cy="551800"/>
          </a:xfrm>
          <a:prstGeom prst="rect">
            <a:avLst/>
          </a:prstGeom>
          <a:solidFill>
            <a:schemeClr val="bg1"/>
          </a:solidFill>
          <a:ln>
            <a:solidFill>
              <a:srgbClr val="ECE9DC"/>
            </a:solidFill>
          </a:ln>
          <a:effectLst/>
        </p:spPr>
        <p:txBody>
          <a:bodyPr lIns="0" tIns="0" rIns="0" bIns="0" rtlCol="0" anchor="ctr"/>
          <a:lstStyle/>
          <a:p>
            <a:pPr algn="ctr" defTabSz="844083">
              <a:defRPr/>
            </a:pPr>
            <a:r>
              <a:rPr lang="fr-FR" altLang="fr-FR" sz="1015" b="1" dirty="0">
                <a:solidFill>
                  <a:srgbClr val="002060"/>
                </a:solidFill>
                <a:latin typeface="Calibri (Corps)"/>
                <a:ea typeface="ＭＳ Ｐゴシック"/>
              </a:rPr>
              <a:t>Chambres professionnelles</a:t>
            </a: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2C00CB76-1CFE-433B-815A-7037D1950922}"/>
              </a:ext>
            </a:extLst>
          </p:cNvPr>
          <p:cNvGrpSpPr/>
          <p:nvPr/>
        </p:nvGrpSpPr>
        <p:grpSpPr>
          <a:xfrm>
            <a:off x="3513246" y="1863967"/>
            <a:ext cx="1732058" cy="151556"/>
            <a:chOff x="-1181666" y="-1877561"/>
            <a:chExt cx="7258740" cy="635145"/>
          </a:xfrm>
        </p:grpSpPr>
        <p:pic>
          <p:nvPicPr>
            <p:cNvPr id="67" name="Picture 5" descr="Le Conseil de la Région Tanger-Tétouan-Al Hoceima candidat au Partenariat  pour un gouvernement ouvert - Infomédiaire">
              <a:extLst>
                <a:ext uri="{FF2B5EF4-FFF2-40B4-BE49-F238E27FC236}">
                  <a16:creationId xmlns:a16="http://schemas.microsoft.com/office/drawing/2014/main" id="{FC1072CC-83A3-486D-B1E1-B646C260274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344" t="11306" r="23178" b="11960"/>
            <a:stretch/>
          </p:blipFill>
          <p:spPr bwMode="auto">
            <a:xfrm>
              <a:off x="2203314" y="-1877561"/>
              <a:ext cx="729741" cy="6351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8" name="Picture 7" descr="Conseil régional de Fès-Meknès — Wikipédia">
              <a:extLst>
                <a:ext uri="{FF2B5EF4-FFF2-40B4-BE49-F238E27FC236}">
                  <a16:creationId xmlns:a16="http://schemas.microsoft.com/office/drawing/2014/main" id="{98C658EC-2475-450C-87A2-D6C4F04731D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>
              <a:clrChange>
                <a:clrFrom>
                  <a:srgbClr val="F9F9F9"/>
                </a:clrFrom>
                <a:clrTo>
                  <a:srgbClr val="F9F9F9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11453" y="-1877561"/>
              <a:ext cx="604901" cy="6351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9" name="Picture 9" descr="ASMEX – Association Marocaine des Exportateurs">
              <a:extLst>
                <a:ext uri="{FF2B5EF4-FFF2-40B4-BE49-F238E27FC236}">
                  <a16:creationId xmlns:a16="http://schemas.microsoft.com/office/drawing/2014/main" id="{7C66B150-BCC7-4DCD-8D5B-710867BD19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3055" y="-1877561"/>
              <a:ext cx="995884" cy="6351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0" name="Picture 13" descr="Region Souss Massa Draa | Migrations &amp; développement">
              <a:extLst>
                <a:ext uri="{FF2B5EF4-FFF2-40B4-BE49-F238E27FC236}">
                  <a16:creationId xmlns:a16="http://schemas.microsoft.com/office/drawing/2014/main" id="{E04D4801-AC90-4296-B4A0-748BD44AC8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86089" y="-1877561"/>
              <a:ext cx="490985" cy="6351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1" name="Picture 15" descr="Coronavirus: Conseil de la Région de Marrakech-Safi, contribue au fonds  spécial">
              <a:extLst>
                <a:ext uri="{FF2B5EF4-FFF2-40B4-BE49-F238E27FC236}">
                  <a16:creationId xmlns:a16="http://schemas.microsoft.com/office/drawing/2014/main" id="{046D95A2-FEA6-47F3-BEC8-01FFD2F4D8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181666" y="-1877561"/>
              <a:ext cx="1181666" cy="6351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2" name="Image 71">
              <a:extLst>
                <a:ext uri="{FF2B5EF4-FFF2-40B4-BE49-F238E27FC236}">
                  <a16:creationId xmlns:a16="http://schemas.microsoft.com/office/drawing/2014/main" id="{AC6CA2CA-719F-4DFB-BBB4-2828702116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8"/>
            <a:srcRect l="41979" t="34452" r="43542" b="36852"/>
            <a:stretch/>
          </p:blipFill>
          <p:spPr>
            <a:xfrm>
              <a:off x="5016354" y="-1877561"/>
              <a:ext cx="569734" cy="635145"/>
            </a:xfrm>
            <a:prstGeom prst="rect">
              <a:avLst/>
            </a:prstGeom>
          </p:spPr>
        </p:pic>
        <p:pic>
          <p:nvPicPr>
            <p:cNvPr id="73" name="Picture 19" descr="وكالة الجهوية لتنفيذ المشاريع لجهة كلميم - واد نون : مباراة لتوظيف تقنیین و  اطر (7 مناصب) آخر أجل 29 دجنبر 2017">
              <a:extLst>
                <a:ext uri="{FF2B5EF4-FFF2-40B4-BE49-F238E27FC236}">
                  <a16:creationId xmlns:a16="http://schemas.microsoft.com/office/drawing/2014/main" id="{8D0D2B61-28D0-4536-89D2-E8E968F2456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 cstate="print">
              <a:clrChange>
                <a:clrFrom>
                  <a:srgbClr val="FEFEFC"/>
                </a:clrFrom>
                <a:clrTo>
                  <a:srgbClr val="FEFE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28939" y="-1877561"/>
              <a:ext cx="482514" cy="6351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4" name="Picture 21" descr="GÉOPARC DU M'GOUN | MOROCCO TRAIL RACES">
              <a:extLst>
                <a:ext uri="{FF2B5EF4-FFF2-40B4-BE49-F238E27FC236}">
                  <a16:creationId xmlns:a16="http://schemas.microsoft.com/office/drawing/2014/main" id="{CCF3B74D-5CC6-449E-83D6-BBDC116A8AD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6098" y="-1877561"/>
              <a:ext cx="572071" cy="6351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5" name="Picture 23" descr="Concours Région Laâyoune Sakia El Hamra (17 Postes) - DREAMJOB.MA">
              <a:extLst>
                <a:ext uri="{FF2B5EF4-FFF2-40B4-BE49-F238E27FC236}">
                  <a16:creationId xmlns:a16="http://schemas.microsoft.com/office/drawing/2014/main" id="{315EA0AB-D436-4878-8FC9-4236BDA39B0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713" r="29120"/>
            <a:stretch/>
          </p:blipFill>
          <p:spPr bwMode="auto">
            <a:xfrm>
              <a:off x="0" y="-1877561"/>
              <a:ext cx="473839" cy="6351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6" name="Picture 25" descr="The International Congress of Renewable Energies PHOTOVOLTAFRICA 2020">
              <a:extLst>
                <a:ext uri="{FF2B5EF4-FFF2-40B4-BE49-F238E27FC236}">
                  <a16:creationId xmlns:a16="http://schemas.microsoft.com/office/drawing/2014/main" id="{550A0D2B-6C12-4B0C-B329-EE14254175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68169" y="-1877561"/>
              <a:ext cx="635145" cy="6351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7" name="Picture 4" descr="Association AIDESEM">
              <a:extLst>
                <a:ext uri="{FF2B5EF4-FFF2-40B4-BE49-F238E27FC236}">
                  <a16:creationId xmlns:a16="http://schemas.microsoft.com/office/drawing/2014/main" id="{BE872324-538B-4357-912E-283C82DC638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3839" y="-1877561"/>
              <a:ext cx="522259" cy="6351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8" name="Rectangle 77">
            <a:extLst>
              <a:ext uri="{FF2B5EF4-FFF2-40B4-BE49-F238E27FC236}">
                <a16:creationId xmlns:a16="http://schemas.microsoft.com/office/drawing/2014/main" id="{6DED04C7-7157-4879-87D1-E55C8D0FEEB4}"/>
              </a:ext>
            </a:extLst>
          </p:cNvPr>
          <p:cNvSpPr>
            <a:spLocks noChangeArrowheads="1"/>
          </p:cNvSpPr>
          <p:nvPr/>
        </p:nvSpPr>
        <p:spPr bwMode="gray">
          <a:xfrm>
            <a:off x="296546" y="872341"/>
            <a:ext cx="2098029" cy="25736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6000" sy="96000" algn="ctr" rotWithShape="0">
              <a:schemeClr val="tx2"/>
            </a:outerShdw>
          </a:effectLst>
        </p:spPr>
        <p:txBody>
          <a:bodyPr wrap="square" lIns="36000" tIns="36000" rIns="3600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Gill Sans"/>
                <a:ea typeface="ＭＳ Ｐゴシック"/>
                <a:cs typeface="Arial" panose="020B0604020202020204" pitchFamily="34" charset="0"/>
              </a:rPr>
              <a:t>Inputs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srgbClr val="213258"/>
              </a:solidFill>
              <a:effectLst/>
              <a:uLnTx/>
              <a:uFillTx/>
              <a:latin typeface="Gill Sans"/>
              <a:ea typeface="ＭＳ Ｐゴシック"/>
              <a:cs typeface="Arial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A0B6493-DF20-4F02-93B2-1F95E212DE59}"/>
              </a:ext>
            </a:extLst>
          </p:cNvPr>
          <p:cNvSpPr>
            <a:spLocks noChangeArrowheads="1"/>
          </p:cNvSpPr>
          <p:nvPr/>
        </p:nvSpPr>
        <p:spPr bwMode="gray">
          <a:xfrm>
            <a:off x="2855167" y="853024"/>
            <a:ext cx="3194851" cy="25539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6000" sy="96000" algn="ctr" rotWithShape="0">
              <a:schemeClr val="tx2"/>
            </a:outerShdw>
          </a:effectLst>
        </p:spPr>
        <p:txBody>
          <a:bodyPr wrap="square" lIns="36000" tIns="36000" rIns="36000" bIns="36000" anchor="ctr">
            <a:spAutoFit/>
          </a:bodyPr>
          <a:lstStyle/>
          <a:p>
            <a:r>
              <a:rPr lang="fr-FR" sz="1200" b="1" dirty="0">
                <a:solidFill>
                  <a:srgbClr val="002960"/>
                </a:solidFill>
                <a:latin typeface="Gill Sans"/>
                <a:ea typeface="ＭＳ Ｐゴシック"/>
                <a:cs typeface="Arial" panose="020B0604020202020204" pitchFamily="34" charset="0"/>
              </a:rPr>
              <a:t> Mécanism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36E1A65A-420F-4820-805B-72BD2A8DEE09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4842" y="853023"/>
            <a:ext cx="2358595" cy="25736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6000" sy="96000" algn="ctr" rotWithShape="0">
              <a:schemeClr val="tx2"/>
            </a:outerShdw>
          </a:effectLst>
        </p:spPr>
        <p:txBody>
          <a:bodyPr wrap="square" lIns="36000" tIns="36000" rIns="36000" bIns="3600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Gill Sans"/>
                <a:ea typeface="ＭＳ Ｐゴシック"/>
                <a:cs typeface="Arial" panose="020B0604020202020204" pitchFamily="34" charset="0"/>
              </a:rPr>
              <a:t>Outputs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srgbClr val="213258"/>
              </a:solidFill>
              <a:effectLst/>
              <a:uLnTx/>
              <a:uFillTx/>
              <a:latin typeface="Gill Sans"/>
              <a:ea typeface="ＭＳ Ｐゴシック"/>
              <a:cs typeface="Arial" pitchFamily="34" charset="0"/>
            </a:endParaRPr>
          </a:p>
        </p:txBody>
      </p: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CA9FEF34-2029-41E0-BE2A-B203259EF838}"/>
              </a:ext>
            </a:extLst>
          </p:cNvPr>
          <p:cNvCxnSpPr>
            <a:cxnSpLocks/>
          </p:cNvCxnSpPr>
          <p:nvPr/>
        </p:nvCxnSpPr>
        <p:spPr>
          <a:xfrm flipV="1">
            <a:off x="6031358" y="3386948"/>
            <a:ext cx="487493" cy="1"/>
          </a:xfrm>
          <a:prstGeom prst="straightConnector1">
            <a:avLst/>
          </a:prstGeom>
          <a:ln w="63500">
            <a:solidFill>
              <a:srgbClr val="9BBAA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Oval 5">
            <a:extLst>
              <a:ext uri="{FF2B5EF4-FFF2-40B4-BE49-F238E27FC236}">
                <a16:creationId xmlns:a16="http://schemas.microsoft.com/office/drawing/2014/main" id="{044C57F2-0E60-4DB0-B829-ECC7C1B92F60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 flipH="1">
            <a:off x="2855167" y="4268610"/>
            <a:ext cx="3052818" cy="438273"/>
          </a:xfrm>
          <a:prstGeom prst="roundRect">
            <a:avLst/>
          </a:prstGeom>
          <a:gradFill>
            <a:gsLst>
              <a:gs pos="90000">
                <a:schemeClr val="bg1"/>
              </a:gs>
              <a:gs pos="0">
                <a:schemeClr val="accent1"/>
              </a:gs>
            </a:gsLst>
            <a:lin ang="18900000" scaled="1"/>
          </a:gradFill>
          <a:ln w="9525" algn="ctr">
            <a:solidFill>
              <a:srgbClr val="9BBAA9"/>
            </a:solidFill>
            <a:round/>
            <a:headEnd/>
            <a:tailEnd/>
          </a:ln>
          <a:effectLst/>
        </p:spPr>
        <p:txBody>
          <a:bodyPr wrap="square" anchor="ctr"/>
          <a:lstStyle>
            <a:lvl1pPr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fr-BE" altLang="fr-FR" sz="1200" b="1" i="0" dirty="0">
                <a:solidFill>
                  <a:schemeClr val="tx2"/>
                </a:solidFill>
                <a:latin typeface="Gill Sans" panose="020B0502020104020203"/>
              </a:rPr>
              <a:t>Espace de concertation renforcé</a:t>
            </a:r>
          </a:p>
        </p:txBody>
      </p:sp>
      <p:sp>
        <p:nvSpPr>
          <p:cNvPr id="46" name="Oval 5">
            <a:extLst>
              <a:ext uri="{FF2B5EF4-FFF2-40B4-BE49-F238E27FC236}">
                <a16:creationId xmlns:a16="http://schemas.microsoft.com/office/drawing/2014/main" id="{8006DFC3-3E07-45A6-9A6A-D4F360C2CD81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 flipH="1">
            <a:off x="2855167" y="5981610"/>
            <a:ext cx="3052818" cy="438273"/>
          </a:xfrm>
          <a:prstGeom prst="roundRect">
            <a:avLst/>
          </a:prstGeom>
          <a:gradFill>
            <a:gsLst>
              <a:gs pos="90000">
                <a:schemeClr val="bg1"/>
              </a:gs>
              <a:gs pos="0">
                <a:schemeClr val="accent1"/>
              </a:gs>
            </a:gsLst>
            <a:lin ang="18900000" scaled="1"/>
          </a:gradFill>
          <a:ln w="9525" algn="ctr">
            <a:solidFill>
              <a:srgbClr val="9BBAA9"/>
            </a:solidFill>
            <a:round/>
            <a:headEnd/>
            <a:tailEnd/>
          </a:ln>
          <a:effectLst/>
        </p:spPr>
        <p:txBody>
          <a:bodyPr wrap="square" anchor="ctr"/>
          <a:lstStyle>
            <a:lvl1pPr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fr-BE" altLang="fr-FR" sz="1200" b="1" i="0" dirty="0">
                <a:solidFill>
                  <a:schemeClr val="tx2"/>
                </a:solidFill>
                <a:latin typeface="Gill Sans" panose="020B0502020104020203"/>
              </a:rPr>
              <a:t>Garantie d’une </a:t>
            </a:r>
          </a:p>
          <a:p>
            <a:r>
              <a:rPr lang="fr-BE" altLang="fr-FR" sz="1200" b="1" i="0" dirty="0">
                <a:solidFill>
                  <a:schemeClr val="tx2"/>
                </a:solidFill>
                <a:latin typeface="Gill Sans" panose="020B0502020104020203"/>
              </a:rPr>
              <a:t>action et d’une communication cohérentes</a:t>
            </a:r>
          </a:p>
        </p:txBody>
      </p:sp>
      <p:sp>
        <p:nvSpPr>
          <p:cNvPr id="47" name="Oval 5">
            <a:extLst>
              <a:ext uri="{FF2B5EF4-FFF2-40B4-BE49-F238E27FC236}">
                <a16:creationId xmlns:a16="http://schemas.microsoft.com/office/drawing/2014/main" id="{B0D879D6-5CE4-41E0-9D79-42555732B9FB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 flipH="1">
            <a:off x="2855167" y="4839610"/>
            <a:ext cx="3052818" cy="438273"/>
          </a:xfrm>
          <a:prstGeom prst="roundRect">
            <a:avLst/>
          </a:prstGeom>
          <a:gradFill>
            <a:gsLst>
              <a:gs pos="90000">
                <a:schemeClr val="bg1"/>
              </a:gs>
              <a:gs pos="0">
                <a:schemeClr val="accent1"/>
              </a:gs>
            </a:gsLst>
            <a:lin ang="18900000" scaled="1"/>
          </a:gradFill>
          <a:ln w="9525" algn="ctr">
            <a:solidFill>
              <a:srgbClr val="9BBAA9"/>
            </a:solidFill>
            <a:round/>
            <a:headEnd/>
            <a:tailEnd/>
          </a:ln>
          <a:effectLst/>
        </p:spPr>
        <p:txBody>
          <a:bodyPr wrap="square" anchor="ctr"/>
          <a:lstStyle>
            <a:lvl1pPr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fr-BE" altLang="fr-FR" sz="1200" b="1" i="0" dirty="0">
                <a:solidFill>
                  <a:schemeClr val="tx2"/>
                </a:solidFill>
                <a:latin typeface="Gill Sans" panose="020B0502020104020203"/>
              </a:rPr>
              <a:t>Préparation rigoureuse et standardisée </a:t>
            </a:r>
          </a:p>
        </p:txBody>
      </p:sp>
      <p:sp>
        <p:nvSpPr>
          <p:cNvPr id="48" name="Oval 5">
            <a:extLst>
              <a:ext uri="{FF2B5EF4-FFF2-40B4-BE49-F238E27FC236}">
                <a16:creationId xmlns:a16="http://schemas.microsoft.com/office/drawing/2014/main" id="{81E638EF-2B46-4BF0-ACE5-CED7B306842C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 flipH="1">
            <a:off x="2855167" y="5410610"/>
            <a:ext cx="3052818" cy="438273"/>
          </a:xfrm>
          <a:prstGeom prst="roundRect">
            <a:avLst/>
          </a:prstGeom>
          <a:gradFill>
            <a:gsLst>
              <a:gs pos="90000">
                <a:schemeClr val="bg1"/>
              </a:gs>
              <a:gs pos="0">
                <a:schemeClr val="accent1"/>
              </a:gs>
            </a:gsLst>
            <a:lin ang="18900000" scaled="1"/>
          </a:gradFill>
          <a:ln w="9525" algn="ctr">
            <a:solidFill>
              <a:srgbClr val="9BBAA9"/>
            </a:solidFill>
            <a:round/>
            <a:headEnd/>
            <a:tailEnd/>
          </a:ln>
          <a:effectLst/>
        </p:spPr>
        <p:txBody>
          <a:bodyPr wrap="square" anchor="ctr"/>
          <a:lstStyle>
            <a:lvl1pPr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fr-BE" altLang="fr-FR" sz="1200" b="1" i="0" dirty="0">
                <a:solidFill>
                  <a:schemeClr val="tx2"/>
                </a:solidFill>
                <a:latin typeface="Gill Sans" panose="020B0502020104020203"/>
              </a:rPr>
              <a:t>Mécanisme décisionnaire au niveau Régional</a:t>
            </a:r>
          </a:p>
        </p:txBody>
      </p:sp>
    </p:spTree>
    <p:extLst>
      <p:ext uri="{BB962C8B-B14F-4D97-AF65-F5344CB8AC3E}">
        <p14:creationId xmlns:p14="http://schemas.microsoft.com/office/powerpoint/2010/main" val="1770230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522C46AA-A294-4EDC-BFBE-32CB497545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32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522C46AA-A294-4EDC-BFBE-32CB49754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F467C6C-2CDE-4E22-A53B-55BE374246DA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CAC2A2"/>
          </a:solidFill>
          <a:ln>
            <a:noFill/>
          </a:ln>
          <a:effectLst>
            <a:outerShdw dist="53882" dir="2700000" algn="ctr" rotWithShape="0">
              <a:schemeClr val="tx1">
                <a:alpha val="40000"/>
              </a:schemeClr>
            </a:outerShdw>
          </a:effec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041" b="1" dirty="0">
              <a:solidFill>
                <a:schemeClr val="bg1"/>
              </a:solidFill>
              <a:latin typeface="Gill Sans" panose="020B0502020104020203"/>
              <a:ea typeface="Arial Unicode MS"/>
              <a:sym typeface="Gill Sans" panose="020B0502020104020203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A89EF18-0849-4E34-9AFD-961E4332B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34864"/>
            <a:ext cx="9144000" cy="553998"/>
          </a:xfrm>
        </p:spPr>
        <p:txBody>
          <a:bodyPr/>
          <a:lstStyle/>
          <a:p>
            <a:pPr algn="ctr"/>
            <a:r>
              <a:rPr lang="fr-FR" sz="1800" dirty="0" smtClean="0"/>
              <a:t>Principales </a:t>
            </a:r>
            <a:r>
              <a:rPr lang="fr-FR" sz="1800" dirty="0"/>
              <a:t>mesures </a:t>
            </a:r>
            <a:r>
              <a:rPr lang="fr-FR" sz="1800" dirty="0" smtClean="0"/>
              <a:t>de relance par secteur proposées </a:t>
            </a:r>
            <a:r>
              <a:rPr lang="fr-FR" sz="1800" dirty="0"/>
              <a:t>par les Comités </a:t>
            </a:r>
            <a:r>
              <a:rPr lang="fr-FR" sz="1800" dirty="0" smtClean="0"/>
              <a:t>régionaux de veille économique</a:t>
            </a:r>
            <a:endParaRPr lang="fr-FR" sz="18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CFEE78D-AC1F-493D-A105-EB2F84AFC2AA}"/>
              </a:ext>
            </a:extLst>
          </p:cNvPr>
          <p:cNvSpPr/>
          <p:nvPr/>
        </p:nvSpPr>
        <p:spPr bwMode="gray">
          <a:xfrm>
            <a:off x="206116" y="799594"/>
            <a:ext cx="1953987" cy="96155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rtlCol="0" anchor="t"/>
          <a:lstStyle/>
          <a:p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pPr algn="ctr"/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pPr algn="ctr"/>
            <a:r>
              <a:rPr lang="fr-FR" sz="1100" b="1" dirty="0">
                <a:solidFill>
                  <a:schemeClr val="tx2"/>
                </a:solidFill>
                <a:latin typeface="Gill Sans"/>
              </a:rPr>
              <a:t>Tourism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B01B850-F2E4-4507-A2B0-669378390085}"/>
              </a:ext>
            </a:extLst>
          </p:cNvPr>
          <p:cNvSpPr/>
          <p:nvPr/>
        </p:nvSpPr>
        <p:spPr bwMode="gray">
          <a:xfrm>
            <a:off x="206117" y="1853597"/>
            <a:ext cx="1953986" cy="88158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rtlCol="0" anchor="t"/>
          <a:lstStyle/>
          <a:p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pPr algn="ctr"/>
            <a:r>
              <a:rPr lang="fr-FR" sz="1100" b="1" dirty="0">
                <a:solidFill>
                  <a:schemeClr val="tx2"/>
                </a:solidFill>
                <a:latin typeface="Gill Sans"/>
              </a:rPr>
              <a:t>Industrie et logistiqu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DC297CC-A01A-4767-8F99-69254F3A12A6}"/>
              </a:ext>
            </a:extLst>
          </p:cNvPr>
          <p:cNvSpPr/>
          <p:nvPr/>
        </p:nvSpPr>
        <p:spPr bwMode="gray">
          <a:xfrm>
            <a:off x="206117" y="2827628"/>
            <a:ext cx="1953986" cy="88158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rtlCol="0" anchor="t"/>
          <a:lstStyle/>
          <a:p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pPr algn="ctr"/>
            <a:r>
              <a:rPr lang="fr-FR" sz="1100" b="1" dirty="0">
                <a:solidFill>
                  <a:schemeClr val="tx2"/>
                </a:solidFill>
                <a:latin typeface="Gill Sans"/>
              </a:rPr>
              <a:t>Commerce et servic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F453295-256D-4843-9146-F278F3399240}"/>
              </a:ext>
            </a:extLst>
          </p:cNvPr>
          <p:cNvSpPr/>
          <p:nvPr/>
        </p:nvSpPr>
        <p:spPr bwMode="gray">
          <a:xfrm>
            <a:off x="206116" y="3801659"/>
            <a:ext cx="1953985" cy="88158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rtlCol="0" anchor="t"/>
          <a:lstStyle/>
          <a:p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pPr algn="ctr"/>
            <a:r>
              <a:rPr lang="fr-FR" sz="1100" b="1" dirty="0">
                <a:solidFill>
                  <a:schemeClr val="tx2"/>
                </a:solidFill>
                <a:latin typeface="Gill Sans"/>
              </a:rPr>
              <a:t>Artisana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16DB0A0-E20E-413B-B845-4369D9EB6143}"/>
              </a:ext>
            </a:extLst>
          </p:cNvPr>
          <p:cNvSpPr/>
          <p:nvPr/>
        </p:nvSpPr>
        <p:spPr bwMode="gray">
          <a:xfrm>
            <a:off x="206117" y="4775691"/>
            <a:ext cx="1953984" cy="88158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rtlCol="0" anchor="t"/>
          <a:lstStyle/>
          <a:p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pPr algn="ctr"/>
            <a:r>
              <a:rPr lang="fr-FR" sz="1100" b="1" dirty="0">
                <a:solidFill>
                  <a:schemeClr val="tx2"/>
                </a:solidFill>
                <a:latin typeface="Gill Sans"/>
              </a:rPr>
              <a:t>Santé et socia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99AFA3B-445F-47CD-9755-C651254E38E5}"/>
              </a:ext>
            </a:extLst>
          </p:cNvPr>
          <p:cNvSpPr/>
          <p:nvPr/>
        </p:nvSpPr>
        <p:spPr bwMode="gray">
          <a:xfrm>
            <a:off x="206117" y="5749721"/>
            <a:ext cx="1953984" cy="88158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rtlCol="0" anchor="t"/>
          <a:lstStyle/>
          <a:p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pPr algn="ctr"/>
            <a:r>
              <a:rPr lang="fr-FR" sz="1100" b="1" dirty="0">
                <a:solidFill>
                  <a:schemeClr val="tx2"/>
                </a:solidFill>
                <a:latin typeface="Gill Sans"/>
              </a:rPr>
              <a:t>Agriculture et pêch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E851E3F-C8FD-46D1-9EE0-6C2B632C9840}"/>
              </a:ext>
            </a:extLst>
          </p:cNvPr>
          <p:cNvSpPr/>
          <p:nvPr/>
        </p:nvSpPr>
        <p:spPr bwMode="gray">
          <a:xfrm>
            <a:off x="2287436" y="799594"/>
            <a:ext cx="6772795" cy="881586"/>
          </a:xfrm>
          <a:prstGeom prst="rect">
            <a:avLst/>
          </a:prstGeom>
          <a:solidFill>
            <a:srgbClr val="FFFFFF"/>
          </a:solidFill>
          <a:ln>
            <a:solidFill>
              <a:schemeClr val="accent1">
                <a:lumMod val="90000"/>
              </a:schemeClr>
            </a:solidFill>
          </a:ln>
          <a:effectLst/>
        </p:spPr>
        <p:txBody>
          <a:bodyPr rtlCol="0" anchor="t"/>
          <a:lstStyle/>
          <a:p>
            <a:endParaRPr lang="fr-FR" sz="1100" dirty="0">
              <a:solidFill>
                <a:schemeClr val="tx2"/>
              </a:solidFill>
              <a:latin typeface="Gill Sans"/>
            </a:endParaRPr>
          </a:p>
          <a:p>
            <a:endParaRPr lang="fr-FR" sz="500" dirty="0">
              <a:solidFill>
                <a:schemeClr val="tx2"/>
              </a:solidFill>
              <a:latin typeface="Gill San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Mise en place d’une stratégie de communication digitale de la destination Marrakech (Marrakech sans </a:t>
            </a:r>
            <a:r>
              <a:rPr lang="fr-FR" sz="1100" dirty="0" err="1">
                <a:solidFill>
                  <a:schemeClr val="tx2"/>
                </a:solidFill>
                <a:latin typeface="Gill Sans"/>
              </a:rPr>
              <a:t>Covid</a:t>
            </a:r>
            <a:r>
              <a:rPr lang="fr-FR" sz="1100" dirty="0">
                <a:solidFill>
                  <a:schemeClr val="tx2"/>
                </a:solidFill>
                <a:latin typeface="Gill Sans"/>
              </a:rPr>
              <a:t>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BB0D216-87C4-4571-B850-5930F750F9F0}"/>
              </a:ext>
            </a:extLst>
          </p:cNvPr>
          <p:cNvSpPr/>
          <p:nvPr/>
        </p:nvSpPr>
        <p:spPr bwMode="gray">
          <a:xfrm>
            <a:off x="2287436" y="1805117"/>
            <a:ext cx="6772795" cy="881586"/>
          </a:xfrm>
          <a:prstGeom prst="rect">
            <a:avLst/>
          </a:prstGeom>
          <a:solidFill>
            <a:srgbClr val="FFFFFF"/>
          </a:solidFill>
          <a:ln>
            <a:solidFill>
              <a:schemeClr val="accent1">
                <a:lumMod val="90000"/>
              </a:schemeClr>
            </a:solidFill>
          </a:ln>
          <a:effectLst/>
        </p:spPr>
        <p:txBody>
          <a:bodyPr rtlCol="0" anchor="t"/>
          <a:lstStyle/>
          <a:p>
            <a:endParaRPr lang="fr-FR" sz="1100" dirty="0">
              <a:solidFill>
                <a:schemeClr val="tx2"/>
              </a:solidFill>
              <a:latin typeface="Gill Sans"/>
            </a:endParaRPr>
          </a:p>
          <a:p>
            <a:endParaRPr lang="fr-FR" sz="500" dirty="0">
              <a:solidFill>
                <a:schemeClr val="tx2"/>
              </a:solidFill>
              <a:latin typeface="Gill San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Encouragement et accompagnement des PME industrielle à travers la création d’un fonds régional d’investiss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100" dirty="0">
              <a:solidFill>
                <a:schemeClr val="tx2"/>
              </a:solidFill>
              <a:latin typeface="Gill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EF4AE1C-2CCA-43DE-95C1-E9859D6C928F}"/>
              </a:ext>
            </a:extLst>
          </p:cNvPr>
          <p:cNvSpPr/>
          <p:nvPr/>
        </p:nvSpPr>
        <p:spPr bwMode="gray">
          <a:xfrm>
            <a:off x="2287436" y="2812479"/>
            <a:ext cx="6772795" cy="881586"/>
          </a:xfrm>
          <a:prstGeom prst="rect">
            <a:avLst/>
          </a:prstGeom>
          <a:solidFill>
            <a:srgbClr val="FFFFFF"/>
          </a:solidFill>
          <a:ln>
            <a:solidFill>
              <a:schemeClr val="accent1">
                <a:lumMod val="90000"/>
              </a:schemeClr>
            </a:solidFill>
          </a:ln>
          <a:effectLst/>
        </p:spPr>
        <p:txBody>
          <a:bodyPr rtlCol="0" anchor="t"/>
          <a:lstStyle/>
          <a:p>
            <a:endParaRPr lang="fr-FR" sz="1100" dirty="0">
              <a:solidFill>
                <a:schemeClr val="tx2"/>
              </a:solidFill>
              <a:latin typeface="Gill Sans"/>
            </a:endParaRPr>
          </a:p>
          <a:p>
            <a:endParaRPr lang="fr-FR" sz="500" dirty="0">
              <a:solidFill>
                <a:schemeClr val="tx2"/>
              </a:solidFill>
              <a:latin typeface="Gill San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Création d’un fonds de soutien des entreprises commercial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Exonération des commerçant des loyers commerciaux des municipalité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100" dirty="0">
              <a:solidFill>
                <a:schemeClr val="tx2"/>
              </a:solidFill>
              <a:latin typeface="Gill San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B1426E8-95C8-44D2-84EA-E83DC16D7B3D}"/>
              </a:ext>
            </a:extLst>
          </p:cNvPr>
          <p:cNvSpPr/>
          <p:nvPr/>
        </p:nvSpPr>
        <p:spPr bwMode="gray">
          <a:xfrm>
            <a:off x="2287435" y="3786509"/>
            <a:ext cx="6772795" cy="881586"/>
          </a:xfrm>
          <a:prstGeom prst="rect">
            <a:avLst/>
          </a:prstGeom>
          <a:solidFill>
            <a:srgbClr val="FFFFFF"/>
          </a:solidFill>
          <a:ln>
            <a:solidFill>
              <a:schemeClr val="accent1">
                <a:lumMod val="90000"/>
              </a:schemeClr>
            </a:solidFill>
          </a:ln>
          <a:effectLst/>
        </p:spPr>
        <p:txBody>
          <a:bodyPr rtlCol="0" anchor="t"/>
          <a:lstStyle/>
          <a:p>
            <a:endParaRPr lang="fr-FR" sz="1100" dirty="0">
              <a:solidFill>
                <a:schemeClr val="tx2"/>
              </a:solidFill>
              <a:latin typeface="Gill San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Encadrement des professionne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Aide en matière de commercialisation (E-Commerc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Mise en place des solutions de financement adaptées au secteu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166ABD-678E-401A-AA89-A0A114E615CF}"/>
              </a:ext>
            </a:extLst>
          </p:cNvPr>
          <p:cNvSpPr/>
          <p:nvPr/>
        </p:nvSpPr>
        <p:spPr bwMode="gray">
          <a:xfrm>
            <a:off x="2287434" y="4760539"/>
            <a:ext cx="6772795" cy="881586"/>
          </a:xfrm>
          <a:prstGeom prst="rect">
            <a:avLst/>
          </a:prstGeom>
          <a:solidFill>
            <a:srgbClr val="FFFFFF"/>
          </a:solidFill>
          <a:ln>
            <a:solidFill>
              <a:schemeClr val="accent1">
                <a:lumMod val="90000"/>
              </a:schemeClr>
            </a:solidFill>
          </a:ln>
          <a:effectLst/>
        </p:spPr>
        <p:txBody>
          <a:bodyPr rtlCol="0" anchor="t"/>
          <a:lstStyle/>
          <a:p>
            <a:endParaRPr lang="fr-FR" sz="500" dirty="0">
              <a:solidFill>
                <a:schemeClr val="tx2"/>
              </a:solidFill>
              <a:latin typeface="Gill San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Rationalisation des dépenses des produits de la santé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Soutien des équipements sanitai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Amélioration des conditions d'accueil aux établissements de santé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Faire de l'université un véritable levier de développement de la compétitivité et de l'emploi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0AD302F-195E-492A-8E96-D331FE42E91E}"/>
              </a:ext>
            </a:extLst>
          </p:cNvPr>
          <p:cNvSpPr/>
          <p:nvPr/>
        </p:nvSpPr>
        <p:spPr bwMode="gray">
          <a:xfrm>
            <a:off x="2287433" y="5694743"/>
            <a:ext cx="6772795" cy="881586"/>
          </a:xfrm>
          <a:prstGeom prst="rect">
            <a:avLst/>
          </a:prstGeom>
          <a:solidFill>
            <a:srgbClr val="FFFFFF"/>
          </a:solidFill>
          <a:ln>
            <a:solidFill>
              <a:schemeClr val="accent1">
                <a:lumMod val="90000"/>
              </a:schemeClr>
            </a:solidFill>
          </a:ln>
          <a:effectLst/>
        </p:spPr>
        <p:txBody>
          <a:bodyPr rtlCol="0" anchor="t"/>
          <a:lstStyle/>
          <a:p>
            <a:endParaRPr lang="fr-FR" sz="500" dirty="0">
              <a:solidFill>
                <a:schemeClr val="tx2"/>
              </a:solidFill>
              <a:latin typeface="Gill San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Création de souks sociaux et solidaires pour encourager les produits locau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Une nouvelle organisation des marchés hebdomadaire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Rapprochement des Souks de la population des grandes villes</a:t>
            </a:r>
          </a:p>
          <a:p>
            <a:endParaRPr lang="fr-FR" sz="1100" b="1" dirty="0">
              <a:solidFill>
                <a:schemeClr val="tx2"/>
              </a:solidFill>
              <a:latin typeface="Gill Sans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DA8BF1D-BDA5-46BF-80A5-1E89A90CD011}"/>
              </a:ext>
            </a:extLst>
          </p:cNvPr>
          <p:cNvSpPr/>
          <p:nvPr/>
        </p:nvSpPr>
        <p:spPr bwMode="gray">
          <a:xfrm>
            <a:off x="7731760" y="53030"/>
            <a:ext cx="1328471" cy="17372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>
                <a:lumMod val="90000"/>
              </a:schemeClr>
            </a:solidFill>
          </a:ln>
          <a:effectLst/>
        </p:spPr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  <a:latin typeface="Gill Sans"/>
              </a:rPr>
              <a:t>Non exhaustif</a:t>
            </a:r>
          </a:p>
        </p:txBody>
      </p:sp>
      <p:pic>
        <p:nvPicPr>
          <p:cNvPr id="59" name="Picture 63" descr="Image associÃ©e">
            <a:extLst>
              <a:ext uri="{FF2B5EF4-FFF2-40B4-BE49-F238E27FC236}">
                <a16:creationId xmlns:a16="http://schemas.microsoft.com/office/drawing/2014/main" id="{6879AB2C-BC2A-453A-86E8-62C88D025D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343" b="27951"/>
          <a:stretch/>
        </p:blipFill>
        <p:spPr bwMode="auto">
          <a:xfrm>
            <a:off x="1664123" y="6357540"/>
            <a:ext cx="409649" cy="218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69" descr="RÃ©sultat de recherche d'images pour &quot;automobile maroc&quot;">
            <a:extLst>
              <a:ext uri="{FF2B5EF4-FFF2-40B4-BE49-F238E27FC236}">
                <a16:creationId xmlns:a16="http://schemas.microsoft.com/office/drawing/2014/main" id="{9F2E4092-3ADF-446E-A746-6F0EEF2B23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560"/>
          <a:stretch/>
        </p:blipFill>
        <p:spPr bwMode="auto">
          <a:xfrm>
            <a:off x="1664122" y="2467275"/>
            <a:ext cx="409649" cy="216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73" descr="RÃ©sultat de recherche d'images pour &quot;aÃ©roport marrakech&quot;">
            <a:extLst>
              <a:ext uri="{FF2B5EF4-FFF2-40B4-BE49-F238E27FC236}">
                <a16:creationId xmlns:a16="http://schemas.microsoft.com/office/drawing/2014/main" id="{DF6412B1-F47D-4108-9D72-30959A5D765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99"/>
          <a:stretch/>
        </p:blipFill>
        <p:spPr bwMode="auto">
          <a:xfrm>
            <a:off x="1664122" y="1460481"/>
            <a:ext cx="409649" cy="209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67" descr="RÃ©sultat de recherche d'images pour &quot;casablanca finance city&quot;">
            <a:extLst>
              <a:ext uri="{FF2B5EF4-FFF2-40B4-BE49-F238E27FC236}">
                <a16:creationId xmlns:a16="http://schemas.microsoft.com/office/drawing/2014/main" id="{D5ECC706-2593-4A93-BD48-A8D735960C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4122" y="3402341"/>
            <a:ext cx="409649" cy="215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185" descr="Artisanat du métal | ferronnerie, dinanderie, bijoux">
            <a:extLst>
              <a:ext uri="{FF2B5EF4-FFF2-40B4-BE49-F238E27FC236}">
                <a16:creationId xmlns:a16="http://schemas.microsoft.com/office/drawing/2014/main" id="{B20F06F8-61FF-425C-A744-C0EA2E69FC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237" t="28018" b="3032"/>
          <a:stretch/>
        </p:blipFill>
        <p:spPr bwMode="auto">
          <a:xfrm>
            <a:off x="1664123" y="4348746"/>
            <a:ext cx="409649" cy="220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7340" name="Picture 28" descr="PRÉVISION - La population du Maroc en nette croissance, et atteindra 43  millions en 2050, macha'Allah! - Article19.ma">
            <a:extLst>
              <a:ext uri="{FF2B5EF4-FFF2-40B4-BE49-F238E27FC236}">
                <a16:creationId xmlns:a16="http://schemas.microsoft.com/office/drawing/2014/main" id="{7E21AA7A-15A6-4F05-9EA1-83E12DF8E6E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17" r="1961"/>
          <a:stretch/>
        </p:blipFill>
        <p:spPr bwMode="auto">
          <a:xfrm>
            <a:off x="1664123" y="5377206"/>
            <a:ext cx="409649" cy="217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8680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522C46AA-A294-4EDC-BFBE-32CB497545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4859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69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522C46AA-A294-4EDC-BFBE-32CB49754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F467C6C-2CDE-4E22-A53B-55BE374246DA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CAC2A2"/>
          </a:solidFill>
          <a:ln>
            <a:noFill/>
          </a:ln>
          <a:effectLst>
            <a:outerShdw dist="53882" dir="2700000" algn="ctr" rotWithShape="0">
              <a:schemeClr val="tx1">
                <a:alpha val="40000"/>
              </a:schemeClr>
            </a:outerShdw>
          </a:effec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2041" b="1" dirty="0">
              <a:solidFill>
                <a:schemeClr val="bg1"/>
              </a:solidFill>
              <a:latin typeface="Gill Sans" panose="020B0502020104020203"/>
              <a:ea typeface="Arial Unicode MS"/>
              <a:sym typeface="Gill Sans" panose="020B0502020104020203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A89EF18-0849-4E34-9AFD-961E4332B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494" y="234864"/>
            <a:ext cx="8794114" cy="276999"/>
          </a:xfrm>
        </p:spPr>
        <p:txBody>
          <a:bodyPr/>
          <a:lstStyle/>
          <a:p>
            <a:r>
              <a:rPr lang="fr-FR" sz="1800" dirty="0" smtClean="0"/>
              <a:t>principales mesures nationales proposées par </a:t>
            </a:r>
            <a:r>
              <a:rPr lang="fr-FR" sz="1800" dirty="0"/>
              <a:t>les Comités de veille régionaux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CFEE78D-AC1F-493D-A105-EB2F84AFC2AA}"/>
              </a:ext>
            </a:extLst>
          </p:cNvPr>
          <p:cNvSpPr/>
          <p:nvPr/>
        </p:nvSpPr>
        <p:spPr bwMode="gray">
          <a:xfrm>
            <a:off x="206116" y="849086"/>
            <a:ext cx="2956183" cy="1739151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/>
        </p:spPr>
        <p:txBody>
          <a:bodyPr rtlCol="0" anchor="t"/>
          <a:lstStyle/>
          <a:p>
            <a:pPr algn="ctr"/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pPr algn="ctr"/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pPr algn="ctr"/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pPr algn="ctr"/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pPr algn="ctr"/>
            <a:r>
              <a:rPr lang="fr-FR" sz="1100" b="1" dirty="0">
                <a:solidFill>
                  <a:schemeClr val="tx2"/>
                </a:solidFill>
                <a:latin typeface="Gill Sans"/>
              </a:rPr>
              <a:t>Mesures de contingenc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B01B850-F2E4-4507-A2B0-669378390085}"/>
              </a:ext>
            </a:extLst>
          </p:cNvPr>
          <p:cNvSpPr/>
          <p:nvPr/>
        </p:nvSpPr>
        <p:spPr bwMode="gray">
          <a:xfrm>
            <a:off x="206117" y="2770608"/>
            <a:ext cx="2946658" cy="1739151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/>
        </p:spPr>
        <p:txBody>
          <a:bodyPr rtlCol="0" anchor="t"/>
          <a:lstStyle/>
          <a:p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pPr algn="ctr"/>
            <a:r>
              <a:rPr lang="fr-FR" sz="1100" b="1" dirty="0">
                <a:solidFill>
                  <a:schemeClr val="tx2"/>
                </a:solidFill>
                <a:latin typeface="Gill Sans"/>
              </a:rPr>
              <a:t>Mesures de relance/ structurell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DC297CC-A01A-4767-8F99-69254F3A12A6}"/>
              </a:ext>
            </a:extLst>
          </p:cNvPr>
          <p:cNvSpPr/>
          <p:nvPr/>
        </p:nvSpPr>
        <p:spPr bwMode="gray">
          <a:xfrm>
            <a:off x="206117" y="4692129"/>
            <a:ext cx="2946658" cy="1739151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noFill/>
          </a:ln>
          <a:effectLst/>
        </p:spPr>
        <p:txBody>
          <a:bodyPr rtlCol="0" anchor="t"/>
          <a:lstStyle/>
          <a:p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endParaRPr lang="fr-FR" sz="500" b="1" dirty="0">
              <a:solidFill>
                <a:schemeClr val="tx2"/>
              </a:solidFill>
              <a:latin typeface="Gill Sans"/>
            </a:endParaRPr>
          </a:p>
          <a:p>
            <a:pPr algn="ctr"/>
            <a:r>
              <a:rPr lang="fr-FR" sz="1100" b="1" dirty="0">
                <a:solidFill>
                  <a:schemeClr val="tx2"/>
                </a:solidFill>
                <a:latin typeface="Gill Sans"/>
              </a:rPr>
              <a:t>Mesures transvers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E851E3F-C8FD-46D1-9EE0-6C2B632C9840}"/>
              </a:ext>
            </a:extLst>
          </p:cNvPr>
          <p:cNvSpPr/>
          <p:nvPr/>
        </p:nvSpPr>
        <p:spPr bwMode="gray">
          <a:xfrm>
            <a:off x="3171825" y="849086"/>
            <a:ext cx="5743783" cy="1739150"/>
          </a:xfrm>
          <a:prstGeom prst="rect">
            <a:avLst/>
          </a:prstGeom>
          <a:solidFill>
            <a:srgbClr val="FFFFFF"/>
          </a:solidFill>
          <a:ln>
            <a:solidFill>
              <a:schemeClr val="accent1">
                <a:lumMod val="90000"/>
              </a:schemeClr>
            </a:solidFill>
          </a:ln>
          <a:effectLst/>
        </p:spPr>
        <p:txBody>
          <a:bodyPr rtlCol="0" anchor="t"/>
          <a:lstStyle/>
          <a:p>
            <a:endParaRPr lang="fr-FR" sz="1100" dirty="0">
              <a:solidFill>
                <a:schemeClr val="tx2"/>
              </a:solidFill>
              <a:latin typeface="Gill Sans"/>
            </a:endParaRPr>
          </a:p>
          <a:p>
            <a:endParaRPr lang="fr-FR" sz="1100" dirty="0">
              <a:solidFill>
                <a:schemeClr val="tx2"/>
              </a:solidFill>
              <a:latin typeface="Gill Sans"/>
            </a:endParaRPr>
          </a:p>
          <a:p>
            <a:endParaRPr lang="fr-FR" sz="1100" dirty="0">
              <a:solidFill>
                <a:schemeClr val="tx2"/>
              </a:solidFill>
              <a:latin typeface="Gill San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Exonérations fiscal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Exonération des taxes local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Aides directes aux entreprises (loyer commercial, frais d’Eau et d’électricité…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100" dirty="0">
              <a:solidFill>
                <a:schemeClr val="tx2"/>
              </a:solidFill>
              <a:latin typeface="Gill San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BB0D216-87C4-4571-B850-5930F750F9F0}"/>
              </a:ext>
            </a:extLst>
          </p:cNvPr>
          <p:cNvSpPr/>
          <p:nvPr/>
        </p:nvSpPr>
        <p:spPr bwMode="gray">
          <a:xfrm>
            <a:off x="3171825" y="2770607"/>
            <a:ext cx="5743783" cy="1739150"/>
          </a:xfrm>
          <a:prstGeom prst="rect">
            <a:avLst/>
          </a:prstGeom>
          <a:solidFill>
            <a:srgbClr val="FFFFFF"/>
          </a:solidFill>
          <a:ln>
            <a:solidFill>
              <a:schemeClr val="accent1">
                <a:lumMod val="90000"/>
              </a:schemeClr>
            </a:solidFill>
          </a:ln>
          <a:effectLst/>
        </p:spPr>
        <p:txBody>
          <a:bodyPr rtlCol="0" anchor="t"/>
          <a:lstStyle/>
          <a:p>
            <a:endParaRPr lang="fr-FR" sz="1100" dirty="0">
              <a:solidFill>
                <a:schemeClr val="tx2"/>
              </a:solidFill>
              <a:latin typeface="Gill Sans"/>
            </a:endParaRPr>
          </a:p>
          <a:p>
            <a:endParaRPr lang="fr-FR" sz="1100" dirty="0">
              <a:solidFill>
                <a:schemeClr val="tx2"/>
              </a:solidFill>
              <a:latin typeface="Gill San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Maintien de la commande publique catalytique </a:t>
            </a:r>
            <a:endParaRPr lang="fr-FR" sz="1100" b="1" dirty="0">
              <a:solidFill>
                <a:srgbClr val="FF0000"/>
              </a:solidFill>
              <a:latin typeface="Gill San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Encouragement de la production loca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Mise en place d’un référentiel sanitaire (permis sanitaire) pour la protection de la santé des clients et du personnel à exiger avant l’ouverture d’un établissement touristiqu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100" dirty="0">
              <a:solidFill>
                <a:schemeClr val="tx2"/>
              </a:solidFill>
              <a:latin typeface="Gill San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EF4AE1C-2CCA-43DE-95C1-E9859D6C928F}"/>
              </a:ext>
            </a:extLst>
          </p:cNvPr>
          <p:cNvSpPr/>
          <p:nvPr/>
        </p:nvSpPr>
        <p:spPr bwMode="gray">
          <a:xfrm>
            <a:off x="3171825" y="4692128"/>
            <a:ext cx="5743783" cy="1739150"/>
          </a:xfrm>
          <a:prstGeom prst="rect">
            <a:avLst/>
          </a:prstGeom>
          <a:solidFill>
            <a:srgbClr val="FFFFFF"/>
          </a:solidFill>
          <a:ln>
            <a:solidFill>
              <a:schemeClr val="accent1">
                <a:lumMod val="90000"/>
              </a:schemeClr>
            </a:solidFill>
          </a:ln>
          <a:effectLst/>
        </p:spPr>
        <p:txBody>
          <a:bodyPr rtlCol="0" anchor="t"/>
          <a:lstStyle/>
          <a:p>
            <a:endParaRPr lang="fr-FR" sz="1100" dirty="0">
              <a:solidFill>
                <a:schemeClr val="tx2"/>
              </a:solidFill>
              <a:latin typeface="Gill San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Création d’entreprise en ligne (OMPIC)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Transformation digital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Dématérialisation des services public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Simplification des procédures d’autorisation sectoriell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Création d’un observatoire de suivi des indicateurs de performance des secteurs productif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Développement du E-commer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La lutte contre l’inform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100" dirty="0">
              <a:solidFill>
                <a:schemeClr val="tx2"/>
              </a:solidFill>
              <a:latin typeface="Gill San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100" dirty="0">
              <a:solidFill>
                <a:schemeClr val="tx2"/>
              </a:solidFill>
              <a:latin typeface="Gill San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DA03102-002B-426C-98D2-DFC84D50CCFD}"/>
              </a:ext>
            </a:extLst>
          </p:cNvPr>
          <p:cNvSpPr/>
          <p:nvPr/>
        </p:nvSpPr>
        <p:spPr bwMode="gray">
          <a:xfrm>
            <a:off x="7731760" y="53030"/>
            <a:ext cx="1328471" cy="17372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>
                <a:lumMod val="90000"/>
              </a:schemeClr>
            </a:solidFill>
          </a:ln>
          <a:effectLst/>
        </p:spPr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  <a:latin typeface="Gill Sans"/>
              </a:rPr>
              <a:t>Mesures</a:t>
            </a:r>
          </a:p>
        </p:txBody>
      </p:sp>
    </p:spTree>
    <p:extLst>
      <p:ext uri="{BB962C8B-B14F-4D97-AF65-F5344CB8AC3E}">
        <p14:creationId xmlns:p14="http://schemas.microsoft.com/office/powerpoint/2010/main" val="695765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gray">
          <a:xfrm>
            <a:off x="4766876" y="712410"/>
            <a:ext cx="4284000" cy="562743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1"/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endParaRPr lang="fr-FR" sz="1200" b="1" dirty="0">
              <a:solidFill>
                <a:schemeClr val="tx2"/>
              </a:solidFill>
              <a:latin typeface="Gill Sans"/>
            </a:endParaRPr>
          </a:p>
        </p:txBody>
      </p:sp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55" name="Diapositive think-cell" r:id="rId6" imgW="425" imgH="426" progId="TCLayout.ActiveDocument.1">
                  <p:embed/>
                </p:oleObj>
              </mc:Choice>
              <mc:Fallback>
                <p:oleObj name="Diapositive think-cell" r:id="rId6" imgW="425" imgH="426" progId="TCLayout.ActiveDocument.1">
                  <p:embed/>
                  <p:pic>
                    <p:nvPicPr>
                      <p:cNvPr id="3" name="Obje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CAC2A2"/>
          </a:solidFill>
          <a:ln>
            <a:noFill/>
          </a:ln>
          <a:effectLst>
            <a:outerShdw dist="53882" dir="2700000" algn="ctr" rotWithShape="0">
              <a:schemeClr val="tx1">
                <a:alpha val="40000"/>
              </a:schemeClr>
            </a:outerShdw>
          </a:effec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r-MA" sz="2041" b="1" dirty="0">
              <a:solidFill>
                <a:schemeClr val="bg1"/>
              </a:solidFill>
              <a:latin typeface="Gill Sans" panose="020B0502020104020203"/>
              <a:ea typeface="Arial Unicode MS"/>
              <a:sym typeface="Gill Sans" panose="020B0502020104020203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494" y="234864"/>
            <a:ext cx="8794114" cy="314060"/>
          </a:xfrm>
        </p:spPr>
        <p:txBody>
          <a:bodyPr/>
          <a:lstStyle/>
          <a:p>
            <a:r>
              <a:rPr lang="fr-MA" dirty="0"/>
              <a:t>Positionnement et limites de l’exercice des CRVE</a:t>
            </a:r>
            <a:endParaRPr lang="fr-FR" dirty="0"/>
          </a:p>
        </p:txBody>
      </p:sp>
      <p:sp>
        <p:nvSpPr>
          <p:cNvPr id="6" name="Rectangle 5"/>
          <p:cNvSpPr/>
          <p:nvPr/>
        </p:nvSpPr>
        <p:spPr bwMode="gray">
          <a:xfrm>
            <a:off x="121494" y="712410"/>
            <a:ext cx="4434636" cy="562743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1"/>
            </a:solidFill>
            <a:prstDash val="solid"/>
          </a:ln>
          <a:effectLst/>
        </p:spPr>
        <p:txBody>
          <a:bodyPr rtlCol="0" anchor="t"/>
          <a:lstStyle/>
          <a:p>
            <a:endParaRPr lang="fr-FR" sz="1000" b="1" dirty="0">
              <a:solidFill>
                <a:schemeClr val="tx2"/>
              </a:solidFill>
              <a:latin typeface="Gill Sans"/>
            </a:endParaRPr>
          </a:p>
        </p:txBody>
      </p:sp>
      <p:sp>
        <p:nvSpPr>
          <p:cNvPr id="10" name="Rectangle 9"/>
          <p:cNvSpPr/>
          <p:nvPr/>
        </p:nvSpPr>
        <p:spPr bwMode="gray">
          <a:xfrm>
            <a:off x="274348" y="1023291"/>
            <a:ext cx="4128928" cy="508000"/>
          </a:xfrm>
          <a:prstGeom prst="rect">
            <a:avLst/>
          </a:prstGeom>
          <a:solidFill>
            <a:srgbClr val="E2DDC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  <p:txBody>
          <a:bodyPr rtlCol="0" anchor="ctr"/>
          <a:lstStyle/>
          <a:p>
            <a:r>
              <a:rPr lang="fr-FR" sz="1100" b="1" dirty="0">
                <a:solidFill>
                  <a:schemeClr val="tx2"/>
                </a:solidFill>
                <a:latin typeface="Gill Sans"/>
              </a:rPr>
              <a:t>Approche volontariste mobilisant les forces vives régionales pour la gestion de la crise</a:t>
            </a:r>
          </a:p>
        </p:txBody>
      </p:sp>
      <p:sp>
        <p:nvSpPr>
          <p:cNvPr id="163" name="Rectangle 162"/>
          <p:cNvSpPr/>
          <p:nvPr/>
        </p:nvSpPr>
        <p:spPr bwMode="gray">
          <a:xfrm>
            <a:off x="4891302" y="1023291"/>
            <a:ext cx="4035148" cy="508000"/>
          </a:xfrm>
          <a:prstGeom prst="rect">
            <a:avLst/>
          </a:prstGeom>
          <a:solidFill>
            <a:srgbClr val="E2DDC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  <p:txBody>
          <a:bodyPr rtlCol="0" anchor="ctr"/>
          <a:lstStyle/>
          <a:p>
            <a:r>
              <a:rPr lang="fr-FR" sz="1100" b="1" dirty="0">
                <a:solidFill>
                  <a:schemeClr val="tx2"/>
                </a:solidFill>
                <a:latin typeface="Gill Sans"/>
              </a:rPr>
              <a:t>Des limites claires de l’exercice </a:t>
            </a:r>
          </a:p>
        </p:txBody>
      </p:sp>
      <p:grpSp>
        <p:nvGrpSpPr>
          <p:cNvPr id="86" name="Groupe 15">
            <a:extLst>
              <a:ext uri="{FF2B5EF4-FFF2-40B4-BE49-F238E27FC236}">
                <a16:creationId xmlns:a16="http://schemas.microsoft.com/office/drawing/2014/main" id="{442D4633-C63B-4820-AE37-21E6744FDCC6}"/>
              </a:ext>
            </a:extLst>
          </p:cNvPr>
          <p:cNvGrpSpPr>
            <a:grpSpLocks noChangeAspect="1"/>
          </p:cNvGrpSpPr>
          <p:nvPr/>
        </p:nvGrpSpPr>
        <p:grpSpPr>
          <a:xfrm>
            <a:off x="4188743" y="951516"/>
            <a:ext cx="261477" cy="134718"/>
            <a:chOff x="3570328" y="2155675"/>
            <a:chExt cx="294469" cy="151716"/>
          </a:xfrm>
          <a:effectLst/>
        </p:grpSpPr>
        <p:sp>
          <p:nvSpPr>
            <p:cNvPr id="87" name="Freeform 84">
              <a:extLst>
                <a:ext uri="{FF2B5EF4-FFF2-40B4-BE49-F238E27FC236}">
                  <a16:creationId xmlns:a16="http://schemas.microsoft.com/office/drawing/2014/main" id="{329C02FB-58E0-4B8F-84C2-A0EA4C4D555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720797" y="2155675"/>
              <a:ext cx="144000" cy="151716"/>
            </a:xfrm>
            <a:custGeom>
              <a:avLst/>
              <a:gdLst>
                <a:gd name="T0" fmla="*/ 0 w 208"/>
                <a:gd name="T1" fmla="*/ 88 h 208"/>
                <a:gd name="T2" fmla="*/ 72 w 208"/>
                <a:gd name="T3" fmla="*/ 208 h 208"/>
                <a:gd name="T4" fmla="*/ 208 w 208"/>
                <a:gd name="T5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8" h="208">
                  <a:moveTo>
                    <a:pt x="0" y="88"/>
                  </a:moveTo>
                  <a:lnTo>
                    <a:pt x="72" y="208"/>
                  </a:lnTo>
                  <a:lnTo>
                    <a:pt x="208" y="0"/>
                  </a:lnTo>
                </a:path>
              </a:pathLst>
            </a:custGeom>
            <a:noFill/>
            <a:ln w="38100" cap="flat" cmpd="sng">
              <a:solidFill>
                <a:srgbClr val="00B05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fr-FR" sz="1568" dirty="0"/>
            </a:p>
          </p:txBody>
        </p:sp>
        <p:sp>
          <p:nvSpPr>
            <p:cNvPr id="88" name="Freeform 84">
              <a:extLst>
                <a:ext uri="{FF2B5EF4-FFF2-40B4-BE49-F238E27FC236}">
                  <a16:creationId xmlns:a16="http://schemas.microsoft.com/office/drawing/2014/main" id="{941854C6-33DB-4373-9845-72FE9F33968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570328" y="2155675"/>
              <a:ext cx="144000" cy="151716"/>
            </a:xfrm>
            <a:custGeom>
              <a:avLst/>
              <a:gdLst>
                <a:gd name="T0" fmla="*/ 0 w 208"/>
                <a:gd name="T1" fmla="*/ 88 h 208"/>
                <a:gd name="T2" fmla="*/ 72 w 208"/>
                <a:gd name="T3" fmla="*/ 208 h 208"/>
                <a:gd name="T4" fmla="*/ 208 w 208"/>
                <a:gd name="T5" fmla="*/ 0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8" h="208">
                  <a:moveTo>
                    <a:pt x="0" y="88"/>
                  </a:moveTo>
                  <a:lnTo>
                    <a:pt x="72" y="208"/>
                  </a:lnTo>
                  <a:lnTo>
                    <a:pt x="208" y="0"/>
                  </a:lnTo>
                </a:path>
              </a:pathLst>
            </a:custGeom>
            <a:noFill/>
            <a:ln w="38100" cap="flat" cmpd="sng">
              <a:solidFill>
                <a:srgbClr val="00B050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endParaRPr lang="fr-FR" sz="1568" dirty="0"/>
            </a:p>
          </p:txBody>
        </p:sp>
      </p:grpSp>
      <p:pic>
        <p:nvPicPr>
          <p:cNvPr id="89" name="Image 22">
            <a:extLst>
              <a:ext uri="{FF2B5EF4-FFF2-40B4-BE49-F238E27FC236}">
                <a16:creationId xmlns:a16="http://schemas.microsoft.com/office/drawing/2014/main" id="{917B43DA-6DC5-47E2-B212-E2D7F704034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flipH="1">
            <a:off x="8707660" y="951516"/>
            <a:ext cx="238002" cy="210262"/>
          </a:xfrm>
          <a:prstGeom prst="rect">
            <a:avLst/>
          </a:prstGeom>
          <a:effectLst/>
        </p:spPr>
      </p:pic>
      <p:sp>
        <p:nvSpPr>
          <p:cNvPr id="11" name="Rectangle 10"/>
          <p:cNvSpPr/>
          <p:nvPr/>
        </p:nvSpPr>
        <p:spPr bwMode="gray">
          <a:xfrm>
            <a:off x="274348" y="4952370"/>
            <a:ext cx="4128928" cy="1095370"/>
          </a:xfrm>
          <a:prstGeom prst="rect">
            <a:avLst/>
          </a:prstGeom>
          <a:solidFill>
            <a:srgbClr val="F3F1E9"/>
          </a:solidFill>
          <a:ln w="9525">
            <a:solidFill>
              <a:srgbClr val="E2DDCA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t"/>
          <a:lstStyle/>
          <a:p>
            <a:r>
              <a:rPr lang="fr-FR" sz="1100" b="1" dirty="0">
                <a:solidFill>
                  <a:schemeClr val="tx2"/>
                </a:solidFill>
                <a:latin typeface="Gill Sans"/>
              </a:rPr>
              <a:t>Forum pour une remontée de </a:t>
            </a:r>
            <a:r>
              <a:rPr lang="fr-FR" sz="1100" b="1" dirty="0">
                <a:solidFill>
                  <a:srgbClr val="002060"/>
                </a:solidFill>
                <a:latin typeface="Gill Sans"/>
              </a:rPr>
              <a:t>mesures palliatives potentielles et de relance</a:t>
            </a:r>
            <a:endParaRPr lang="fr-FR" sz="1100" b="1" dirty="0">
              <a:solidFill>
                <a:schemeClr val="tx2"/>
              </a:solidFill>
              <a:latin typeface="Gill San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Comités sectorielles (Tourisme, commerce, agriculture…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Proposition de mesures et mécanismes à dimension régionale et nationale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274348" y="1967170"/>
            <a:ext cx="4128928" cy="1095370"/>
          </a:xfrm>
          <a:prstGeom prst="rect">
            <a:avLst/>
          </a:prstGeom>
          <a:solidFill>
            <a:srgbClr val="F3F1E9"/>
          </a:solidFill>
          <a:ln w="9525">
            <a:solidFill>
              <a:srgbClr val="E2DDCA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t"/>
          <a:lstStyle/>
          <a:p>
            <a:r>
              <a:rPr lang="fr-FR" sz="1100" b="1" dirty="0">
                <a:solidFill>
                  <a:schemeClr val="tx2"/>
                </a:solidFill>
                <a:latin typeface="Gill Sans"/>
              </a:rPr>
              <a:t>Une mobilisation importante des régions pour une mise en œuvre accélérée du Plan de contingence et de </a:t>
            </a:r>
            <a:r>
              <a:rPr lang="fr-FR" sz="1100" b="1" dirty="0">
                <a:solidFill>
                  <a:srgbClr val="002960"/>
                </a:solidFill>
                <a:latin typeface="Gill Sans"/>
              </a:rPr>
              <a:t>relance national</a:t>
            </a:r>
            <a:endParaRPr lang="fr-FR" sz="1100" dirty="0">
              <a:solidFill>
                <a:srgbClr val="002960"/>
              </a:solidFill>
              <a:latin typeface="Gill San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Focalisation sur le déploiement des mesures national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Soutien des liquidités des entreprises et préservation du tissu économiqu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3B9C8E51-E4F6-4862-A961-32BF42155092}"/>
              </a:ext>
            </a:extLst>
          </p:cNvPr>
          <p:cNvSpPr/>
          <p:nvPr/>
        </p:nvSpPr>
        <p:spPr bwMode="gray">
          <a:xfrm>
            <a:off x="274348" y="3455039"/>
            <a:ext cx="4128928" cy="1170730"/>
          </a:xfrm>
          <a:prstGeom prst="rect">
            <a:avLst/>
          </a:prstGeom>
          <a:solidFill>
            <a:srgbClr val="F3F1E9"/>
          </a:solidFill>
          <a:ln w="9525">
            <a:solidFill>
              <a:srgbClr val="E2DDCA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t"/>
          <a:lstStyle/>
          <a:p>
            <a:r>
              <a:rPr lang="fr-FR" sz="1100" b="1" dirty="0">
                <a:solidFill>
                  <a:schemeClr val="tx2"/>
                </a:solidFill>
                <a:latin typeface="Gill Sans"/>
              </a:rPr>
              <a:t>Prise en compte des spécificités régionales de la cris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Spécificités sociales, et économiques/sectorielles des Rég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Quelques mesures régionales appliquées et décidées dans les comités de veille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C7B6EA1-1D0E-499D-A219-37ADAC5BE132}"/>
              </a:ext>
            </a:extLst>
          </p:cNvPr>
          <p:cNvSpPr/>
          <p:nvPr/>
        </p:nvSpPr>
        <p:spPr bwMode="gray">
          <a:xfrm>
            <a:off x="4891302" y="1967170"/>
            <a:ext cx="4035148" cy="1095370"/>
          </a:xfrm>
          <a:prstGeom prst="rect">
            <a:avLst/>
          </a:prstGeom>
          <a:solidFill>
            <a:srgbClr val="F3F1E9"/>
          </a:solidFill>
          <a:ln w="9525">
            <a:solidFill>
              <a:srgbClr val="E2DDCA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t"/>
          <a:lstStyle/>
          <a:p>
            <a:pPr marL="0" marR="0" lvl="0" indent="0" algn="l" defTabSz="932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t>Déficit de standardisation de l’approche et outils du diagnostic et de la remontée des mesures des régions </a:t>
            </a:r>
          </a:p>
          <a:p>
            <a:pPr marL="171450" marR="0" lvl="0" indent="-171450" algn="l" defTabSz="932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t>Difficulté de comparaison des </a:t>
            </a:r>
            <a:r>
              <a:rPr kumimoji="0" lang="fr-FR" sz="1100" i="0" u="none" strike="noStrike" kern="1200" cap="none" spc="0" normalizeH="0" baseline="0" noProof="0" dirty="0" err="1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t>imp</a:t>
            </a:r>
            <a:r>
              <a:rPr lang="fr-FR" sz="1100" dirty="0" err="1">
                <a:solidFill>
                  <a:srgbClr val="002960"/>
                </a:solidFill>
                <a:latin typeface="Gill Sans"/>
                <a:ea typeface="ＭＳ Ｐゴシック"/>
              </a:rPr>
              <a:t>acts</a:t>
            </a:r>
            <a:r>
              <a:rPr lang="fr-FR" sz="1100" dirty="0">
                <a:solidFill>
                  <a:srgbClr val="002960"/>
                </a:solidFill>
                <a:latin typeface="Gill Sans"/>
                <a:ea typeface="ＭＳ Ｐゴシック"/>
              </a:rPr>
              <a:t> régionaux et de l’utilisation des leviers de relance proposés par l’Etat</a:t>
            </a:r>
          </a:p>
          <a:p>
            <a:pPr marR="0" lvl="0" algn="l" defTabSz="932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fr-FR" sz="1100" dirty="0">
              <a:solidFill>
                <a:srgbClr val="FF0000"/>
              </a:solidFill>
              <a:latin typeface="Gill Sans"/>
              <a:ea typeface="ＭＳ Ｐゴシック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5ABECE09-ABE7-4680-8C07-29DB961DFF26}"/>
              </a:ext>
            </a:extLst>
          </p:cNvPr>
          <p:cNvSpPr/>
          <p:nvPr/>
        </p:nvSpPr>
        <p:spPr bwMode="gray">
          <a:xfrm>
            <a:off x="4891302" y="3455039"/>
            <a:ext cx="4035148" cy="1170730"/>
          </a:xfrm>
          <a:prstGeom prst="rect">
            <a:avLst/>
          </a:prstGeom>
          <a:solidFill>
            <a:srgbClr val="F3F1E9"/>
          </a:solidFill>
          <a:ln w="9525">
            <a:solidFill>
              <a:srgbClr val="E2DDCA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t"/>
          <a:lstStyle/>
          <a:p>
            <a:pPr lvl="0" defTabSz="932764">
              <a:defRPr/>
            </a:pP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t>Difficultés majeures sur la </a:t>
            </a: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Gill Sans"/>
                <a:ea typeface="ＭＳ Ｐゴシック"/>
                <a:cs typeface="+mn-cs"/>
              </a:rPr>
              <a:t>collecte</a:t>
            </a:r>
            <a:r>
              <a:rPr lang="fr-FR" sz="1100" b="1" dirty="0">
                <a:latin typeface="Gill Sans"/>
              </a:rPr>
              <a:t> des </a:t>
            </a:r>
            <a:r>
              <a:rPr lang="fr-FR" sz="1100" b="1" dirty="0">
                <a:solidFill>
                  <a:srgbClr val="002960"/>
                </a:solidFill>
                <a:latin typeface="Gill Sans"/>
              </a:rPr>
              <a:t>impacts chiffrés </a:t>
            </a:r>
            <a:r>
              <a:rPr kumimoji="0" lang="fr-FR" sz="1100" b="1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t>de la crise </a:t>
            </a:r>
          </a:p>
          <a:p>
            <a:pPr marL="171450" indent="-171450" defTabSz="932764">
              <a:buFont typeface="Arial" panose="020B0604020202020204" pitchFamily="34" charset="0"/>
              <a:buChar char="•"/>
              <a:defRPr/>
            </a:pPr>
            <a:r>
              <a:rPr lang="fr-FR" sz="1100" dirty="0">
                <a:solidFill>
                  <a:srgbClr val="002960"/>
                </a:solidFill>
                <a:latin typeface="Gill Sans"/>
                <a:ea typeface="ＭＳ Ｐゴシック"/>
              </a:rPr>
              <a:t>Processus de remontée des données, non formalisé</a:t>
            </a:r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  <a:p>
            <a:pPr marL="171450" marR="0" lvl="0" indent="-171450" algn="l" defTabSz="932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1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Gill Sans"/>
                <a:ea typeface="ＭＳ Ｐゴシック"/>
                <a:cs typeface="+mn-cs"/>
              </a:rPr>
              <a:t>Absence de perspective consolidée</a:t>
            </a:r>
          </a:p>
          <a:p>
            <a:pPr marL="171450" marR="0" lvl="0" indent="-171450" algn="l" defTabSz="9327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Gill Sans"/>
              <a:ea typeface="ＭＳ Ｐゴシック"/>
              <a:cs typeface="+mn-cs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2424D9C3-367D-4B6F-9E73-56DD0472AD2C}"/>
              </a:ext>
            </a:extLst>
          </p:cNvPr>
          <p:cNvSpPr/>
          <p:nvPr/>
        </p:nvSpPr>
        <p:spPr bwMode="gray">
          <a:xfrm>
            <a:off x="4891302" y="4953210"/>
            <a:ext cx="4035148" cy="1095370"/>
          </a:xfrm>
          <a:prstGeom prst="rect">
            <a:avLst/>
          </a:prstGeom>
          <a:solidFill>
            <a:srgbClr val="F3F1E9"/>
          </a:solidFill>
          <a:ln w="9525">
            <a:solidFill>
              <a:srgbClr val="E2DDCA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t"/>
          <a:lstStyle/>
          <a:p>
            <a:r>
              <a:rPr lang="fr-FR" sz="1100" b="1" dirty="0">
                <a:solidFill>
                  <a:schemeClr val="tx2"/>
                </a:solidFill>
                <a:latin typeface="Gill Sans"/>
              </a:rPr>
              <a:t>Lien et positionnement par rapport au CVE à redéfini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Séquencement et priorisation des mesur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Gill Sans"/>
              </a:rPr>
              <a:t>Interface et modalités de remontées de l’information encore à défini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100" dirty="0">
              <a:solidFill>
                <a:schemeClr val="tx2"/>
              </a:solidFill>
              <a:latin typeface="Gill San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100" dirty="0">
              <a:solidFill>
                <a:schemeClr val="tx2"/>
              </a:solidFill>
              <a:latin typeface="Gill Sans"/>
            </a:endParaRP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8EFA6520-A9A2-40B6-9B4F-964BDE988D10}"/>
              </a:ext>
            </a:extLst>
          </p:cNvPr>
          <p:cNvGrpSpPr/>
          <p:nvPr/>
        </p:nvGrpSpPr>
        <p:grpSpPr>
          <a:xfrm>
            <a:off x="171100" y="1869783"/>
            <a:ext cx="204654" cy="3212989"/>
            <a:chOff x="171100" y="1869783"/>
            <a:chExt cx="204654" cy="3212989"/>
          </a:xfrm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F84ED9E0-DEFA-450D-AE0F-B5BC929DA788}"/>
                </a:ext>
              </a:extLst>
            </p:cNvPr>
            <p:cNvSpPr/>
            <p:nvPr/>
          </p:nvSpPr>
          <p:spPr>
            <a:xfrm>
              <a:off x="171100" y="1869783"/>
              <a:ext cx="204654" cy="204654"/>
            </a:xfrm>
            <a:prstGeom prst="ellipse">
              <a:avLst/>
            </a:prstGeom>
            <a:solidFill>
              <a:srgbClr val="213258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MA" sz="994" b="1" dirty="0">
                  <a:solidFill>
                    <a:srgbClr val="FFFFFF"/>
                  </a:solidFill>
                  <a:latin typeface="Gill Sans"/>
                </a:rPr>
                <a:t>1</a:t>
              </a:r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7CFD1CF8-F31E-44B7-ACDD-3B5B898A699F}"/>
                </a:ext>
              </a:extLst>
            </p:cNvPr>
            <p:cNvSpPr/>
            <p:nvPr/>
          </p:nvSpPr>
          <p:spPr>
            <a:xfrm>
              <a:off x="171100" y="3396092"/>
              <a:ext cx="204654" cy="204654"/>
            </a:xfrm>
            <a:prstGeom prst="ellipse">
              <a:avLst/>
            </a:prstGeom>
            <a:solidFill>
              <a:srgbClr val="213258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MA" sz="994" b="1" dirty="0">
                  <a:solidFill>
                    <a:srgbClr val="FFFFFF"/>
                  </a:solidFill>
                  <a:latin typeface="Gill Sans"/>
                </a:rPr>
                <a:t>2</a:t>
              </a:r>
            </a:p>
          </p:txBody>
        </p: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F610B508-3CE1-4D90-A091-DAD12B3EFBA5}"/>
                </a:ext>
              </a:extLst>
            </p:cNvPr>
            <p:cNvSpPr/>
            <p:nvPr/>
          </p:nvSpPr>
          <p:spPr>
            <a:xfrm>
              <a:off x="171100" y="4878118"/>
              <a:ext cx="204654" cy="204654"/>
            </a:xfrm>
            <a:prstGeom prst="ellipse">
              <a:avLst/>
            </a:prstGeom>
            <a:solidFill>
              <a:srgbClr val="213258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MA" sz="994" b="1" dirty="0">
                  <a:solidFill>
                    <a:srgbClr val="FFFFFF"/>
                  </a:solidFill>
                  <a:latin typeface="Gill Sans"/>
                </a:rPr>
                <a:t>3</a:t>
              </a:r>
            </a:p>
          </p:txBody>
        </p:sp>
      </p:grpSp>
      <p:sp>
        <p:nvSpPr>
          <p:cNvPr id="26" name="Ellipse 25">
            <a:extLst>
              <a:ext uri="{FF2B5EF4-FFF2-40B4-BE49-F238E27FC236}">
                <a16:creationId xmlns:a16="http://schemas.microsoft.com/office/drawing/2014/main" id="{A962BC86-69C4-4228-A737-BCD9F9A9E8F6}"/>
              </a:ext>
            </a:extLst>
          </p:cNvPr>
          <p:cNvSpPr/>
          <p:nvPr/>
        </p:nvSpPr>
        <p:spPr>
          <a:xfrm>
            <a:off x="4788975" y="1869783"/>
            <a:ext cx="204654" cy="204654"/>
          </a:xfrm>
          <a:prstGeom prst="ellipse">
            <a:avLst/>
          </a:prstGeom>
          <a:solidFill>
            <a:srgbClr val="213258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MA" sz="994" b="1" dirty="0">
                <a:solidFill>
                  <a:srgbClr val="FFFFFF"/>
                </a:solidFill>
                <a:latin typeface="Gill Sans"/>
              </a:rPr>
              <a:t>1</a:t>
            </a: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2156F47A-A400-4FF1-B28F-28DC7B13D3C5}"/>
              </a:ext>
            </a:extLst>
          </p:cNvPr>
          <p:cNvSpPr/>
          <p:nvPr/>
        </p:nvSpPr>
        <p:spPr>
          <a:xfrm>
            <a:off x="4788975" y="3396092"/>
            <a:ext cx="204654" cy="204654"/>
          </a:xfrm>
          <a:prstGeom prst="ellipse">
            <a:avLst/>
          </a:prstGeom>
          <a:solidFill>
            <a:srgbClr val="213258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MA" sz="994" b="1" dirty="0">
                <a:solidFill>
                  <a:srgbClr val="FFFFFF"/>
                </a:solidFill>
                <a:latin typeface="Gill Sans"/>
              </a:rPr>
              <a:t>2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829498AD-81D5-458D-97D6-BF957F6F5205}"/>
              </a:ext>
            </a:extLst>
          </p:cNvPr>
          <p:cNvSpPr/>
          <p:nvPr/>
        </p:nvSpPr>
        <p:spPr>
          <a:xfrm>
            <a:off x="4788975" y="4878118"/>
            <a:ext cx="204654" cy="204654"/>
          </a:xfrm>
          <a:prstGeom prst="ellipse">
            <a:avLst/>
          </a:prstGeom>
          <a:solidFill>
            <a:srgbClr val="213258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MA" sz="994" b="1" dirty="0">
                <a:solidFill>
                  <a:srgbClr val="FFFFFF"/>
                </a:solidFill>
                <a:latin typeface="Gill Sans"/>
              </a:rPr>
              <a:t>3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CA0745A8-9A18-499F-BED8-0BFAAB2F835D}"/>
              </a:ext>
            </a:extLst>
          </p:cNvPr>
          <p:cNvSpPr/>
          <p:nvPr/>
        </p:nvSpPr>
        <p:spPr bwMode="gray">
          <a:xfrm>
            <a:off x="3491439" y="2952341"/>
            <a:ext cx="1312488" cy="449324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txBody>
          <a:bodyPr lIns="0" tIns="0" rIns="0" bIns="0" rtlCol="0" anchor="ctr"/>
          <a:lstStyle/>
          <a:p>
            <a:pPr algn="ctr"/>
            <a:r>
              <a:rPr lang="fr-MA" sz="900" b="1" dirty="0">
                <a:solidFill>
                  <a:srgbClr val="FF0000"/>
                </a:solidFill>
                <a:latin typeface="Gill Sans"/>
              </a:rPr>
              <a:t>Réunions Mensuelles</a:t>
            </a:r>
          </a:p>
        </p:txBody>
      </p:sp>
    </p:spTree>
    <p:extLst>
      <p:ext uri="{BB962C8B-B14F-4D97-AF65-F5344CB8AC3E}">
        <p14:creationId xmlns:p14="http://schemas.microsoft.com/office/powerpoint/2010/main" val="3314103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6&quot;&gt;&lt;elem m_fUsage=&quot;5.95744417160478523243E+00&quot;&gt;&lt;m_msothmcolidx val=&quot;0&quot;/&gt;&lt;m_rgb r=&quot;8D&quot; g=&quot;B0&quot; b=&quot;9D&quot;/&gt;&lt;m_nBrightness endver=&quot;26206&quot; val=&quot;0&quot;/&gt;&lt;/elem&gt;&lt;elem m_fUsage=&quot;6.56100000000000127542E-01&quot;&gt;&lt;m_msothmcolidx val=&quot;0&quot;/&gt;&lt;m_rgb r=&quot;F0&quot; g=&quot;F0&quot; b=&quot;F0&quot;/&gt;&lt;m_nBrightness endver=&quot;26206&quot; val=&quot;0&quot;/&gt;&lt;/elem&gt;&lt;elem m_fUsage=&quot;5.31441000000000163261E-01&quot;&gt;&lt;m_msothmcolidx val=&quot;0&quot;/&gt;&lt;m_rgb r=&quot;F9&quot; g=&quot;FB&quot; b=&quot;FD&quot;/&gt;&lt;m_nBrightness endver=&quot;26206&quot; val=&quot;0&quot;/&gt;&lt;/elem&gt;&lt;elem m_fUsage=&quot;4.30467210000000155556E-01&quot;&gt;&lt;m_msothmcolidx val=&quot;0&quot;/&gt;&lt;m_rgb r=&quot;F4&quot; g=&quot;F9&quot; b=&quot;F8&quot;/&gt;&lt;m_nBrightness endver=&quot;26206&quot; val=&quot;0&quot;/&gt;&lt;/elem&gt;&lt;elem m_fUsage=&quot;3.48678440100000153201E-01&quot;&gt;&lt;m_msothmcolidx val=&quot;0&quot;/&gt;&lt;m_rgb r=&quot;E9&quot; g=&quot;F5&quot; b=&quot;EF&quot;/&gt;&lt;m_nBrightness endver=&quot;26206&quot; val=&quot;0&quot;/&gt;&lt;/elem&gt;&lt;elem m_fUsage=&quot;2.82429536481000165171E-01&quot;&gt;&lt;m_msothmcolidx val=&quot;0&quot;/&gt;&lt;m_rgb r=&quot;EA&quot; g=&quot;F5&quot; b=&quot;EF&quot;/&gt;&lt;m_nBrightness endver=&quot;26206&quot; val=&quot;0&quot;/&gt;&lt;/elem&gt;&lt;elem m_fUsage=&quot;2.78227826211866813289E-01&quot;&gt;&lt;m_msothmcolidx val=&quot;0&quot;/&gt;&lt;m_rgb r=&quot;DF&quot; g=&quot;DA&quot; b=&quot;C7&quot;/&gt;&lt;m_nBrightness endver=&quot;26206&quot; val=&quot;0&quot;/&gt;&lt;/elem&gt;&lt;elem m_fUsage=&quot;2.28767924549610118801E-01&quot;&gt;&lt;m_msothmcolidx val=&quot;0&quot;/&gt;&lt;m_rgb r=&quot;E5&quot; g=&quot;F3&quot; b=&quot;EB&quot;/&gt;&lt;m_nBrightness endver=&quot;26206&quot; val=&quot;0&quot;/&gt;&lt;/elem&gt;&lt;elem m_fUsage=&quot;2.07896079349873530440E-01&quot;&gt;&lt;m_msothmcolidx val=&quot;0&quot;/&gt;&lt;m_rgb r=&quot;A5&quot; g=&quot;1A&quot; b=&quot;0A&quot;/&gt;&lt;m_nBrightness endver=&quot;26206&quot; val=&quot;0&quot;/&gt;&lt;/elem&gt;&lt;elem m_fUsage=&quot;1.85302018885184188735E-01&quot;&gt;&lt;m_msothmcolidx val=&quot;0&quot;/&gt;&lt;m_rgb r=&quot;E1&quot; g=&quot;F1&quot; b=&quot;E8&quot;/&gt;&lt;m_nBrightness endver=&quot;26206&quot; val=&quot;0&quot;/&gt;&lt;/elem&gt;&lt;elem m_fUsage=&quot;1.50094635296999207030E-01&quot;&gt;&lt;m_msothmcolidx val=&quot;0&quot;/&gt;&lt;m_rgb r=&quot;D7&quot; g=&quot;ED&quot; b=&quot;DF&quot;/&gt;&lt;m_nBrightness endver=&quot;26206&quot; val=&quot;0&quot;/&gt;&lt;/elem&gt;&lt;elem m_fUsage=&quot;1.35085171767299283552E-01&quot;&gt;&lt;m_msothmcolidx val=&quot;0&quot;/&gt;&lt;m_rgb r=&quot;63&quot; g=&quot;BE&quot; b=&quot;7B&quot;/&gt;&lt;m_nBrightness endver=&quot;26206&quot; val=&quot;0&quot;/&gt;&lt;/elem&gt;&lt;elem m_fUsage=&quot;1.23389729588597882315E-01&quot;&gt;&lt;m_msothmcolidx val=&quot;0&quot;/&gt;&lt;m_rgb r=&quot;13&quot; g=&quot;75&quot; b=&quot;2C&quot;/&gt;&lt;m_nBrightness endver=&quot;26206&quot; val=&quot;0&quot;/&gt;&lt;/elem&gt;&lt;elem m_fUsage=&quot;8.86293811965250810658E-02&quot;&gt;&lt;m_msothmcolidx val=&quot;0&quot;/&gt;&lt;m_rgb r=&quot;FF&quot; g=&quot;E0&quot; b=&quot;CC&quot;/&gt;&lt;m_nBrightness endver=&quot;26206&quot; val=&quot;0&quot;/&gt;&lt;/elem&gt;&lt;elem m_fUsage=&quot;7.97664430768725701837E-02&quot;&gt;&lt;m_msothmcolidx val=&quot;0&quot;/&gt;&lt;m_rgb r=&quot;71&quot; g=&quot;AC&quot; b=&quot;80&quot;/&gt;&lt;m_nBrightness endver=&quot;26206&quot; val=&quot;0&quot;/&gt;&lt;/elem&gt;&lt;elem m_fUsage=&quot;3.81520424476946215520E-02&quot;&gt;&lt;m_msothmcolidx val=&quot;0&quot;/&gt;&lt;m_rgb r=&quot;12&quot; g=&quot;45&quot; b=&quot;16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9xY1ONTb.ElcdPqXnzX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iVSxQiT0SKZx721eMw7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Go_pWUTfKmS7XlouXG_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LIMITERS" val="3.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7YKU8nLSE6c7B1ouybay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nzIQ_FKbV6Bf9661iH8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m5Zg6W8qdZ3LWhvwx.g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QhfqXIsImnp3MlPvaxv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GS0Y.JkEVSj5SzKNQLp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k7He3v6iW35MQaXDAp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8y_h0lAWS3uqrF0oKu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hx8LH.YTKow5dQeY14C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O6spdLYgLNAtb6YkAaZ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vSJQkXaBABzcN6ji2XH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DNOmb5R49PXWAbZGqRV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k4NbO_Y.DKa2cCG02Em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7bXQ4PIN_UIEzU.P2uux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Rd_qVNTHipQ3cIE_r4z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wzeRKax5UU6EWie412Y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LfD4efQMuuuYUOxxAu2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xJqS4fTBOroh6ekQdWd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QBESHKTliXXD671eCfs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Y9fzl1SCunyHlvXN_U.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Dl_gasQMOo4sjz3Am0O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MSYzY4SYKSjQgeJmQKk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vGmPO.RKaeE7opogROf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8p6cGeSZqcRg0qQ2uEx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oqxJh2R7iDEM8qI.KX1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iPupCqRCaQb6L9pn9sM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3WYjA9QN6ymWRCJd7JR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7SNeEESZqI3m12jIY6X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SLMcHSQFKdWpnu0cK_1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uuWcPGS4Gx.CQAlMBdd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Ki9eArQQ.LaEsPC2SDr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YQ.FKB6A7.y.s9C1PI.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_pDSr8GBoJFdIcIr11D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lbuNeWEjQl5o1u5ITYR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rUBjNBQo1vNtIaAjZtW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mj9PCyexXbn3iIevYTz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GzmM8krYurECuLOZxoH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24XRvlMoIacpnw8Frwf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qWl_8Z4noiL2Pk1epQI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yw9wmfBFNOddNHG6IBP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6j940r9i_snp7JjLaxX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LtFoAb9mM.pHRTlwOGG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voKvoEwnMGPnd5tc5BE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528dfLe7oRHr5HU.WQY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nAOHTWgbM9Ia2c_28B9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YY9KZsxrx7dVwliksq.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.7s._dtWLluS5QRp3Uv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nRO7NCKn.Jzo5YLyQoi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CX.LpljOy7GsMm7fvWZ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ax6Fxu3ktrajz3Y3oJZ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B3.Ck3TWRMQb7QbOkXU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vzhIMUy8FuxVbUAWEC0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NfZqrkD5Cb3d0cB3nI9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Xn2GlV8005Y.p4VdHV1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nOb3wZl6p16.9YPV1Zc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1TKk2FTZ6JkrUid7god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btHCKov9.e1w3vJwMcR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.J5rv.xTMK6R5kpZ2mu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1r.YANomWzMl_MhjHl4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OJ7e7DVrkmqBPYjph_U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h1TaqfNH9iuAd7.fElD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Dnrz8HqSc0xsjVdXXG_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LtXSKCrB63WSrEVYpj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d9IyKLVn0U8uwCSAH5p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sBpgCYZ9J6g.7KOUums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Pn6ZXqiYTxjytgknp10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XxMHXGKbzegyz78UHo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oyUkhWJQImki3cD63nv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wxLSF8R06Ob.Tlb64wJ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dOq37AhjtHiB7opzyig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eeoNyUROWzP3gtQ9xok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lIJEumVu22UF.AkcZWK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68Qg7IcZQTUyBQr70o_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w4_N.6RW2h7v0p8XZyP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pr4sFdFFihFaf0t7quN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PwxSc3MOKOKZ6XthcWl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4L3WLHI7_IM0tP8f8Y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fgERQrSLiN46O8gutLo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Kk5rCmY1SRZ99TSS09d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82HhOmtTKTqbJx4zp6K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hto7x03sXx4bWIGi9sn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m3oKJQZGF8jNdHgOCWl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e51dkbt2JOn1k02dJFU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HYHAj8oDtumoCzXqdSS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8Oe.lWFiJlKLw6OoRtn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bvv1lBnNk47512SpeSD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vvxA20_PyTZFWwlE2X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fXwWB9VedCsk03TvYMQ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0PWXR5a433K6CNQracq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UuoaVG7DP6Cw3F.AKE8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4bNcR7R8JIcxBD89Y1u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DMGwv7oSmfl9w.JUpnr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kwFnqhzaWEHDIOPWHCC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b6Pz2xz2ksjoNx1WFe.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hM7DNT5NBbDT9ZYjE7J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nYnNoMLEE1hOB_bZCPc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w3CKmg7Nuoo_fI9n1Y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9WA3knv2CbhgTjAHson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ukqb5xdO7UdLTsrFZpR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00ZnNOg9vncec401Jl7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c6QDhUPH3AZcI5vAog5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WcGFQy3_ScK_Olb6KoJ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00lZdLD2ymlGTfhnuSx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opsUgtFAp39riqX60To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zLt8XeTzXPqYX7dd4Nu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cNO4Xx.f7NV9OnnLgr2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mrD0T.4Y2Y2vA5RQRt7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F0bdBMcXbPvQLqmMmN1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uasi1XsDvZ.HmeW8FPV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w3wMSKxfXJZZ3Q6WA2w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zTbyrClfT8zLAC2pi5D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ziEHJlh.sZwgekOMrLw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Fdlwhcf.o3nm0e1yuEG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PJlMzLSjFLYJndrs69x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3RsoxM._B_tiqdX8EcI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DGdFgH2lAz1tH3_BbEu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foV7N09aB5q1KOHZ3x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.ujpBoTnu1yX68U66DW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iCr1mEE6R088P8i_noP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Iwo_Bxfv3voKKkcmX3E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U6Kq1qAz8n3fD3L.vkB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bvauEWCl1LlYekM9Njm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6w0p30BzLL7rCTp5FBc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mqsB0yOscTq7LxnGudG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KuxfNkcGVL0XW9gO4oP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WIhW0h9SP_WtXp_3Tc9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0dNAB7J.78jil_3P9tr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p7vvIBidln1DUi7ILn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7PH__AdyIWZm_.gK9Ce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Kj4hXljSezF0FfiKOup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FGZPp5bNTagcilkxB_J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Qka1vFfyVij473qWRtg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1AZFBR.broVz4exMJxy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00ZZUODeVIbap3oB3a.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mW4VJUx522oy1fWsu3M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vv8TmfjNFAjVFF5BEJB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cfyOYhfbT19gJum8Kc.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l43Q.qYUakN_R4QkcVr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kC4.u6QTjsFGys0hfEz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HdKIKiJHWQ8zxpfek8B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JY01b78SERCiUIAt4Vn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DPn2LecF7UURRVhNYuH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8E._JESO6wLDE5NTVVp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QzmZcdcy9hERU7J5uBd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Ie5UJVY0aZt99xyTZuj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VH6l1gKkqUjeHlZvxae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s53ZICS5GoIEYDCgpBI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8DuI3eLUiKVeKfpdVat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mouyDLfUG7meiYJC2Xg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wImRvAtEqwKEhwSlFsw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FxvwDxrkGfMfEhdIt5A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fDTeXfOECw9KrFBJE5_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R_7HxIm0KH0FKyY.45m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pR0MW7u0.g07YLamAfz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VH6l1gKkqUjeHlZvxae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Ie5UJVY0aZt99xyTZuj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Ie5UJVY0aZt99xyTZuj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GlYy1J7UyzQeG0QRfMJ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Ie5UJVY0aZt99xyTZuj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Ie5UJVY0aZt99xyTZuj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XuPPvJ4TW1T6WXHTXSq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XuPPvJ4TW1T6WXHTXSq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FNuBAdSbOCnGoRCj600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J5RqPwO0aZElh8H7Zt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jN2vvJREi0XQYhnAGqh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tCg_hm8ESk3JI6PRjll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2BbH4mVkSGbpAw5eO4R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M2A1uvIUKgAwp.ON_J3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b8Mn8O8kOQsdZoQ84s2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bHtSbPykKru5JbLwEj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Trk8t3F0GPah7kI8F6H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45LL4.mkqDvKMZ_RLM6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LIMITERS" val="3.1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7YKU8nLSE6c7B1ouybay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WELVsRR6W1pvZTFpHA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ZSH7wr0m5.bL.7cJU4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AW00wDv0mkOHKHLLYFg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E2vHSj1027sPpyvSjvw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kn2Z7oQ62IjIwU_5Aq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MERUFlSdudLR3c1gVOg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HgSSN0T4ic9dumCijtV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gzKdDVTyWCQzCLNTsSa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t38jm4RsWiR8w4F1JCQ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lzKaXJT4eWtI2mU3Cr5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fFAVDnRomBHQMw9eOTh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Ahy2.9S0i_xhxJ4ZsYr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s53ZICS5GoIEYDCgpBI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GlYy1J7UyzQeG0QRfMJ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tCg_hm8ESk3JI6PRjll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ZPkbOrT8SC5Wym5OzXf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2ZSH7wr0m5.bL.7cJU4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AW00wDv0mkOHKHLLYFg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E2vHSj1027sPpyvSjvw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qD8RYzTTSk2icqfQPOw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A5.cTRTuWJ_rKCs1H8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XaaYZAS9GJ4AanDJsGd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ux0O6tRpWaKlmn1Kwo9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lGOyU4S5q51uLpLkSPR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cf6fdnTIWu2MjAOuNcy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GH40WUScqA5DsGn9yqc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FLbVbVRuiXMIQdSAOCs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5_blank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3F1E9"/>
      </a:accent1>
      <a:accent2>
        <a:srgbClr val="CAC2A2"/>
      </a:accent2>
      <a:accent3>
        <a:srgbClr val="9A8C53"/>
      </a:accent3>
      <a:accent4>
        <a:srgbClr val="002960"/>
      </a:accent4>
      <a:accent5>
        <a:srgbClr val="FF6600"/>
      </a:accent5>
      <a:accent6>
        <a:srgbClr val="808080"/>
      </a:accent6>
      <a:hlink>
        <a:srgbClr val="336699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CAC2A2"/>
        </a:solidFill>
        <a:ln>
          <a:noFill/>
        </a:ln>
        <a:effectLst>
          <a:outerShdw dist="53882" dir="2700000" algn="ctr" rotWithShape="0">
            <a:schemeClr val="tx1">
              <a:alpha val="40000"/>
            </a:schemeClr>
          </a:outerShdw>
        </a:effectLst>
      </a:spPr>
      <a:bodyPr anchor="ctr"/>
      <a:lstStyle>
        <a:defPPr>
          <a:defRPr sz="1200" b="1" dirty="0">
            <a:solidFill>
              <a:schemeClr val="bg1"/>
            </a:solidFill>
            <a:latin typeface="Gill Sans"/>
          </a:defRPr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>
          <a:defRPr sz="1400" dirty="0" smtClean="0">
            <a:solidFill>
              <a:srgbClr val="213258"/>
            </a:solidFill>
            <a:latin typeface="Gill Sans"/>
          </a:defRPr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5_blank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3F1E9"/>
      </a:accent1>
      <a:accent2>
        <a:srgbClr val="CAC2A2"/>
      </a:accent2>
      <a:accent3>
        <a:srgbClr val="9A8C53"/>
      </a:accent3>
      <a:accent4>
        <a:srgbClr val="002960"/>
      </a:accent4>
      <a:accent5>
        <a:srgbClr val="FF6600"/>
      </a:accent5>
      <a:accent6>
        <a:srgbClr val="808080"/>
      </a:accent6>
      <a:hlink>
        <a:srgbClr val="336699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CAC2A2"/>
        </a:solidFill>
        <a:ln>
          <a:noFill/>
        </a:ln>
        <a:effectLst>
          <a:outerShdw dist="53882" dir="2700000" algn="ctr" rotWithShape="0">
            <a:schemeClr val="tx1">
              <a:alpha val="40000"/>
            </a:schemeClr>
          </a:outerShdw>
        </a:effectLst>
      </a:spPr>
      <a:bodyPr anchor="ctr"/>
      <a:lstStyle>
        <a:defPPr>
          <a:defRPr sz="1200" b="1" dirty="0">
            <a:solidFill>
              <a:schemeClr val="bg1"/>
            </a:solidFill>
            <a:latin typeface="Gill Sans"/>
          </a:defRPr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>
          <a:defRPr sz="1400" dirty="0" smtClean="0">
            <a:solidFill>
              <a:srgbClr val="213258"/>
            </a:solidFill>
            <a:latin typeface="Gill Sans"/>
          </a:defRPr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6_blank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3F1E9"/>
      </a:accent1>
      <a:accent2>
        <a:srgbClr val="CAC2A2"/>
      </a:accent2>
      <a:accent3>
        <a:srgbClr val="9A8C53"/>
      </a:accent3>
      <a:accent4>
        <a:srgbClr val="002960"/>
      </a:accent4>
      <a:accent5>
        <a:srgbClr val="FF6600"/>
      </a:accent5>
      <a:accent6>
        <a:srgbClr val="808080"/>
      </a:accent6>
      <a:hlink>
        <a:srgbClr val="336699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CAC2A2"/>
        </a:solidFill>
        <a:ln>
          <a:noFill/>
        </a:ln>
        <a:effectLst>
          <a:outerShdw dist="53882" dir="2700000" algn="ctr" rotWithShape="0">
            <a:schemeClr val="tx1">
              <a:alpha val="40000"/>
            </a:schemeClr>
          </a:outerShdw>
        </a:effectLst>
      </a:spPr>
      <a:bodyPr anchor="ctr"/>
      <a:lstStyle>
        <a:defPPr>
          <a:defRPr sz="1200" b="1" dirty="0">
            <a:solidFill>
              <a:schemeClr val="bg1"/>
            </a:solidFill>
            <a:latin typeface="Gill Sans"/>
          </a:defRPr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>
          <a:defRPr sz="1400" dirty="0" smtClean="0">
            <a:solidFill>
              <a:srgbClr val="213258"/>
            </a:solidFill>
            <a:latin typeface="Gill Sans"/>
          </a:defRPr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CAS-ZWH887-Template - Ver 2.0">
  <a:themeElements>
    <a:clrScheme name="3_CAS-ZWH887-Template - Ver 2.0 13">
      <a:dk1>
        <a:srgbClr val="002960"/>
      </a:dk1>
      <a:lt1>
        <a:srgbClr val="FFFFFF"/>
      </a:lt1>
      <a:dk2>
        <a:srgbClr val="002960"/>
      </a:dk2>
      <a:lt2>
        <a:srgbClr val="C0C0C0"/>
      </a:lt2>
      <a:accent1>
        <a:srgbClr val="EAEAEA"/>
      </a:accent1>
      <a:accent2>
        <a:srgbClr val="CCCC99"/>
      </a:accent2>
      <a:accent3>
        <a:srgbClr val="FFFFFF"/>
      </a:accent3>
      <a:accent4>
        <a:srgbClr val="002151"/>
      </a:accent4>
      <a:accent5>
        <a:srgbClr val="F3F3F3"/>
      </a:accent5>
      <a:accent6>
        <a:srgbClr val="B9B98A"/>
      </a:accent6>
      <a:hlink>
        <a:srgbClr val="336699"/>
      </a:hlink>
      <a:folHlink>
        <a:srgbClr val="002960"/>
      </a:folHlink>
    </a:clrScheme>
    <a:fontScheme name="3_CAS-ZWH887-Template - Ver 2.0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3_CAS-ZWH887-Template - Ver 2.0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AS-ZWH887-Template - Ver 2.0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AS-ZWH887-Template - Ver 2.0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AS-ZWH887-Template - Ver 2.0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AS-ZWH887-Template - Ver 2.0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AS-ZWH887-Template - Ver 2.0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AS-ZWH887-Template - Ver 2.0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AS-ZWH887-Template - Ver 2.0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AS-ZWH887-Template - Ver 2.0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AS-ZWH887-Template - Ver 2.0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AS-ZWH887-Template - Ver 2.0 1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AEAEA"/>
        </a:accent1>
        <a:accent2>
          <a:srgbClr val="CCCC99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9B98A"/>
        </a:accent6>
        <a:hlink>
          <a:srgbClr val="33669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AS-ZWH887-Template - Ver 2.0 12">
        <a:dk1>
          <a:srgbClr val="000000"/>
        </a:dk1>
        <a:lt1>
          <a:srgbClr val="FFFFFF"/>
        </a:lt1>
        <a:dk2>
          <a:srgbClr val="002960"/>
        </a:dk2>
        <a:lt2>
          <a:srgbClr val="C0C0C0"/>
        </a:lt2>
        <a:accent1>
          <a:srgbClr val="EAEAEA"/>
        </a:accent1>
        <a:accent2>
          <a:srgbClr val="CCCC99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9B98A"/>
        </a:accent6>
        <a:hlink>
          <a:srgbClr val="33669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AS-ZWH887-Template - Ver 2.0 13">
        <a:dk1>
          <a:srgbClr val="002960"/>
        </a:dk1>
        <a:lt1>
          <a:srgbClr val="FFFFFF"/>
        </a:lt1>
        <a:dk2>
          <a:srgbClr val="002960"/>
        </a:dk2>
        <a:lt2>
          <a:srgbClr val="C0C0C0"/>
        </a:lt2>
        <a:accent1>
          <a:srgbClr val="EAEAEA"/>
        </a:accent1>
        <a:accent2>
          <a:srgbClr val="CCCC99"/>
        </a:accent2>
        <a:accent3>
          <a:srgbClr val="FFFFFF"/>
        </a:accent3>
        <a:accent4>
          <a:srgbClr val="002151"/>
        </a:accent4>
        <a:accent5>
          <a:srgbClr val="F3F3F3"/>
        </a:accent5>
        <a:accent6>
          <a:srgbClr val="B9B98A"/>
        </a:accent6>
        <a:hlink>
          <a:srgbClr val="33669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CAS-ZWH887-Template - Ver 2.0">
  <a:themeElements>
    <a:clrScheme name="3_CAS-ZWH887-Template - Ver 2.0 13">
      <a:dk1>
        <a:srgbClr val="002960"/>
      </a:dk1>
      <a:lt1>
        <a:srgbClr val="FFFFFF"/>
      </a:lt1>
      <a:dk2>
        <a:srgbClr val="002960"/>
      </a:dk2>
      <a:lt2>
        <a:srgbClr val="C0C0C0"/>
      </a:lt2>
      <a:accent1>
        <a:srgbClr val="EAEAEA"/>
      </a:accent1>
      <a:accent2>
        <a:srgbClr val="CCCC99"/>
      </a:accent2>
      <a:accent3>
        <a:srgbClr val="FFFFFF"/>
      </a:accent3>
      <a:accent4>
        <a:srgbClr val="002151"/>
      </a:accent4>
      <a:accent5>
        <a:srgbClr val="F3F3F3"/>
      </a:accent5>
      <a:accent6>
        <a:srgbClr val="B9B98A"/>
      </a:accent6>
      <a:hlink>
        <a:srgbClr val="336699"/>
      </a:hlink>
      <a:folHlink>
        <a:srgbClr val="002960"/>
      </a:folHlink>
    </a:clrScheme>
    <a:fontScheme name="3_CAS-ZWH887-Template - Ver 2.0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3_CAS-ZWH887-Template - Ver 2.0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AS-ZWH887-Template - Ver 2.0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AS-ZWH887-Template - Ver 2.0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AS-ZWH887-Template - Ver 2.0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AS-ZWH887-Template - Ver 2.0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AS-ZWH887-Template - Ver 2.0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AS-ZWH887-Template - Ver 2.0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AS-ZWH887-Template - Ver 2.0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AS-ZWH887-Template - Ver 2.0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AS-ZWH887-Template - Ver 2.0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AS-ZWH887-Template - Ver 2.0 1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AEAEA"/>
        </a:accent1>
        <a:accent2>
          <a:srgbClr val="CCCC99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9B98A"/>
        </a:accent6>
        <a:hlink>
          <a:srgbClr val="33669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AS-ZWH887-Template - Ver 2.0 12">
        <a:dk1>
          <a:srgbClr val="000000"/>
        </a:dk1>
        <a:lt1>
          <a:srgbClr val="FFFFFF"/>
        </a:lt1>
        <a:dk2>
          <a:srgbClr val="002960"/>
        </a:dk2>
        <a:lt2>
          <a:srgbClr val="C0C0C0"/>
        </a:lt2>
        <a:accent1>
          <a:srgbClr val="EAEAEA"/>
        </a:accent1>
        <a:accent2>
          <a:srgbClr val="CCCC99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9B98A"/>
        </a:accent6>
        <a:hlink>
          <a:srgbClr val="33669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AS-ZWH887-Template - Ver 2.0 13">
        <a:dk1>
          <a:srgbClr val="002960"/>
        </a:dk1>
        <a:lt1>
          <a:srgbClr val="FFFFFF"/>
        </a:lt1>
        <a:dk2>
          <a:srgbClr val="002960"/>
        </a:dk2>
        <a:lt2>
          <a:srgbClr val="C0C0C0"/>
        </a:lt2>
        <a:accent1>
          <a:srgbClr val="EAEAEA"/>
        </a:accent1>
        <a:accent2>
          <a:srgbClr val="CCCC99"/>
        </a:accent2>
        <a:accent3>
          <a:srgbClr val="FFFFFF"/>
        </a:accent3>
        <a:accent4>
          <a:srgbClr val="002151"/>
        </a:accent4>
        <a:accent5>
          <a:srgbClr val="F3F3F3"/>
        </a:accent5>
        <a:accent6>
          <a:srgbClr val="B9B98A"/>
        </a:accent6>
        <a:hlink>
          <a:srgbClr val="33669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Charte graphique guidelines en cours">
  <a:themeElements>
    <a:clrScheme name="Stanwell 2">
      <a:dk1>
        <a:srgbClr val="364B60"/>
      </a:dk1>
      <a:lt1>
        <a:sysClr val="window" lastClr="FFFFFF"/>
      </a:lt1>
      <a:dk2>
        <a:srgbClr val="AF954B"/>
      </a:dk2>
      <a:lt2>
        <a:srgbClr val="F2F2F2"/>
      </a:lt2>
      <a:accent1>
        <a:srgbClr val="7B7D81"/>
      </a:accent1>
      <a:accent2>
        <a:srgbClr val="F2F2F2"/>
      </a:accent2>
      <a:accent3>
        <a:srgbClr val="F08A00"/>
      </a:accent3>
      <a:accent4>
        <a:srgbClr val="FFC033"/>
      </a:accent4>
      <a:accent5>
        <a:srgbClr val="B80000"/>
      </a:accent5>
      <a:accent6>
        <a:srgbClr val="C1BF99"/>
      </a:accent6>
      <a:hlink>
        <a:srgbClr val="009999"/>
      </a:hlink>
      <a:folHlink>
        <a:srgbClr val="85DFD0"/>
      </a:folHlink>
    </a:clrScheme>
    <a:fontScheme name="Stanwell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B1EDB102FDC7E4A8AEAE2C88617DD1D" ma:contentTypeVersion="2" ma:contentTypeDescription="Crée un document." ma:contentTypeScope="" ma:versionID="68b04ef98936038bc95f0fdff00e0360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d3f961bdeb8ddcb88c2c447eff11a4e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Date de début de planification" ma:internalName="PublishingStartDate">
      <xsd:simpleType>
        <xsd:restriction base="dms:Unknown"/>
      </xsd:simpleType>
    </xsd:element>
    <xsd:element name="PublishingExpirationDate" ma:index="9" nillable="true" ma:displayName="Date de fin de planification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6DE180FB-5C4D-4F10-A5E5-244EA990EBFF}"/>
</file>

<file path=customXml/itemProps2.xml><?xml version="1.0" encoding="utf-8"?>
<ds:datastoreItem xmlns:ds="http://schemas.openxmlformats.org/officeDocument/2006/customXml" ds:itemID="{3CDF9E4B-F3D0-4613-B2E2-C0ED90C1C0DF}"/>
</file>

<file path=customXml/itemProps3.xml><?xml version="1.0" encoding="utf-8"?>
<ds:datastoreItem xmlns:ds="http://schemas.openxmlformats.org/officeDocument/2006/customXml" ds:itemID="{2FFD099E-86FD-45D2-8211-0E87E7B6517A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3414</TotalTime>
  <Words>1374</Words>
  <Application>Microsoft Office PowerPoint</Application>
  <PresentationFormat>Affichage à l'écran (4:3)</PresentationFormat>
  <Paragraphs>303</Paragraphs>
  <Slides>11</Slides>
  <Notes>6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6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1</vt:i4>
      </vt:variant>
    </vt:vector>
  </HeadingPairs>
  <TitlesOfParts>
    <vt:vector size="27" baseType="lpstr">
      <vt:lpstr>Arial Unicode MS</vt:lpstr>
      <vt:lpstr>ＭＳ Ｐゴシック</vt:lpstr>
      <vt:lpstr>Arial</vt:lpstr>
      <vt:lpstr>Calibri</vt:lpstr>
      <vt:lpstr>Calibri (Corps)</vt:lpstr>
      <vt:lpstr>Gill Sans</vt:lpstr>
      <vt:lpstr>Times New Roman</vt:lpstr>
      <vt:lpstr>Wingdings</vt:lpstr>
      <vt:lpstr>Wingdings 3</vt:lpstr>
      <vt:lpstr>25_blank</vt:lpstr>
      <vt:lpstr>15_blank</vt:lpstr>
      <vt:lpstr>16_blank</vt:lpstr>
      <vt:lpstr>3_CAS-ZWH887-Template - Ver 2.0</vt:lpstr>
      <vt:lpstr>4_CAS-ZWH887-Template - Ver 2.0</vt:lpstr>
      <vt:lpstr>Charte graphique guidelines en cours</vt:lpstr>
      <vt:lpstr>Diapositive think-cell</vt:lpstr>
      <vt:lpstr>Présentation PowerPoint</vt:lpstr>
      <vt:lpstr>Présentation PowerPoint</vt:lpstr>
      <vt:lpstr>Une situation épidémiologique globalement maîtrisée dans les régions </vt:lpstr>
      <vt:lpstr>Présentation PowerPoint</vt:lpstr>
      <vt:lpstr>Présentation PowerPoint</vt:lpstr>
      <vt:lpstr>Présentation PowerPoint</vt:lpstr>
      <vt:lpstr>Principales mesures de relance par secteur proposées par les Comités régionaux de veille économique</vt:lpstr>
      <vt:lpstr>principales mesures nationales proposées par les Comités de veille régionaux</vt:lpstr>
      <vt:lpstr>Positionnement et limites de l’exercice des CRVE</vt:lpstr>
      <vt:lpstr>Présentation PowerPoint</vt:lpstr>
      <vt:lpstr>Présentation PowerPoint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ajda Ouadeli</dc:creator>
  <cp:lastModifiedBy>Liouaa Abdelkhaliki</cp:lastModifiedBy>
  <cp:revision>1462</cp:revision>
  <cp:lastPrinted>2020-10-21T13:38:37Z</cp:lastPrinted>
  <dcterms:created xsi:type="dcterms:W3CDTF">2018-11-27T08:20:22Z</dcterms:created>
  <dcterms:modified xsi:type="dcterms:W3CDTF">2020-10-27T18:55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B1EDB102FDC7E4A8AEAE2C88617DD1D</vt:lpwstr>
  </property>
</Properties>
</file>